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sldIdLst>
    <p:sldId id="334" r:id="rId6"/>
    <p:sldId id="346" r:id="rId7"/>
    <p:sldId id="339" r:id="rId8"/>
    <p:sldId id="343" r:id="rId9"/>
    <p:sldId id="341" r:id="rId10"/>
    <p:sldId id="342" r:id="rId11"/>
    <p:sldId id="337" r:id="rId12"/>
    <p:sldId id="345" r:id="rId13"/>
    <p:sldId id="344" r:id="rId14"/>
    <p:sldId id="272" r:id="rId15"/>
  </p:sldIdLst>
  <p:sldSz cx="9144000" cy="6858000" type="screen4x3"/>
  <p:notesSz cx="6858000" cy="9926638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DCD"/>
    <a:srgbClr val="FF5050"/>
    <a:srgbClr val="000000"/>
    <a:srgbClr val="FF0D0D"/>
    <a:srgbClr val="E91717"/>
    <a:srgbClr val="FF5757"/>
    <a:srgbClr val="7028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950" autoAdjust="0"/>
    <p:restoredTop sz="86400" autoAdjust="0"/>
  </p:normalViewPr>
  <p:slideViewPr>
    <p:cSldViewPr>
      <p:cViewPr>
        <p:scale>
          <a:sx n="125" d="100"/>
          <a:sy n="125" d="100"/>
        </p:scale>
        <p:origin x="-1290" y="-6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AC7C40-8437-4581-AA4A-34CDF9E0E7E3}" type="doc">
      <dgm:prSet loTypeId="urn:microsoft.com/office/officeart/2008/layout/VerticalCurvedList" loCatId="list" qsTypeId="urn:microsoft.com/office/officeart/2005/8/quickstyle/simple3" qsCatId="simple" csTypeId="urn:microsoft.com/office/officeart/2005/8/colors/colorful4" csCatId="colorful" phldr="1"/>
      <dgm:spPr/>
      <dgm:t>
        <a:bodyPr/>
        <a:lstStyle/>
        <a:p>
          <a:endParaRPr lang="ka-GE"/>
        </a:p>
      </dgm:t>
    </dgm:pt>
    <dgm:pt modelId="{3D61B1C0-4CF4-4499-B895-AD129BF8B623}">
      <dgm:prSet phldrT="[Text]" custT="1"/>
      <dgm:spPr/>
      <dgm:t>
        <a:bodyPr/>
        <a:lstStyle/>
        <a:p>
          <a:r>
            <a:rPr lang="en-US" sz="1400" b="1" dirty="0" smtClean="0">
              <a:solidFill>
                <a:srgbClr val="002060"/>
              </a:solidFill>
            </a:rPr>
            <a:t>Domestic violence - definition, forms, peculiarities, cycles and dynamics of domestic violence </a:t>
          </a:r>
          <a:endParaRPr lang="ka-GE" sz="1400" b="1" dirty="0">
            <a:solidFill>
              <a:srgbClr val="002060"/>
            </a:solidFill>
          </a:endParaRPr>
        </a:p>
      </dgm:t>
    </dgm:pt>
    <dgm:pt modelId="{DBB6FECA-46EC-4725-B274-FA505FD36144}" type="parTrans" cxnId="{57856954-CB01-473A-9D3F-8CBC38FAA571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CF8DE282-F109-4AC2-A0E9-CFF77C20BC30}" type="sibTrans" cxnId="{57856954-CB01-473A-9D3F-8CBC38FAA571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41267391-EAC5-48D9-848E-90C6F18FBCE7}">
      <dgm:prSet phldrT="[Text]" custT="1"/>
      <dgm:spPr/>
      <dgm:t>
        <a:bodyPr/>
        <a:lstStyle/>
        <a:p>
          <a:r>
            <a:rPr lang="en-US" sz="1400" b="1" dirty="0" smtClean="0">
              <a:solidFill>
                <a:srgbClr val="002060"/>
              </a:solidFill>
            </a:rPr>
            <a:t>Causes of domestic violence</a:t>
          </a:r>
          <a:br>
            <a:rPr lang="en-US" sz="1400" b="1" dirty="0" smtClean="0">
              <a:solidFill>
                <a:srgbClr val="002060"/>
              </a:solidFill>
            </a:rPr>
          </a:br>
          <a:r>
            <a:rPr lang="en-US" sz="1400" b="1" dirty="0" smtClean="0">
              <a:solidFill>
                <a:srgbClr val="002060"/>
              </a:solidFill>
            </a:rPr>
            <a:t>Motives of gender discrimination</a:t>
          </a:r>
          <a:endParaRPr lang="ka-GE" sz="1400" b="1" dirty="0">
            <a:solidFill>
              <a:srgbClr val="002060"/>
            </a:solidFill>
          </a:endParaRPr>
        </a:p>
      </dgm:t>
    </dgm:pt>
    <dgm:pt modelId="{0FB58E60-2ED4-4909-A001-EDD7625D3CEB}" type="parTrans" cxnId="{F25F7D8C-38ED-4DC8-B077-1BB68603FAAB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B5F9394C-0589-416B-BD8B-9F45C344F4FE}" type="sibTrans" cxnId="{F25F7D8C-38ED-4DC8-B077-1BB68603FAAB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EBB9C0D6-15ED-4FFE-BB22-760B68D20D0B}">
      <dgm:prSet phldrT="[Text]" custT="1"/>
      <dgm:spPr/>
      <dgm:t>
        <a:bodyPr/>
        <a:lstStyle/>
        <a:p>
          <a:r>
            <a:rPr lang="en-US" sz="1400" b="1" dirty="0" smtClean="0">
              <a:solidFill>
                <a:srgbClr val="002060"/>
              </a:solidFill>
            </a:rPr>
            <a:t>Maintaining conversation with a domestic violence victim, witness and an abuser</a:t>
          </a:r>
          <a:endParaRPr lang="ka-GE" sz="1400" b="1" dirty="0" smtClean="0">
            <a:solidFill>
              <a:srgbClr val="002060"/>
            </a:solidFill>
          </a:endParaRPr>
        </a:p>
      </dgm:t>
    </dgm:pt>
    <dgm:pt modelId="{007B2544-FD06-4A77-A10D-4476569DFF8E}" type="parTrans" cxnId="{B5ADD2A8-4772-419A-AA07-28A4ADBF4928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0CA2A821-47A7-4E5B-88F9-B0CDB62FDF43}" type="sibTrans" cxnId="{B5ADD2A8-4772-419A-AA07-28A4ADBF4928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010E7514-5412-4D1E-B491-CB2EEB8A1813}">
      <dgm:prSet phldrT="[Text]" custT="1"/>
      <dgm:spPr/>
      <dgm:t>
        <a:bodyPr/>
        <a:lstStyle/>
        <a:p>
          <a:r>
            <a:rPr lang="en-US" sz="1400" b="1" dirty="0" smtClean="0">
              <a:solidFill>
                <a:srgbClr val="002060"/>
              </a:solidFill>
            </a:rPr>
            <a:t>International and Regional Legal Framework on Women's Rights, Violence Against Women and Girls</a:t>
          </a:r>
          <a:endParaRPr lang="ka-GE" sz="1400" b="1" dirty="0" smtClean="0">
            <a:solidFill>
              <a:srgbClr val="002060"/>
            </a:solidFill>
          </a:endParaRPr>
        </a:p>
      </dgm:t>
    </dgm:pt>
    <dgm:pt modelId="{FF1B9FE7-FD4B-412C-901E-A4057648F48D}" type="parTrans" cxnId="{8B0D2AC5-FB9F-4B0B-85CF-6BEF933D9FB0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3327E826-6DF9-4685-9F29-04D2CA5809C3}" type="sibTrans" cxnId="{8B0D2AC5-FB9F-4B0B-85CF-6BEF933D9FB0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77EEE9F4-087D-424F-BAB4-B06623D47176}">
      <dgm:prSet phldrT="[Text]" custT="1"/>
      <dgm:spPr/>
      <dgm:t>
        <a:bodyPr/>
        <a:lstStyle/>
        <a:p>
          <a:r>
            <a:rPr lang="en-US" sz="1400" b="1" dirty="0" smtClean="0">
              <a:solidFill>
                <a:srgbClr val="002060"/>
              </a:solidFill>
            </a:rPr>
            <a:t>Implemented legislative amendments and practices</a:t>
          </a:r>
          <a:endParaRPr lang="ka-GE" sz="1400" b="1" dirty="0" smtClean="0">
            <a:solidFill>
              <a:srgbClr val="002060"/>
            </a:solidFill>
          </a:endParaRPr>
        </a:p>
      </dgm:t>
    </dgm:pt>
    <dgm:pt modelId="{02EFBBCD-F128-4A43-9272-F9319DFEECBD}" type="parTrans" cxnId="{3DF14756-3313-4E5E-8958-9F35036750B1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44D82C1D-24C0-4AA8-9980-A8F3BCFA8AD4}" type="sibTrans" cxnId="{3DF14756-3313-4E5E-8958-9F35036750B1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C0F3536C-C192-45B9-9A64-3BE5B8278FFE}">
      <dgm:prSet phldrT="[Text]" custT="1"/>
      <dgm:spPr/>
      <dgm:t>
        <a:bodyPr/>
        <a:lstStyle/>
        <a:p>
          <a:r>
            <a:rPr lang="en-US" sz="1400" b="1" dirty="0" smtClean="0">
              <a:solidFill>
                <a:srgbClr val="002060"/>
              </a:solidFill>
            </a:rPr>
            <a:t>The  prosecution's role in  women’s access for justice; Family crime trends, investigation gaps, recommendations</a:t>
          </a:r>
          <a:endParaRPr lang="ka-GE" sz="1400" b="1" dirty="0" smtClean="0">
            <a:solidFill>
              <a:srgbClr val="002060"/>
            </a:solidFill>
          </a:endParaRPr>
        </a:p>
      </dgm:t>
    </dgm:pt>
    <dgm:pt modelId="{B7C3219B-790B-47D2-9525-641990706E73}" type="parTrans" cxnId="{4BB62399-1173-4869-A2A3-741E869D1C22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23A13F15-4984-4A73-B12B-086AE443C437}" type="sibTrans" cxnId="{4BB62399-1173-4869-A2A3-741E869D1C22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175B5CC6-5AF5-405D-AEAD-A48472F8C945}">
      <dgm:prSet phldrT="[Text]" custT="1"/>
      <dgm:spPr/>
      <dgm:t>
        <a:bodyPr/>
        <a:lstStyle/>
        <a:p>
          <a:r>
            <a:rPr lang="en-US" sz="1400" b="1" dirty="0" smtClean="0">
              <a:solidFill>
                <a:srgbClr val="002060"/>
              </a:solidFill>
            </a:rPr>
            <a:t>Myths and facts, actual causes and factors contributing to domestic violence, including, social and cultural factors</a:t>
          </a:r>
          <a:endParaRPr lang="ka-GE" sz="1400" b="1" dirty="0">
            <a:solidFill>
              <a:srgbClr val="002060"/>
            </a:solidFill>
          </a:endParaRPr>
        </a:p>
      </dgm:t>
    </dgm:pt>
    <dgm:pt modelId="{58C4B6E9-3E19-4072-AD7B-380EEFEB2994}" type="parTrans" cxnId="{5D52C6B7-4870-4F60-A520-7ABD6C9D21D9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16975CAD-1B78-45A8-8710-E3DB2EB9CCB6}" type="sibTrans" cxnId="{5D52C6B7-4870-4F60-A520-7ABD6C9D21D9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29EDF4CE-0B25-45C9-9BD9-4753740B7803}" type="pres">
      <dgm:prSet presAssocID="{7FAC7C40-8437-4581-AA4A-34CDF9E0E7E3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ka-GE"/>
        </a:p>
      </dgm:t>
    </dgm:pt>
    <dgm:pt modelId="{26C1825C-3F51-42D8-B1DC-37EC578D6499}" type="pres">
      <dgm:prSet presAssocID="{7FAC7C40-8437-4581-AA4A-34CDF9E0E7E3}" presName="Name1" presStyleCnt="0"/>
      <dgm:spPr/>
    </dgm:pt>
    <dgm:pt modelId="{0AE882FF-C365-4E1B-9725-E6F0416E4F03}" type="pres">
      <dgm:prSet presAssocID="{7FAC7C40-8437-4581-AA4A-34CDF9E0E7E3}" presName="cycle" presStyleCnt="0"/>
      <dgm:spPr/>
    </dgm:pt>
    <dgm:pt modelId="{323CDCAC-B3FD-41E1-8DEE-3B883F360026}" type="pres">
      <dgm:prSet presAssocID="{7FAC7C40-8437-4581-AA4A-34CDF9E0E7E3}" presName="srcNode" presStyleLbl="node1" presStyleIdx="0" presStyleCnt="7"/>
      <dgm:spPr/>
    </dgm:pt>
    <dgm:pt modelId="{F65A1F7B-44E3-48EC-BCF2-C59B32C130D1}" type="pres">
      <dgm:prSet presAssocID="{7FAC7C40-8437-4581-AA4A-34CDF9E0E7E3}" presName="conn" presStyleLbl="parChTrans1D2" presStyleIdx="0" presStyleCnt="1"/>
      <dgm:spPr/>
      <dgm:t>
        <a:bodyPr/>
        <a:lstStyle/>
        <a:p>
          <a:endParaRPr lang="ka-GE"/>
        </a:p>
      </dgm:t>
    </dgm:pt>
    <dgm:pt modelId="{4B736B22-7A6F-41F5-B261-C7363EB5A9F6}" type="pres">
      <dgm:prSet presAssocID="{7FAC7C40-8437-4581-AA4A-34CDF9E0E7E3}" presName="extraNode" presStyleLbl="node1" presStyleIdx="0" presStyleCnt="7"/>
      <dgm:spPr/>
    </dgm:pt>
    <dgm:pt modelId="{BAE95623-5577-424C-9349-85F3F46E6A6F}" type="pres">
      <dgm:prSet presAssocID="{7FAC7C40-8437-4581-AA4A-34CDF9E0E7E3}" presName="dstNode" presStyleLbl="node1" presStyleIdx="0" presStyleCnt="7"/>
      <dgm:spPr/>
    </dgm:pt>
    <dgm:pt modelId="{AA0EE0E9-DAD8-4547-9044-55A0100D76BA}" type="pres">
      <dgm:prSet presAssocID="{3D61B1C0-4CF4-4499-B895-AD129BF8B623}" presName="text_1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ka-GE"/>
        </a:p>
      </dgm:t>
    </dgm:pt>
    <dgm:pt modelId="{9C346AF7-8BA0-4D32-949D-AE9FD858EFDD}" type="pres">
      <dgm:prSet presAssocID="{3D61B1C0-4CF4-4499-B895-AD129BF8B623}" presName="accent_1" presStyleCnt="0"/>
      <dgm:spPr/>
    </dgm:pt>
    <dgm:pt modelId="{E417C984-E4E0-46C1-A1CB-C891AD6F7CFB}" type="pres">
      <dgm:prSet presAssocID="{3D61B1C0-4CF4-4499-B895-AD129BF8B623}" presName="accentRepeatNode" presStyleLbl="solidFgAcc1" presStyleIdx="0" presStyleCnt="7"/>
      <dgm:spPr/>
    </dgm:pt>
    <dgm:pt modelId="{E343C395-A135-4685-A3AD-ED5EE68A6C39}" type="pres">
      <dgm:prSet presAssocID="{41267391-EAC5-48D9-848E-90C6F18FBCE7}" presName="text_2" presStyleLbl="node1" presStyleIdx="1" presStyleCnt="7" custScaleY="122956">
        <dgm:presLayoutVars>
          <dgm:bulletEnabled val="1"/>
        </dgm:presLayoutVars>
      </dgm:prSet>
      <dgm:spPr/>
      <dgm:t>
        <a:bodyPr/>
        <a:lstStyle/>
        <a:p>
          <a:endParaRPr lang="ka-GE"/>
        </a:p>
      </dgm:t>
    </dgm:pt>
    <dgm:pt modelId="{A5C72688-825F-451C-AD73-27D46A3B4FA8}" type="pres">
      <dgm:prSet presAssocID="{41267391-EAC5-48D9-848E-90C6F18FBCE7}" presName="accent_2" presStyleCnt="0"/>
      <dgm:spPr/>
    </dgm:pt>
    <dgm:pt modelId="{858B52BC-CFD9-49C7-9934-1CCED68F2BFA}" type="pres">
      <dgm:prSet presAssocID="{41267391-EAC5-48D9-848E-90C6F18FBCE7}" presName="accentRepeatNode" presStyleLbl="solidFgAcc1" presStyleIdx="1" presStyleCnt="7"/>
      <dgm:spPr/>
    </dgm:pt>
    <dgm:pt modelId="{3A81B233-A3C0-412F-9F62-E4D31CD0E137}" type="pres">
      <dgm:prSet presAssocID="{175B5CC6-5AF5-405D-AEAD-A48472F8C945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ka-GE"/>
        </a:p>
      </dgm:t>
    </dgm:pt>
    <dgm:pt modelId="{DC82F9A8-02BE-43B5-A067-B9C6B7483A52}" type="pres">
      <dgm:prSet presAssocID="{175B5CC6-5AF5-405D-AEAD-A48472F8C945}" presName="accent_3" presStyleCnt="0"/>
      <dgm:spPr/>
    </dgm:pt>
    <dgm:pt modelId="{B19B8704-5506-4A32-9F63-23F47023C6AF}" type="pres">
      <dgm:prSet presAssocID="{175B5CC6-5AF5-405D-AEAD-A48472F8C945}" presName="accentRepeatNode" presStyleLbl="solidFgAcc1" presStyleIdx="2" presStyleCnt="7"/>
      <dgm:spPr/>
    </dgm:pt>
    <dgm:pt modelId="{CCC6C61A-5142-4F46-9FDE-38E44B032740}" type="pres">
      <dgm:prSet presAssocID="{EBB9C0D6-15ED-4FFE-BB22-760B68D20D0B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ka-GE"/>
        </a:p>
      </dgm:t>
    </dgm:pt>
    <dgm:pt modelId="{FE7B0EE7-6EE8-447A-87DC-554746AA99C8}" type="pres">
      <dgm:prSet presAssocID="{EBB9C0D6-15ED-4FFE-BB22-760B68D20D0B}" presName="accent_4" presStyleCnt="0"/>
      <dgm:spPr/>
    </dgm:pt>
    <dgm:pt modelId="{B5078A99-448B-4B01-80E2-93ADF4577388}" type="pres">
      <dgm:prSet presAssocID="{EBB9C0D6-15ED-4FFE-BB22-760B68D20D0B}" presName="accentRepeatNode" presStyleLbl="solidFgAcc1" presStyleIdx="3" presStyleCnt="7"/>
      <dgm:spPr/>
    </dgm:pt>
    <dgm:pt modelId="{294C0DD9-4109-4F04-8BF8-9AD918C49735}" type="pres">
      <dgm:prSet presAssocID="{010E7514-5412-4D1E-B491-CB2EEB8A1813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ka-GE"/>
        </a:p>
      </dgm:t>
    </dgm:pt>
    <dgm:pt modelId="{4242C2D3-1946-4F1D-B202-14400DB27820}" type="pres">
      <dgm:prSet presAssocID="{010E7514-5412-4D1E-B491-CB2EEB8A1813}" presName="accent_5" presStyleCnt="0"/>
      <dgm:spPr/>
    </dgm:pt>
    <dgm:pt modelId="{DF365D06-BD90-45BB-837B-A7BA5307B105}" type="pres">
      <dgm:prSet presAssocID="{010E7514-5412-4D1E-B491-CB2EEB8A1813}" presName="accentRepeatNode" presStyleLbl="solidFgAcc1" presStyleIdx="4" presStyleCnt="7"/>
      <dgm:spPr/>
    </dgm:pt>
    <dgm:pt modelId="{1AFA835B-7FB4-424F-97AC-A2DD025C9A2B}" type="pres">
      <dgm:prSet presAssocID="{77EEE9F4-087D-424F-BAB4-B06623D47176}" presName="text_6" presStyleLbl="node1" presStyleIdx="5" presStyleCnt="7" custLinFactNeighborX="-294" custLinFactNeighborY="-1055">
        <dgm:presLayoutVars>
          <dgm:bulletEnabled val="1"/>
        </dgm:presLayoutVars>
      </dgm:prSet>
      <dgm:spPr/>
      <dgm:t>
        <a:bodyPr/>
        <a:lstStyle/>
        <a:p>
          <a:endParaRPr lang="ka-GE"/>
        </a:p>
      </dgm:t>
    </dgm:pt>
    <dgm:pt modelId="{864EA30A-5E66-407A-8C5B-0DE8D94AEA71}" type="pres">
      <dgm:prSet presAssocID="{77EEE9F4-087D-424F-BAB4-B06623D47176}" presName="accent_6" presStyleCnt="0"/>
      <dgm:spPr/>
    </dgm:pt>
    <dgm:pt modelId="{EEBF34F6-C3FF-4465-9ED3-FA00270BD6E4}" type="pres">
      <dgm:prSet presAssocID="{77EEE9F4-087D-424F-BAB4-B06623D47176}" presName="accentRepeatNode" presStyleLbl="solidFgAcc1" presStyleIdx="5" presStyleCnt="7"/>
      <dgm:spPr/>
    </dgm:pt>
    <dgm:pt modelId="{412425CB-C025-4D03-A9C8-7A138A27E019}" type="pres">
      <dgm:prSet presAssocID="{C0F3536C-C192-45B9-9A64-3BE5B8278FFE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ka-GE"/>
        </a:p>
      </dgm:t>
    </dgm:pt>
    <dgm:pt modelId="{D1028120-1AA3-4AEC-B952-C2196129DAB8}" type="pres">
      <dgm:prSet presAssocID="{C0F3536C-C192-45B9-9A64-3BE5B8278FFE}" presName="accent_7" presStyleCnt="0"/>
      <dgm:spPr/>
    </dgm:pt>
    <dgm:pt modelId="{D106242A-BDFF-4B84-8B0D-C44047E46487}" type="pres">
      <dgm:prSet presAssocID="{C0F3536C-C192-45B9-9A64-3BE5B8278FFE}" presName="accentRepeatNode" presStyleLbl="solidFgAcc1" presStyleIdx="6" presStyleCnt="7"/>
      <dgm:spPr/>
    </dgm:pt>
  </dgm:ptLst>
  <dgm:cxnLst>
    <dgm:cxn modelId="{45A1880C-2875-451E-A983-B1FDB66436C4}" type="presOf" srcId="{CF8DE282-F109-4AC2-A0E9-CFF77C20BC30}" destId="{F65A1F7B-44E3-48EC-BCF2-C59B32C130D1}" srcOrd="0" destOrd="0" presId="urn:microsoft.com/office/officeart/2008/layout/VerticalCurvedList"/>
    <dgm:cxn modelId="{F25F7D8C-38ED-4DC8-B077-1BB68603FAAB}" srcId="{7FAC7C40-8437-4581-AA4A-34CDF9E0E7E3}" destId="{41267391-EAC5-48D9-848E-90C6F18FBCE7}" srcOrd="1" destOrd="0" parTransId="{0FB58E60-2ED4-4909-A001-EDD7625D3CEB}" sibTransId="{B5F9394C-0589-416B-BD8B-9F45C344F4FE}"/>
    <dgm:cxn modelId="{0CF5CEE3-C3DF-4830-9BED-D6515BECF793}" type="presOf" srcId="{C0F3536C-C192-45B9-9A64-3BE5B8278FFE}" destId="{412425CB-C025-4D03-A9C8-7A138A27E019}" srcOrd="0" destOrd="0" presId="urn:microsoft.com/office/officeart/2008/layout/VerticalCurvedList"/>
    <dgm:cxn modelId="{57856954-CB01-473A-9D3F-8CBC38FAA571}" srcId="{7FAC7C40-8437-4581-AA4A-34CDF9E0E7E3}" destId="{3D61B1C0-4CF4-4499-B895-AD129BF8B623}" srcOrd="0" destOrd="0" parTransId="{DBB6FECA-46EC-4725-B274-FA505FD36144}" sibTransId="{CF8DE282-F109-4AC2-A0E9-CFF77C20BC30}"/>
    <dgm:cxn modelId="{452D6E83-BE14-4CBB-96F6-4A07FCECEEA0}" type="presOf" srcId="{EBB9C0D6-15ED-4FFE-BB22-760B68D20D0B}" destId="{CCC6C61A-5142-4F46-9FDE-38E44B032740}" srcOrd="0" destOrd="0" presId="urn:microsoft.com/office/officeart/2008/layout/VerticalCurvedList"/>
    <dgm:cxn modelId="{BD8CE5B2-3721-4954-937D-5337A1B78E83}" type="presOf" srcId="{3D61B1C0-4CF4-4499-B895-AD129BF8B623}" destId="{AA0EE0E9-DAD8-4547-9044-55A0100D76BA}" srcOrd="0" destOrd="0" presId="urn:microsoft.com/office/officeart/2008/layout/VerticalCurvedList"/>
    <dgm:cxn modelId="{5D52C6B7-4870-4F60-A520-7ABD6C9D21D9}" srcId="{7FAC7C40-8437-4581-AA4A-34CDF9E0E7E3}" destId="{175B5CC6-5AF5-405D-AEAD-A48472F8C945}" srcOrd="2" destOrd="0" parTransId="{58C4B6E9-3E19-4072-AD7B-380EEFEB2994}" sibTransId="{16975CAD-1B78-45A8-8710-E3DB2EB9CCB6}"/>
    <dgm:cxn modelId="{B5ADD2A8-4772-419A-AA07-28A4ADBF4928}" srcId="{7FAC7C40-8437-4581-AA4A-34CDF9E0E7E3}" destId="{EBB9C0D6-15ED-4FFE-BB22-760B68D20D0B}" srcOrd="3" destOrd="0" parTransId="{007B2544-FD06-4A77-A10D-4476569DFF8E}" sibTransId="{0CA2A821-47A7-4E5B-88F9-B0CDB62FDF43}"/>
    <dgm:cxn modelId="{D683E2CD-BE08-45B4-A22F-59B44194521C}" type="presOf" srcId="{010E7514-5412-4D1E-B491-CB2EEB8A1813}" destId="{294C0DD9-4109-4F04-8BF8-9AD918C49735}" srcOrd="0" destOrd="0" presId="urn:microsoft.com/office/officeart/2008/layout/VerticalCurvedList"/>
    <dgm:cxn modelId="{D79CF36C-06EA-4EAB-962A-7229C2DC6650}" type="presOf" srcId="{77EEE9F4-087D-424F-BAB4-B06623D47176}" destId="{1AFA835B-7FB4-424F-97AC-A2DD025C9A2B}" srcOrd="0" destOrd="0" presId="urn:microsoft.com/office/officeart/2008/layout/VerticalCurvedList"/>
    <dgm:cxn modelId="{FE0DAC21-474F-49CA-81E4-CA71FB3B5745}" type="presOf" srcId="{175B5CC6-5AF5-405D-AEAD-A48472F8C945}" destId="{3A81B233-A3C0-412F-9F62-E4D31CD0E137}" srcOrd="0" destOrd="0" presId="urn:microsoft.com/office/officeart/2008/layout/VerticalCurvedList"/>
    <dgm:cxn modelId="{20E27051-E08D-4989-9DAB-A1DDCBCD60E5}" type="presOf" srcId="{7FAC7C40-8437-4581-AA4A-34CDF9E0E7E3}" destId="{29EDF4CE-0B25-45C9-9BD9-4753740B7803}" srcOrd="0" destOrd="0" presId="urn:microsoft.com/office/officeart/2008/layout/VerticalCurvedList"/>
    <dgm:cxn modelId="{3DF14756-3313-4E5E-8958-9F35036750B1}" srcId="{7FAC7C40-8437-4581-AA4A-34CDF9E0E7E3}" destId="{77EEE9F4-087D-424F-BAB4-B06623D47176}" srcOrd="5" destOrd="0" parTransId="{02EFBBCD-F128-4A43-9272-F9319DFEECBD}" sibTransId="{44D82C1D-24C0-4AA8-9980-A8F3BCFA8AD4}"/>
    <dgm:cxn modelId="{2E7EA814-A208-4D30-8334-B892AD0A0B56}" type="presOf" srcId="{41267391-EAC5-48D9-848E-90C6F18FBCE7}" destId="{E343C395-A135-4685-A3AD-ED5EE68A6C39}" srcOrd="0" destOrd="0" presId="urn:microsoft.com/office/officeart/2008/layout/VerticalCurvedList"/>
    <dgm:cxn modelId="{4BB62399-1173-4869-A2A3-741E869D1C22}" srcId="{7FAC7C40-8437-4581-AA4A-34CDF9E0E7E3}" destId="{C0F3536C-C192-45B9-9A64-3BE5B8278FFE}" srcOrd="6" destOrd="0" parTransId="{B7C3219B-790B-47D2-9525-641990706E73}" sibTransId="{23A13F15-4984-4A73-B12B-086AE443C437}"/>
    <dgm:cxn modelId="{8B0D2AC5-FB9F-4B0B-85CF-6BEF933D9FB0}" srcId="{7FAC7C40-8437-4581-AA4A-34CDF9E0E7E3}" destId="{010E7514-5412-4D1E-B491-CB2EEB8A1813}" srcOrd="4" destOrd="0" parTransId="{FF1B9FE7-FD4B-412C-901E-A4057648F48D}" sibTransId="{3327E826-6DF9-4685-9F29-04D2CA5809C3}"/>
    <dgm:cxn modelId="{25DF361E-FEFC-46CD-A3A9-C5173E04069C}" type="presParOf" srcId="{29EDF4CE-0B25-45C9-9BD9-4753740B7803}" destId="{26C1825C-3F51-42D8-B1DC-37EC578D6499}" srcOrd="0" destOrd="0" presId="urn:microsoft.com/office/officeart/2008/layout/VerticalCurvedList"/>
    <dgm:cxn modelId="{B2D572EA-C274-49EF-B104-BFF1D683D689}" type="presParOf" srcId="{26C1825C-3F51-42D8-B1DC-37EC578D6499}" destId="{0AE882FF-C365-4E1B-9725-E6F0416E4F03}" srcOrd="0" destOrd="0" presId="urn:microsoft.com/office/officeart/2008/layout/VerticalCurvedList"/>
    <dgm:cxn modelId="{B13EBC05-AD5E-48AD-8098-51D1D854CC19}" type="presParOf" srcId="{0AE882FF-C365-4E1B-9725-E6F0416E4F03}" destId="{323CDCAC-B3FD-41E1-8DEE-3B883F360026}" srcOrd="0" destOrd="0" presId="urn:microsoft.com/office/officeart/2008/layout/VerticalCurvedList"/>
    <dgm:cxn modelId="{4E05D03B-548C-4A74-8CD9-F115BA2653D3}" type="presParOf" srcId="{0AE882FF-C365-4E1B-9725-E6F0416E4F03}" destId="{F65A1F7B-44E3-48EC-BCF2-C59B32C130D1}" srcOrd="1" destOrd="0" presId="urn:microsoft.com/office/officeart/2008/layout/VerticalCurvedList"/>
    <dgm:cxn modelId="{1873AFD7-7FCB-423A-BC67-B7F8B0CAAB59}" type="presParOf" srcId="{0AE882FF-C365-4E1B-9725-E6F0416E4F03}" destId="{4B736B22-7A6F-41F5-B261-C7363EB5A9F6}" srcOrd="2" destOrd="0" presId="urn:microsoft.com/office/officeart/2008/layout/VerticalCurvedList"/>
    <dgm:cxn modelId="{761DB42D-DB97-4293-AAB1-D4C29D0E4088}" type="presParOf" srcId="{0AE882FF-C365-4E1B-9725-E6F0416E4F03}" destId="{BAE95623-5577-424C-9349-85F3F46E6A6F}" srcOrd="3" destOrd="0" presId="urn:microsoft.com/office/officeart/2008/layout/VerticalCurvedList"/>
    <dgm:cxn modelId="{F8997410-4E1B-4855-AF71-A9F2561ABDE3}" type="presParOf" srcId="{26C1825C-3F51-42D8-B1DC-37EC578D6499}" destId="{AA0EE0E9-DAD8-4547-9044-55A0100D76BA}" srcOrd="1" destOrd="0" presId="urn:microsoft.com/office/officeart/2008/layout/VerticalCurvedList"/>
    <dgm:cxn modelId="{C4AC08F5-F084-45E9-BB26-48BAB51DC165}" type="presParOf" srcId="{26C1825C-3F51-42D8-B1DC-37EC578D6499}" destId="{9C346AF7-8BA0-4D32-949D-AE9FD858EFDD}" srcOrd="2" destOrd="0" presId="urn:microsoft.com/office/officeart/2008/layout/VerticalCurvedList"/>
    <dgm:cxn modelId="{27F3F774-4161-42C8-B60B-2DE8BD4B7BAF}" type="presParOf" srcId="{9C346AF7-8BA0-4D32-949D-AE9FD858EFDD}" destId="{E417C984-E4E0-46C1-A1CB-C891AD6F7CFB}" srcOrd="0" destOrd="0" presId="urn:microsoft.com/office/officeart/2008/layout/VerticalCurvedList"/>
    <dgm:cxn modelId="{D7DF4CC3-7644-4E04-9C60-1707C131EFBA}" type="presParOf" srcId="{26C1825C-3F51-42D8-B1DC-37EC578D6499}" destId="{E343C395-A135-4685-A3AD-ED5EE68A6C39}" srcOrd="3" destOrd="0" presId="urn:microsoft.com/office/officeart/2008/layout/VerticalCurvedList"/>
    <dgm:cxn modelId="{6AC5767A-38EA-48A6-A38F-95CF6AF62517}" type="presParOf" srcId="{26C1825C-3F51-42D8-B1DC-37EC578D6499}" destId="{A5C72688-825F-451C-AD73-27D46A3B4FA8}" srcOrd="4" destOrd="0" presId="urn:microsoft.com/office/officeart/2008/layout/VerticalCurvedList"/>
    <dgm:cxn modelId="{F27A2C8F-7CB8-4DF9-84D1-90E77C6C66B4}" type="presParOf" srcId="{A5C72688-825F-451C-AD73-27D46A3B4FA8}" destId="{858B52BC-CFD9-49C7-9934-1CCED68F2BFA}" srcOrd="0" destOrd="0" presId="urn:microsoft.com/office/officeart/2008/layout/VerticalCurvedList"/>
    <dgm:cxn modelId="{285B9C97-6960-45D6-BFCD-7C97CC949C78}" type="presParOf" srcId="{26C1825C-3F51-42D8-B1DC-37EC578D6499}" destId="{3A81B233-A3C0-412F-9F62-E4D31CD0E137}" srcOrd="5" destOrd="0" presId="urn:microsoft.com/office/officeart/2008/layout/VerticalCurvedList"/>
    <dgm:cxn modelId="{3C335575-9F99-46FC-854F-7870E0A3D67F}" type="presParOf" srcId="{26C1825C-3F51-42D8-B1DC-37EC578D6499}" destId="{DC82F9A8-02BE-43B5-A067-B9C6B7483A52}" srcOrd="6" destOrd="0" presId="urn:microsoft.com/office/officeart/2008/layout/VerticalCurvedList"/>
    <dgm:cxn modelId="{3B4ABB0E-992C-458E-9F4D-80E1262D0704}" type="presParOf" srcId="{DC82F9A8-02BE-43B5-A067-B9C6B7483A52}" destId="{B19B8704-5506-4A32-9F63-23F47023C6AF}" srcOrd="0" destOrd="0" presId="urn:microsoft.com/office/officeart/2008/layout/VerticalCurvedList"/>
    <dgm:cxn modelId="{BE408361-B3B3-49D5-AA14-7574F9C477D1}" type="presParOf" srcId="{26C1825C-3F51-42D8-B1DC-37EC578D6499}" destId="{CCC6C61A-5142-4F46-9FDE-38E44B032740}" srcOrd="7" destOrd="0" presId="urn:microsoft.com/office/officeart/2008/layout/VerticalCurvedList"/>
    <dgm:cxn modelId="{845CCB24-BE1F-47F8-8707-67D241774BB6}" type="presParOf" srcId="{26C1825C-3F51-42D8-B1DC-37EC578D6499}" destId="{FE7B0EE7-6EE8-447A-87DC-554746AA99C8}" srcOrd="8" destOrd="0" presId="urn:microsoft.com/office/officeart/2008/layout/VerticalCurvedList"/>
    <dgm:cxn modelId="{EBFF1439-2398-415F-86D0-0A5EB9661847}" type="presParOf" srcId="{FE7B0EE7-6EE8-447A-87DC-554746AA99C8}" destId="{B5078A99-448B-4B01-80E2-93ADF4577388}" srcOrd="0" destOrd="0" presId="urn:microsoft.com/office/officeart/2008/layout/VerticalCurvedList"/>
    <dgm:cxn modelId="{DB4E77CF-D447-4A16-BB7B-AB11253B36C6}" type="presParOf" srcId="{26C1825C-3F51-42D8-B1DC-37EC578D6499}" destId="{294C0DD9-4109-4F04-8BF8-9AD918C49735}" srcOrd="9" destOrd="0" presId="urn:microsoft.com/office/officeart/2008/layout/VerticalCurvedList"/>
    <dgm:cxn modelId="{1DE04A7C-3320-4CAD-A3E4-8C1AE42CEE6B}" type="presParOf" srcId="{26C1825C-3F51-42D8-B1DC-37EC578D6499}" destId="{4242C2D3-1946-4F1D-B202-14400DB27820}" srcOrd="10" destOrd="0" presId="urn:microsoft.com/office/officeart/2008/layout/VerticalCurvedList"/>
    <dgm:cxn modelId="{40FF2733-0456-474E-8906-9E1F9EC685C7}" type="presParOf" srcId="{4242C2D3-1946-4F1D-B202-14400DB27820}" destId="{DF365D06-BD90-45BB-837B-A7BA5307B105}" srcOrd="0" destOrd="0" presId="urn:microsoft.com/office/officeart/2008/layout/VerticalCurvedList"/>
    <dgm:cxn modelId="{DD1B80C8-4712-413B-B3F7-80C72CDD1418}" type="presParOf" srcId="{26C1825C-3F51-42D8-B1DC-37EC578D6499}" destId="{1AFA835B-7FB4-424F-97AC-A2DD025C9A2B}" srcOrd="11" destOrd="0" presId="urn:microsoft.com/office/officeart/2008/layout/VerticalCurvedList"/>
    <dgm:cxn modelId="{B04008F4-D5F3-46AD-BE1C-7FEE623258DC}" type="presParOf" srcId="{26C1825C-3F51-42D8-B1DC-37EC578D6499}" destId="{864EA30A-5E66-407A-8C5B-0DE8D94AEA71}" srcOrd="12" destOrd="0" presId="urn:microsoft.com/office/officeart/2008/layout/VerticalCurvedList"/>
    <dgm:cxn modelId="{2D5AE897-85C0-4E87-AD27-2EB5C5374089}" type="presParOf" srcId="{864EA30A-5E66-407A-8C5B-0DE8D94AEA71}" destId="{EEBF34F6-C3FF-4465-9ED3-FA00270BD6E4}" srcOrd="0" destOrd="0" presId="urn:microsoft.com/office/officeart/2008/layout/VerticalCurvedList"/>
    <dgm:cxn modelId="{B23C9F09-8343-4A8B-85BC-BA7ABA11E42C}" type="presParOf" srcId="{26C1825C-3F51-42D8-B1DC-37EC578D6499}" destId="{412425CB-C025-4D03-A9C8-7A138A27E019}" srcOrd="13" destOrd="0" presId="urn:microsoft.com/office/officeart/2008/layout/VerticalCurvedList"/>
    <dgm:cxn modelId="{E64AC3A2-2533-4EFF-8C6F-FE4E1DB816B4}" type="presParOf" srcId="{26C1825C-3F51-42D8-B1DC-37EC578D6499}" destId="{D1028120-1AA3-4AEC-B952-C2196129DAB8}" srcOrd="14" destOrd="0" presId="urn:microsoft.com/office/officeart/2008/layout/VerticalCurvedList"/>
    <dgm:cxn modelId="{BEC970EE-40A4-477B-BA8D-F11636F6F34E}" type="presParOf" srcId="{D1028120-1AA3-4AEC-B952-C2196129DAB8}" destId="{D106242A-BDFF-4B84-8B0D-C44047E46487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FAC7C40-8437-4581-AA4A-34CDF9E0E7E3}" type="doc">
      <dgm:prSet loTypeId="urn:microsoft.com/office/officeart/2008/layout/VerticalCurvedList" loCatId="list" qsTypeId="urn:microsoft.com/office/officeart/2005/8/quickstyle/simple3" qsCatId="simple" csTypeId="urn:microsoft.com/office/officeart/2005/8/colors/colorful4" csCatId="colorful" phldr="1"/>
      <dgm:spPr/>
      <dgm:t>
        <a:bodyPr/>
        <a:lstStyle/>
        <a:p>
          <a:endParaRPr lang="ka-GE"/>
        </a:p>
      </dgm:t>
    </dgm:pt>
    <dgm:pt modelId="{3D61B1C0-4CF4-4499-B895-AD129BF8B623}">
      <dgm:prSet phldrT="[Text]" custT="1"/>
      <dgm:spPr/>
      <dgm:t>
        <a:bodyPr/>
        <a:lstStyle/>
        <a:p>
          <a:r>
            <a:rPr lang="en-US" sz="1400" b="1" dirty="0" smtClean="0">
              <a:solidFill>
                <a:srgbClr val="002060"/>
              </a:solidFill>
            </a:rPr>
            <a:t>Victim and abuser</a:t>
          </a:r>
          <a:endParaRPr lang="ka-GE" sz="1400" b="1" dirty="0">
            <a:solidFill>
              <a:srgbClr val="002060"/>
            </a:solidFill>
          </a:endParaRPr>
        </a:p>
      </dgm:t>
    </dgm:pt>
    <dgm:pt modelId="{DBB6FECA-46EC-4725-B274-FA505FD36144}" type="parTrans" cxnId="{57856954-CB01-473A-9D3F-8CBC38FAA571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CF8DE282-F109-4AC2-A0E9-CFF77C20BC30}" type="sibTrans" cxnId="{57856954-CB01-473A-9D3F-8CBC38FAA571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41267391-EAC5-48D9-848E-90C6F18FBCE7}">
      <dgm:prSet phldrT="[Text]" custT="1"/>
      <dgm:spPr/>
      <dgm:t>
        <a:bodyPr/>
        <a:lstStyle/>
        <a:p>
          <a:pPr algn="l"/>
          <a:r>
            <a:rPr lang="en-US" sz="1400" b="1" dirty="0" smtClean="0">
              <a:solidFill>
                <a:srgbClr val="002060"/>
              </a:solidFill>
            </a:rPr>
            <a:t>Domestic violence against children </a:t>
          </a:r>
          <a:endParaRPr lang="ka-GE" sz="1400" b="1" dirty="0">
            <a:solidFill>
              <a:srgbClr val="002060"/>
            </a:solidFill>
          </a:endParaRPr>
        </a:p>
      </dgm:t>
    </dgm:pt>
    <dgm:pt modelId="{0FB58E60-2ED4-4909-A001-EDD7625D3CEB}" type="parTrans" cxnId="{F25F7D8C-38ED-4DC8-B077-1BB68603FAAB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B5F9394C-0589-416B-BD8B-9F45C344F4FE}" type="sibTrans" cxnId="{F25F7D8C-38ED-4DC8-B077-1BB68603FAAB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EBB9C0D6-15ED-4FFE-BB22-760B68D20D0B}">
      <dgm:prSet phldrT="[Text]" custT="1"/>
      <dgm:spPr/>
      <dgm:t>
        <a:bodyPr/>
        <a:lstStyle/>
        <a:p>
          <a:r>
            <a:rPr lang="en-US" sz="1400" dirty="0" smtClean="0">
              <a:solidFill>
                <a:srgbClr val="002060"/>
              </a:solidFill>
            </a:rPr>
            <a:t>Grounds for co-existence of victims with the abuser and refusal to help; Hiding or denying domestic violence by victims and witnesses; Thoughts and feelings of domestic violence victims and witnesses</a:t>
          </a:r>
          <a:endParaRPr lang="ka-GE" sz="1400" b="1" dirty="0" smtClean="0">
            <a:solidFill>
              <a:srgbClr val="002060"/>
            </a:solidFill>
          </a:endParaRPr>
        </a:p>
      </dgm:t>
    </dgm:pt>
    <dgm:pt modelId="{007B2544-FD06-4A77-A10D-4476569DFF8E}" type="parTrans" cxnId="{B5ADD2A8-4772-419A-AA07-28A4ADBF4928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0CA2A821-47A7-4E5B-88F9-B0CDB62FDF43}" type="sibTrans" cxnId="{B5ADD2A8-4772-419A-AA07-28A4ADBF4928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010E7514-5412-4D1E-B491-CB2EEB8A1813}">
      <dgm:prSet phldrT="[Text]" custT="1"/>
      <dgm:spPr/>
      <dgm:t>
        <a:bodyPr/>
        <a:lstStyle/>
        <a:p>
          <a:r>
            <a:rPr lang="en-US" sz="1400" b="1" dirty="0" smtClean="0">
              <a:solidFill>
                <a:srgbClr val="002060"/>
              </a:solidFill>
            </a:rPr>
            <a:t>Psycho-emotional aspects of working with the witness and abuser of domestic violence</a:t>
          </a:r>
          <a:endParaRPr lang="ka-GE" sz="1400" b="1" dirty="0" smtClean="0">
            <a:solidFill>
              <a:srgbClr val="002060"/>
            </a:solidFill>
          </a:endParaRPr>
        </a:p>
      </dgm:t>
    </dgm:pt>
    <dgm:pt modelId="{FF1B9FE7-FD4B-412C-901E-A4057648F48D}" type="parTrans" cxnId="{8B0D2AC5-FB9F-4B0B-85CF-6BEF933D9FB0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3327E826-6DF9-4685-9F29-04D2CA5809C3}" type="sibTrans" cxnId="{8B0D2AC5-FB9F-4B0B-85CF-6BEF933D9FB0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175B5CC6-5AF5-405D-AEAD-A48472F8C945}">
      <dgm:prSet phldrT="[Text]" custT="1"/>
      <dgm:spPr/>
      <dgm:t>
        <a:bodyPr/>
        <a:lstStyle/>
        <a:p>
          <a:r>
            <a:rPr lang="en-US" sz="1400" b="1" dirty="0" smtClean="0">
              <a:solidFill>
                <a:srgbClr val="002060"/>
              </a:solidFill>
            </a:rPr>
            <a:t>Domestic violence and stress</a:t>
          </a:r>
          <a:endParaRPr lang="ka-GE" sz="1400" b="1" dirty="0">
            <a:solidFill>
              <a:srgbClr val="002060"/>
            </a:solidFill>
          </a:endParaRPr>
        </a:p>
      </dgm:t>
    </dgm:pt>
    <dgm:pt modelId="{58C4B6E9-3E19-4072-AD7B-380EEFEB2994}" type="parTrans" cxnId="{5D52C6B7-4870-4F60-A520-7ABD6C9D21D9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16975CAD-1B78-45A8-8710-E3DB2EB9CCB6}" type="sibTrans" cxnId="{5D52C6B7-4870-4F60-A520-7ABD6C9D21D9}">
      <dgm:prSet/>
      <dgm:spPr/>
      <dgm:t>
        <a:bodyPr/>
        <a:lstStyle/>
        <a:p>
          <a:endParaRPr lang="ka-GE" b="1">
            <a:solidFill>
              <a:srgbClr val="002060"/>
            </a:solidFill>
          </a:endParaRPr>
        </a:p>
      </dgm:t>
    </dgm:pt>
    <dgm:pt modelId="{95F22F87-8303-4728-BAA3-264910231953}">
      <dgm:prSet custT="1"/>
      <dgm:spPr/>
      <dgm:t>
        <a:bodyPr/>
        <a:lstStyle/>
        <a:p>
          <a:r>
            <a:rPr lang="en-US" sz="1300" dirty="0" smtClean="0">
              <a:solidFill>
                <a:srgbClr val="002060"/>
              </a:solidFill>
            </a:rPr>
            <a:t>Psychological portrait of a victim and an abuser; "learned helplessness" syndrome in victims; Stockholm syndrome</a:t>
          </a:r>
          <a:endParaRPr lang="ka-GE" sz="1300" dirty="0">
            <a:solidFill>
              <a:srgbClr val="002060"/>
            </a:solidFill>
          </a:endParaRPr>
        </a:p>
      </dgm:t>
    </dgm:pt>
    <dgm:pt modelId="{8B6D21AE-97E5-4A8A-B485-9CD07AF1388A}" type="parTrans" cxnId="{151D8C97-7791-4F6D-A14C-0F5E3F125B80}">
      <dgm:prSet/>
      <dgm:spPr/>
      <dgm:t>
        <a:bodyPr/>
        <a:lstStyle/>
        <a:p>
          <a:endParaRPr lang="ka-GE"/>
        </a:p>
      </dgm:t>
    </dgm:pt>
    <dgm:pt modelId="{937B98EC-8016-43D9-92F4-18272150F60B}" type="sibTrans" cxnId="{151D8C97-7791-4F6D-A14C-0F5E3F125B80}">
      <dgm:prSet/>
      <dgm:spPr/>
      <dgm:t>
        <a:bodyPr/>
        <a:lstStyle/>
        <a:p>
          <a:endParaRPr lang="ka-GE"/>
        </a:p>
      </dgm:t>
    </dgm:pt>
    <dgm:pt modelId="{B18419B1-889B-4CF4-9BC7-32C4B8DECF08}">
      <dgm:prSet custT="1"/>
      <dgm:spPr/>
      <dgm:t>
        <a:bodyPr/>
        <a:lstStyle/>
        <a:p>
          <a:pPr algn="just"/>
          <a:r>
            <a:rPr lang="en-US" sz="1300" b="0" dirty="0" smtClean="0">
              <a:solidFill>
                <a:srgbClr val="002060"/>
              </a:solidFill>
            </a:rPr>
            <a:t>Historical retrospective phenomenon of child abuse in families;  Forms, main causes and consequences of child abuse in a family; Psychological portrait of child victims of domestic violence; Signs of violence in parents</a:t>
          </a:r>
          <a:endParaRPr lang="ka-GE" sz="1300" b="0" dirty="0">
            <a:solidFill>
              <a:srgbClr val="002060"/>
            </a:solidFill>
          </a:endParaRPr>
        </a:p>
      </dgm:t>
    </dgm:pt>
    <dgm:pt modelId="{FF4244B1-E520-4FF4-8DD3-385EC2241DBF}" type="parTrans" cxnId="{A6F4EEA6-10F0-4AC1-853E-A5F973D7BE50}">
      <dgm:prSet/>
      <dgm:spPr/>
      <dgm:t>
        <a:bodyPr/>
        <a:lstStyle/>
        <a:p>
          <a:endParaRPr lang="ka-GE"/>
        </a:p>
      </dgm:t>
    </dgm:pt>
    <dgm:pt modelId="{4BD483EC-E6F3-464B-BE31-552B694D4A28}" type="sibTrans" cxnId="{A6F4EEA6-10F0-4AC1-853E-A5F973D7BE50}">
      <dgm:prSet/>
      <dgm:spPr/>
      <dgm:t>
        <a:bodyPr/>
        <a:lstStyle/>
        <a:p>
          <a:endParaRPr lang="ka-GE"/>
        </a:p>
      </dgm:t>
    </dgm:pt>
    <dgm:pt modelId="{C7669591-9595-4308-9C79-BEBA504E2052}">
      <dgm:prSet custT="1"/>
      <dgm:spPr/>
      <dgm:t>
        <a:bodyPr/>
        <a:lstStyle/>
        <a:p>
          <a:r>
            <a:rPr lang="en-US" sz="1400" dirty="0" smtClean="0">
              <a:solidFill>
                <a:srgbClr val="002060"/>
              </a:solidFill>
            </a:rPr>
            <a:t>Mental trauma and stress caused by domestic violence; Mechanism for the formation of traumatic stress; Stress Reaction Phases; Fear as a responsive reaction; Dissociation; Traumatic psychological crises</a:t>
          </a:r>
          <a:endParaRPr lang="ka-GE" sz="1400" dirty="0"/>
        </a:p>
      </dgm:t>
    </dgm:pt>
    <dgm:pt modelId="{35D995AA-8A60-48FF-8744-3FE649883547}" type="parTrans" cxnId="{46288AD5-56AF-4CB7-BEFE-A2C77E75193C}">
      <dgm:prSet/>
      <dgm:spPr/>
      <dgm:t>
        <a:bodyPr/>
        <a:lstStyle/>
        <a:p>
          <a:endParaRPr lang="ka-GE"/>
        </a:p>
      </dgm:t>
    </dgm:pt>
    <dgm:pt modelId="{A392165E-97F7-493D-A6D7-1965BF5E2B58}" type="sibTrans" cxnId="{46288AD5-56AF-4CB7-BEFE-A2C77E75193C}">
      <dgm:prSet/>
      <dgm:spPr/>
      <dgm:t>
        <a:bodyPr/>
        <a:lstStyle/>
        <a:p>
          <a:endParaRPr lang="ka-GE"/>
        </a:p>
      </dgm:t>
    </dgm:pt>
    <dgm:pt modelId="{A005E13C-0501-4DBE-87CB-0A6A909F3A3C}">
      <dgm:prSet custT="1"/>
      <dgm:spPr/>
      <dgm:t>
        <a:bodyPr/>
        <a:lstStyle/>
        <a:p>
          <a:r>
            <a:rPr lang="en-US" sz="1400" b="0" dirty="0" smtClean="0">
              <a:solidFill>
                <a:srgbClr val="002060"/>
              </a:solidFill>
            </a:rPr>
            <a:t>Relationship skills and style;  Barriers in a relationship; characteristics and ethical principles of a relationship with victims of domestic violence; Peculiarities of conducting a conversation with victims/witnesses and abusers of domestic violence; Development of ascetics.</a:t>
          </a:r>
          <a:endParaRPr lang="ka-GE" sz="1400" b="0" dirty="0">
            <a:solidFill>
              <a:srgbClr val="002060"/>
            </a:solidFill>
          </a:endParaRPr>
        </a:p>
      </dgm:t>
    </dgm:pt>
    <dgm:pt modelId="{A0C4B7D6-BD20-4ACE-9117-2A6BE946579A}" type="parTrans" cxnId="{EF003C02-4470-47A4-9848-CF588E9676F5}">
      <dgm:prSet/>
      <dgm:spPr/>
      <dgm:t>
        <a:bodyPr/>
        <a:lstStyle/>
        <a:p>
          <a:endParaRPr lang="ka-GE"/>
        </a:p>
      </dgm:t>
    </dgm:pt>
    <dgm:pt modelId="{6A725DA4-D962-47E4-B99B-E69862FCAD04}" type="sibTrans" cxnId="{EF003C02-4470-47A4-9848-CF588E9676F5}">
      <dgm:prSet/>
      <dgm:spPr/>
      <dgm:t>
        <a:bodyPr/>
        <a:lstStyle/>
        <a:p>
          <a:endParaRPr lang="ka-GE"/>
        </a:p>
      </dgm:t>
    </dgm:pt>
    <dgm:pt modelId="{29EDF4CE-0B25-45C9-9BD9-4753740B7803}" type="pres">
      <dgm:prSet presAssocID="{7FAC7C40-8437-4581-AA4A-34CDF9E0E7E3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ka-GE"/>
        </a:p>
      </dgm:t>
    </dgm:pt>
    <dgm:pt modelId="{26C1825C-3F51-42D8-B1DC-37EC578D6499}" type="pres">
      <dgm:prSet presAssocID="{7FAC7C40-8437-4581-AA4A-34CDF9E0E7E3}" presName="Name1" presStyleCnt="0"/>
      <dgm:spPr/>
    </dgm:pt>
    <dgm:pt modelId="{0AE882FF-C365-4E1B-9725-E6F0416E4F03}" type="pres">
      <dgm:prSet presAssocID="{7FAC7C40-8437-4581-AA4A-34CDF9E0E7E3}" presName="cycle" presStyleCnt="0"/>
      <dgm:spPr/>
    </dgm:pt>
    <dgm:pt modelId="{323CDCAC-B3FD-41E1-8DEE-3B883F360026}" type="pres">
      <dgm:prSet presAssocID="{7FAC7C40-8437-4581-AA4A-34CDF9E0E7E3}" presName="srcNode" presStyleLbl="node1" presStyleIdx="0" presStyleCnt="5"/>
      <dgm:spPr/>
    </dgm:pt>
    <dgm:pt modelId="{F65A1F7B-44E3-48EC-BCF2-C59B32C130D1}" type="pres">
      <dgm:prSet presAssocID="{7FAC7C40-8437-4581-AA4A-34CDF9E0E7E3}" presName="conn" presStyleLbl="parChTrans1D2" presStyleIdx="0" presStyleCnt="1"/>
      <dgm:spPr/>
      <dgm:t>
        <a:bodyPr/>
        <a:lstStyle/>
        <a:p>
          <a:endParaRPr lang="ka-GE"/>
        </a:p>
      </dgm:t>
    </dgm:pt>
    <dgm:pt modelId="{4B736B22-7A6F-41F5-B261-C7363EB5A9F6}" type="pres">
      <dgm:prSet presAssocID="{7FAC7C40-8437-4581-AA4A-34CDF9E0E7E3}" presName="extraNode" presStyleLbl="node1" presStyleIdx="0" presStyleCnt="5"/>
      <dgm:spPr/>
    </dgm:pt>
    <dgm:pt modelId="{BAE95623-5577-424C-9349-85F3F46E6A6F}" type="pres">
      <dgm:prSet presAssocID="{7FAC7C40-8437-4581-AA4A-34CDF9E0E7E3}" presName="dstNode" presStyleLbl="node1" presStyleIdx="0" presStyleCnt="5"/>
      <dgm:spPr/>
    </dgm:pt>
    <dgm:pt modelId="{AA0EE0E9-DAD8-4547-9044-55A0100D76BA}" type="pres">
      <dgm:prSet presAssocID="{3D61B1C0-4CF4-4499-B895-AD129BF8B623}" presName="text_1" presStyleLbl="node1" presStyleIdx="0" presStyleCnt="5" custScaleY="110246">
        <dgm:presLayoutVars>
          <dgm:bulletEnabled val="1"/>
        </dgm:presLayoutVars>
      </dgm:prSet>
      <dgm:spPr/>
      <dgm:t>
        <a:bodyPr/>
        <a:lstStyle/>
        <a:p>
          <a:endParaRPr lang="ka-GE"/>
        </a:p>
      </dgm:t>
    </dgm:pt>
    <dgm:pt modelId="{9C346AF7-8BA0-4D32-949D-AE9FD858EFDD}" type="pres">
      <dgm:prSet presAssocID="{3D61B1C0-4CF4-4499-B895-AD129BF8B623}" presName="accent_1" presStyleCnt="0"/>
      <dgm:spPr/>
    </dgm:pt>
    <dgm:pt modelId="{E417C984-E4E0-46C1-A1CB-C891AD6F7CFB}" type="pres">
      <dgm:prSet presAssocID="{3D61B1C0-4CF4-4499-B895-AD129BF8B623}" presName="accentRepeatNode" presStyleLbl="solidFgAcc1" presStyleIdx="0" presStyleCnt="5" custScaleY="110320"/>
      <dgm:spPr/>
    </dgm:pt>
    <dgm:pt modelId="{E343C395-A135-4685-A3AD-ED5EE68A6C39}" type="pres">
      <dgm:prSet presAssocID="{41267391-EAC5-48D9-848E-90C6F18FBCE7}" presName="text_2" presStyleLbl="node1" presStyleIdx="1" presStyleCnt="5" custScaleY="148301">
        <dgm:presLayoutVars>
          <dgm:bulletEnabled val="1"/>
        </dgm:presLayoutVars>
      </dgm:prSet>
      <dgm:spPr/>
      <dgm:t>
        <a:bodyPr/>
        <a:lstStyle/>
        <a:p>
          <a:endParaRPr lang="ka-GE"/>
        </a:p>
      </dgm:t>
    </dgm:pt>
    <dgm:pt modelId="{A5C72688-825F-451C-AD73-27D46A3B4FA8}" type="pres">
      <dgm:prSet presAssocID="{41267391-EAC5-48D9-848E-90C6F18FBCE7}" presName="accent_2" presStyleCnt="0"/>
      <dgm:spPr/>
    </dgm:pt>
    <dgm:pt modelId="{858B52BC-CFD9-49C7-9934-1CCED68F2BFA}" type="pres">
      <dgm:prSet presAssocID="{41267391-EAC5-48D9-848E-90C6F18FBCE7}" presName="accentRepeatNode" presStyleLbl="solidFgAcc1" presStyleIdx="1" presStyleCnt="5" custScaleY="120613"/>
      <dgm:spPr/>
    </dgm:pt>
    <dgm:pt modelId="{3A81B233-A3C0-412F-9F62-E4D31CD0E137}" type="pres">
      <dgm:prSet presAssocID="{175B5CC6-5AF5-405D-AEAD-A48472F8C945}" presName="text_3" presStyleLbl="node1" presStyleIdx="2" presStyleCnt="5" custScaleY="130801">
        <dgm:presLayoutVars>
          <dgm:bulletEnabled val="1"/>
        </dgm:presLayoutVars>
      </dgm:prSet>
      <dgm:spPr/>
      <dgm:t>
        <a:bodyPr/>
        <a:lstStyle/>
        <a:p>
          <a:endParaRPr lang="ka-GE"/>
        </a:p>
      </dgm:t>
    </dgm:pt>
    <dgm:pt modelId="{DC82F9A8-02BE-43B5-A067-B9C6B7483A52}" type="pres">
      <dgm:prSet presAssocID="{175B5CC6-5AF5-405D-AEAD-A48472F8C945}" presName="accent_3" presStyleCnt="0"/>
      <dgm:spPr/>
    </dgm:pt>
    <dgm:pt modelId="{B19B8704-5506-4A32-9F63-23F47023C6AF}" type="pres">
      <dgm:prSet presAssocID="{175B5CC6-5AF5-405D-AEAD-A48472F8C945}" presName="accentRepeatNode" presStyleLbl="solidFgAcc1" presStyleIdx="2" presStyleCnt="5" custScaleY="110419"/>
      <dgm:spPr/>
    </dgm:pt>
    <dgm:pt modelId="{CCC6C61A-5142-4F46-9FDE-38E44B032740}" type="pres">
      <dgm:prSet presAssocID="{EBB9C0D6-15ED-4FFE-BB22-760B68D20D0B}" presName="text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ka-GE"/>
        </a:p>
      </dgm:t>
    </dgm:pt>
    <dgm:pt modelId="{FE7B0EE7-6EE8-447A-87DC-554746AA99C8}" type="pres">
      <dgm:prSet presAssocID="{EBB9C0D6-15ED-4FFE-BB22-760B68D20D0B}" presName="accent_4" presStyleCnt="0"/>
      <dgm:spPr/>
    </dgm:pt>
    <dgm:pt modelId="{B5078A99-448B-4B01-80E2-93ADF4577388}" type="pres">
      <dgm:prSet presAssocID="{EBB9C0D6-15ED-4FFE-BB22-760B68D20D0B}" presName="accentRepeatNode" presStyleLbl="solidFgAcc1" presStyleIdx="3" presStyleCnt="5"/>
      <dgm:spPr/>
    </dgm:pt>
    <dgm:pt modelId="{294C0DD9-4109-4F04-8BF8-9AD918C49735}" type="pres">
      <dgm:prSet presAssocID="{010E7514-5412-4D1E-B491-CB2EEB8A1813}" presName="text_5" presStyleLbl="node1" presStyleIdx="4" presStyleCnt="5" custScaleY="134289">
        <dgm:presLayoutVars>
          <dgm:bulletEnabled val="1"/>
        </dgm:presLayoutVars>
      </dgm:prSet>
      <dgm:spPr/>
      <dgm:t>
        <a:bodyPr/>
        <a:lstStyle/>
        <a:p>
          <a:endParaRPr lang="ka-GE"/>
        </a:p>
      </dgm:t>
    </dgm:pt>
    <dgm:pt modelId="{4242C2D3-1946-4F1D-B202-14400DB27820}" type="pres">
      <dgm:prSet presAssocID="{010E7514-5412-4D1E-B491-CB2EEB8A1813}" presName="accent_5" presStyleCnt="0"/>
      <dgm:spPr/>
    </dgm:pt>
    <dgm:pt modelId="{DF365D06-BD90-45BB-837B-A7BA5307B105}" type="pres">
      <dgm:prSet presAssocID="{010E7514-5412-4D1E-B491-CB2EEB8A1813}" presName="accentRepeatNode" presStyleLbl="solidFgAcc1" presStyleIdx="4" presStyleCnt="5" custScaleX="120309" custScaleY="127061"/>
      <dgm:spPr/>
    </dgm:pt>
  </dgm:ptLst>
  <dgm:cxnLst>
    <dgm:cxn modelId="{8E8B9149-27BA-4DDB-90C4-D24ABDD4AEA4}" type="presOf" srcId="{175B5CC6-5AF5-405D-AEAD-A48472F8C945}" destId="{3A81B233-A3C0-412F-9F62-E4D31CD0E137}" srcOrd="0" destOrd="0" presId="urn:microsoft.com/office/officeart/2008/layout/VerticalCurvedList"/>
    <dgm:cxn modelId="{64237CDF-59CE-4881-A6E7-4720C4CE4F06}" type="presOf" srcId="{7FAC7C40-8437-4581-AA4A-34CDF9E0E7E3}" destId="{29EDF4CE-0B25-45C9-9BD9-4753740B7803}" srcOrd="0" destOrd="0" presId="urn:microsoft.com/office/officeart/2008/layout/VerticalCurvedList"/>
    <dgm:cxn modelId="{54323BAC-F81E-41DA-8273-150635B7E9E7}" type="presOf" srcId="{B18419B1-889B-4CF4-9BC7-32C4B8DECF08}" destId="{E343C395-A135-4685-A3AD-ED5EE68A6C39}" srcOrd="0" destOrd="1" presId="urn:microsoft.com/office/officeart/2008/layout/VerticalCurvedList"/>
    <dgm:cxn modelId="{BE5D9951-3B0C-4484-92FE-B83FE8BFD90E}" type="presOf" srcId="{C7669591-9595-4308-9C79-BEBA504E2052}" destId="{3A81B233-A3C0-412F-9F62-E4D31CD0E137}" srcOrd="0" destOrd="1" presId="urn:microsoft.com/office/officeart/2008/layout/VerticalCurvedList"/>
    <dgm:cxn modelId="{B5ADD2A8-4772-419A-AA07-28A4ADBF4928}" srcId="{7FAC7C40-8437-4581-AA4A-34CDF9E0E7E3}" destId="{EBB9C0D6-15ED-4FFE-BB22-760B68D20D0B}" srcOrd="3" destOrd="0" parTransId="{007B2544-FD06-4A77-A10D-4476569DFF8E}" sibTransId="{0CA2A821-47A7-4E5B-88F9-B0CDB62FDF43}"/>
    <dgm:cxn modelId="{A6F4EEA6-10F0-4AC1-853E-A5F973D7BE50}" srcId="{41267391-EAC5-48D9-848E-90C6F18FBCE7}" destId="{B18419B1-889B-4CF4-9BC7-32C4B8DECF08}" srcOrd="0" destOrd="0" parTransId="{FF4244B1-E520-4FF4-8DD3-385EC2241DBF}" sibTransId="{4BD483EC-E6F3-464B-BE31-552B694D4A28}"/>
    <dgm:cxn modelId="{57856954-CB01-473A-9D3F-8CBC38FAA571}" srcId="{7FAC7C40-8437-4581-AA4A-34CDF9E0E7E3}" destId="{3D61B1C0-4CF4-4499-B895-AD129BF8B623}" srcOrd="0" destOrd="0" parTransId="{DBB6FECA-46EC-4725-B274-FA505FD36144}" sibTransId="{CF8DE282-F109-4AC2-A0E9-CFF77C20BC30}"/>
    <dgm:cxn modelId="{EF003C02-4470-47A4-9848-CF588E9676F5}" srcId="{010E7514-5412-4D1E-B491-CB2EEB8A1813}" destId="{A005E13C-0501-4DBE-87CB-0A6A909F3A3C}" srcOrd="0" destOrd="0" parTransId="{A0C4B7D6-BD20-4ACE-9117-2A6BE946579A}" sibTransId="{6A725DA4-D962-47E4-B99B-E69862FCAD04}"/>
    <dgm:cxn modelId="{C5CBF05B-7EBD-4EB0-86C1-C8532C447F6C}" type="presOf" srcId="{010E7514-5412-4D1E-B491-CB2EEB8A1813}" destId="{294C0DD9-4109-4F04-8BF8-9AD918C49735}" srcOrd="0" destOrd="0" presId="urn:microsoft.com/office/officeart/2008/layout/VerticalCurvedList"/>
    <dgm:cxn modelId="{151D8C97-7791-4F6D-A14C-0F5E3F125B80}" srcId="{3D61B1C0-4CF4-4499-B895-AD129BF8B623}" destId="{95F22F87-8303-4728-BAA3-264910231953}" srcOrd="0" destOrd="0" parTransId="{8B6D21AE-97E5-4A8A-B485-9CD07AF1388A}" sibTransId="{937B98EC-8016-43D9-92F4-18272150F60B}"/>
    <dgm:cxn modelId="{8B0D2AC5-FB9F-4B0B-85CF-6BEF933D9FB0}" srcId="{7FAC7C40-8437-4581-AA4A-34CDF9E0E7E3}" destId="{010E7514-5412-4D1E-B491-CB2EEB8A1813}" srcOrd="4" destOrd="0" parTransId="{FF1B9FE7-FD4B-412C-901E-A4057648F48D}" sibTransId="{3327E826-6DF9-4685-9F29-04D2CA5809C3}"/>
    <dgm:cxn modelId="{330BD6F4-0CFE-475F-8AF1-18EF5FB54879}" type="presOf" srcId="{A005E13C-0501-4DBE-87CB-0A6A909F3A3C}" destId="{294C0DD9-4109-4F04-8BF8-9AD918C49735}" srcOrd="0" destOrd="1" presId="urn:microsoft.com/office/officeart/2008/layout/VerticalCurvedList"/>
    <dgm:cxn modelId="{7250AFD8-81A9-4B91-972C-D69373B1B3DE}" type="presOf" srcId="{937B98EC-8016-43D9-92F4-18272150F60B}" destId="{F65A1F7B-44E3-48EC-BCF2-C59B32C130D1}" srcOrd="0" destOrd="0" presId="urn:microsoft.com/office/officeart/2008/layout/VerticalCurvedList"/>
    <dgm:cxn modelId="{3B3D21BE-995B-4776-ACF4-55DB2D0F1D09}" type="presOf" srcId="{EBB9C0D6-15ED-4FFE-BB22-760B68D20D0B}" destId="{CCC6C61A-5142-4F46-9FDE-38E44B032740}" srcOrd="0" destOrd="0" presId="urn:microsoft.com/office/officeart/2008/layout/VerticalCurvedList"/>
    <dgm:cxn modelId="{77D59D93-6616-4FF5-AE64-0AB261CF88E0}" type="presOf" srcId="{95F22F87-8303-4728-BAA3-264910231953}" destId="{AA0EE0E9-DAD8-4547-9044-55A0100D76BA}" srcOrd="0" destOrd="1" presId="urn:microsoft.com/office/officeart/2008/layout/VerticalCurvedList"/>
    <dgm:cxn modelId="{46288AD5-56AF-4CB7-BEFE-A2C77E75193C}" srcId="{175B5CC6-5AF5-405D-AEAD-A48472F8C945}" destId="{C7669591-9595-4308-9C79-BEBA504E2052}" srcOrd="0" destOrd="0" parTransId="{35D995AA-8A60-48FF-8744-3FE649883547}" sibTransId="{A392165E-97F7-493D-A6D7-1965BF5E2B58}"/>
    <dgm:cxn modelId="{43A5C4F4-0A9D-4C3F-A727-40C0C36901E0}" type="presOf" srcId="{41267391-EAC5-48D9-848E-90C6F18FBCE7}" destId="{E343C395-A135-4685-A3AD-ED5EE68A6C39}" srcOrd="0" destOrd="0" presId="urn:microsoft.com/office/officeart/2008/layout/VerticalCurvedList"/>
    <dgm:cxn modelId="{5D52C6B7-4870-4F60-A520-7ABD6C9D21D9}" srcId="{7FAC7C40-8437-4581-AA4A-34CDF9E0E7E3}" destId="{175B5CC6-5AF5-405D-AEAD-A48472F8C945}" srcOrd="2" destOrd="0" parTransId="{58C4B6E9-3E19-4072-AD7B-380EEFEB2994}" sibTransId="{16975CAD-1B78-45A8-8710-E3DB2EB9CCB6}"/>
    <dgm:cxn modelId="{B5383DE6-0B74-474A-B635-29F23A75DF38}" type="presOf" srcId="{3D61B1C0-4CF4-4499-B895-AD129BF8B623}" destId="{AA0EE0E9-DAD8-4547-9044-55A0100D76BA}" srcOrd="0" destOrd="0" presId="urn:microsoft.com/office/officeart/2008/layout/VerticalCurvedList"/>
    <dgm:cxn modelId="{F25F7D8C-38ED-4DC8-B077-1BB68603FAAB}" srcId="{7FAC7C40-8437-4581-AA4A-34CDF9E0E7E3}" destId="{41267391-EAC5-48D9-848E-90C6F18FBCE7}" srcOrd="1" destOrd="0" parTransId="{0FB58E60-2ED4-4909-A001-EDD7625D3CEB}" sibTransId="{B5F9394C-0589-416B-BD8B-9F45C344F4FE}"/>
    <dgm:cxn modelId="{0CC986DF-3D8F-4B2E-BE05-0D490274652D}" type="presParOf" srcId="{29EDF4CE-0B25-45C9-9BD9-4753740B7803}" destId="{26C1825C-3F51-42D8-B1DC-37EC578D6499}" srcOrd="0" destOrd="0" presId="urn:microsoft.com/office/officeart/2008/layout/VerticalCurvedList"/>
    <dgm:cxn modelId="{EEEEB13D-24D7-4608-805A-6FA53042E26F}" type="presParOf" srcId="{26C1825C-3F51-42D8-B1DC-37EC578D6499}" destId="{0AE882FF-C365-4E1B-9725-E6F0416E4F03}" srcOrd="0" destOrd="0" presId="urn:microsoft.com/office/officeart/2008/layout/VerticalCurvedList"/>
    <dgm:cxn modelId="{BA9AD062-8D30-4852-AF67-C227D731CA75}" type="presParOf" srcId="{0AE882FF-C365-4E1B-9725-E6F0416E4F03}" destId="{323CDCAC-B3FD-41E1-8DEE-3B883F360026}" srcOrd="0" destOrd="0" presId="urn:microsoft.com/office/officeart/2008/layout/VerticalCurvedList"/>
    <dgm:cxn modelId="{0A213F1F-1961-4825-8C31-3DA6AE9E88F7}" type="presParOf" srcId="{0AE882FF-C365-4E1B-9725-E6F0416E4F03}" destId="{F65A1F7B-44E3-48EC-BCF2-C59B32C130D1}" srcOrd="1" destOrd="0" presId="urn:microsoft.com/office/officeart/2008/layout/VerticalCurvedList"/>
    <dgm:cxn modelId="{5512F5E5-196F-4DE8-A74E-B4E386960114}" type="presParOf" srcId="{0AE882FF-C365-4E1B-9725-E6F0416E4F03}" destId="{4B736B22-7A6F-41F5-B261-C7363EB5A9F6}" srcOrd="2" destOrd="0" presId="urn:microsoft.com/office/officeart/2008/layout/VerticalCurvedList"/>
    <dgm:cxn modelId="{C9486106-FA34-4D67-8956-97421DFE8D82}" type="presParOf" srcId="{0AE882FF-C365-4E1B-9725-E6F0416E4F03}" destId="{BAE95623-5577-424C-9349-85F3F46E6A6F}" srcOrd="3" destOrd="0" presId="urn:microsoft.com/office/officeart/2008/layout/VerticalCurvedList"/>
    <dgm:cxn modelId="{26BC721C-D859-4864-B2F4-4FEB2FE4DD10}" type="presParOf" srcId="{26C1825C-3F51-42D8-B1DC-37EC578D6499}" destId="{AA0EE0E9-DAD8-4547-9044-55A0100D76BA}" srcOrd="1" destOrd="0" presId="urn:microsoft.com/office/officeart/2008/layout/VerticalCurvedList"/>
    <dgm:cxn modelId="{27AA5F8D-C9CD-4A42-B21F-063E216EA71F}" type="presParOf" srcId="{26C1825C-3F51-42D8-B1DC-37EC578D6499}" destId="{9C346AF7-8BA0-4D32-949D-AE9FD858EFDD}" srcOrd="2" destOrd="0" presId="urn:microsoft.com/office/officeart/2008/layout/VerticalCurvedList"/>
    <dgm:cxn modelId="{137E57E4-2D7A-4F91-ACE5-74FF1B7F18CB}" type="presParOf" srcId="{9C346AF7-8BA0-4D32-949D-AE9FD858EFDD}" destId="{E417C984-E4E0-46C1-A1CB-C891AD6F7CFB}" srcOrd="0" destOrd="0" presId="urn:microsoft.com/office/officeart/2008/layout/VerticalCurvedList"/>
    <dgm:cxn modelId="{A4C676DB-1E04-47D6-AAE0-C6E7B10EF36D}" type="presParOf" srcId="{26C1825C-3F51-42D8-B1DC-37EC578D6499}" destId="{E343C395-A135-4685-A3AD-ED5EE68A6C39}" srcOrd="3" destOrd="0" presId="urn:microsoft.com/office/officeart/2008/layout/VerticalCurvedList"/>
    <dgm:cxn modelId="{F04DB6EB-626A-493D-B1AD-3FBEDBFF350A}" type="presParOf" srcId="{26C1825C-3F51-42D8-B1DC-37EC578D6499}" destId="{A5C72688-825F-451C-AD73-27D46A3B4FA8}" srcOrd="4" destOrd="0" presId="urn:microsoft.com/office/officeart/2008/layout/VerticalCurvedList"/>
    <dgm:cxn modelId="{A68B3D31-A65F-446F-827C-3359FC2D5706}" type="presParOf" srcId="{A5C72688-825F-451C-AD73-27D46A3B4FA8}" destId="{858B52BC-CFD9-49C7-9934-1CCED68F2BFA}" srcOrd="0" destOrd="0" presId="urn:microsoft.com/office/officeart/2008/layout/VerticalCurvedList"/>
    <dgm:cxn modelId="{87CC95BF-BB94-441A-A942-55A6416250F8}" type="presParOf" srcId="{26C1825C-3F51-42D8-B1DC-37EC578D6499}" destId="{3A81B233-A3C0-412F-9F62-E4D31CD0E137}" srcOrd="5" destOrd="0" presId="urn:microsoft.com/office/officeart/2008/layout/VerticalCurvedList"/>
    <dgm:cxn modelId="{C5A7A3BD-F92D-48DE-8444-8ADCFBC5BEC9}" type="presParOf" srcId="{26C1825C-3F51-42D8-B1DC-37EC578D6499}" destId="{DC82F9A8-02BE-43B5-A067-B9C6B7483A52}" srcOrd="6" destOrd="0" presId="urn:microsoft.com/office/officeart/2008/layout/VerticalCurvedList"/>
    <dgm:cxn modelId="{0842DEF2-7C5D-409D-AAAC-70AB00E9D981}" type="presParOf" srcId="{DC82F9A8-02BE-43B5-A067-B9C6B7483A52}" destId="{B19B8704-5506-4A32-9F63-23F47023C6AF}" srcOrd="0" destOrd="0" presId="urn:microsoft.com/office/officeart/2008/layout/VerticalCurvedList"/>
    <dgm:cxn modelId="{78726C96-1877-4E84-B3CB-E2FADAD6B228}" type="presParOf" srcId="{26C1825C-3F51-42D8-B1DC-37EC578D6499}" destId="{CCC6C61A-5142-4F46-9FDE-38E44B032740}" srcOrd="7" destOrd="0" presId="urn:microsoft.com/office/officeart/2008/layout/VerticalCurvedList"/>
    <dgm:cxn modelId="{1CE25404-A258-41BB-9D71-B9C24093C805}" type="presParOf" srcId="{26C1825C-3F51-42D8-B1DC-37EC578D6499}" destId="{FE7B0EE7-6EE8-447A-87DC-554746AA99C8}" srcOrd="8" destOrd="0" presId="urn:microsoft.com/office/officeart/2008/layout/VerticalCurvedList"/>
    <dgm:cxn modelId="{BF5A25EE-4C0D-4730-B1F5-BCA47D78154D}" type="presParOf" srcId="{FE7B0EE7-6EE8-447A-87DC-554746AA99C8}" destId="{B5078A99-448B-4B01-80E2-93ADF4577388}" srcOrd="0" destOrd="0" presId="urn:microsoft.com/office/officeart/2008/layout/VerticalCurvedList"/>
    <dgm:cxn modelId="{89E15BF1-6124-486A-BBB3-D3F5D0BE5ED8}" type="presParOf" srcId="{26C1825C-3F51-42D8-B1DC-37EC578D6499}" destId="{294C0DD9-4109-4F04-8BF8-9AD918C49735}" srcOrd="9" destOrd="0" presId="urn:microsoft.com/office/officeart/2008/layout/VerticalCurvedList"/>
    <dgm:cxn modelId="{D74334FC-023C-4907-BD30-C2FA498987EE}" type="presParOf" srcId="{26C1825C-3F51-42D8-B1DC-37EC578D6499}" destId="{4242C2D3-1946-4F1D-B202-14400DB27820}" srcOrd="10" destOrd="0" presId="urn:microsoft.com/office/officeart/2008/layout/VerticalCurvedList"/>
    <dgm:cxn modelId="{21B482E1-8846-417B-B3F7-870A50DF6AC2}" type="presParOf" srcId="{4242C2D3-1946-4F1D-B202-14400DB27820}" destId="{DF365D06-BD90-45BB-837B-A7BA5307B105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5A1F7B-44E3-48EC-BCF2-C59B32C130D1}">
      <dsp:nvSpPr>
        <dsp:cNvPr id="0" name=""/>
        <dsp:cNvSpPr/>
      </dsp:nvSpPr>
      <dsp:spPr>
        <a:xfrm>
          <a:off x="-6049444" y="-926243"/>
          <a:ext cx="7206231" cy="7206231"/>
        </a:xfrm>
        <a:prstGeom prst="blockArc">
          <a:avLst>
            <a:gd name="adj1" fmla="val 18900000"/>
            <a:gd name="adj2" fmla="val 2700000"/>
            <a:gd name="adj3" fmla="val 300"/>
          </a:avLst>
        </a:pr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0EE0E9-DAD8-4547-9044-55A0100D76BA}">
      <dsp:nvSpPr>
        <dsp:cNvPr id="0" name=""/>
        <dsp:cNvSpPr/>
      </dsp:nvSpPr>
      <dsp:spPr>
        <a:xfrm>
          <a:off x="375565" y="243381"/>
          <a:ext cx="8625970" cy="48654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6198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002060"/>
              </a:solidFill>
            </a:rPr>
            <a:t>Domestic violence - definition, forms, peculiarities, cycles and dynamics of domestic violence </a:t>
          </a:r>
          <a:endParaRPr lang="ka-GE" sz="1400" b="1" kern="1200" dirty="0">
            <a:solidFill>
              <a:srgbClr val="002060"/>
            </a:solidFill>
          </a:endParaRPr>
        </a:p>
      </dsp:txBody>
      <dsp:txXfrm>
        <a:off x="375565" y="243381"/>
        <a:ext cx="8625970" cy="486548"/>
      </dsp:txXfrm>
    </dsp:sp>
    <dsp:sp modelId="{E417C984-E4E0-46C1-A1CB-C891AD6F7CFB}">
      <dsp:nvSpPr>
        <dsp:cNvPr id="0" name=""/>
        <dsp:cNvSpPr/>
      </dsp:nvSpPr>
      <dsp:spPr>
        <a:xfrm>
          <a:off x="71472" y="182562"/>
          <a:ext cx="608185" cy="608185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E343C395-A135-4685-A3AD-ED5EE68A6C39}">
      <dsp:nvSpPr>
        <dsp:cNvPr id="0" name=""/>
        <dsp:cNvSpPr/>
      </dsp:nvSpPr>
      <dsp:spPr>
        <a:xfrm>
          <a:off x="816178" y="917785"/>
          <a:ext cx="8185357" cy="598240"/>
        </a:xfrm>
        <a:prstGeom prst="rect">
          <a:avLst/>
        </a:prstGeom>
        <a:gradFill rotWithShape="0">
          <a:gsLst>
            <a:gs pos="0">
              <a:schemeClr val="accent4">
                <a:hueOff val="-42130"/>
                <a:satOff val="-5842"/>
                <a:lumOff val="8758"/>
                <a:alphaOff val="0"/>
                <a:tint val="50000"/>
                <a:satMod val="300000"/>
              </a:schemeClr>
            </a:gs>
            <a:gs pos="35000">
              <a:schemeClr val="accent4">
                <a:hueOff val="-42130"/>
                <a:satOff val="-5842"/>
                <a:lumOff val="8758"/>
                <a:alphaOff val="0"/>
                <a:tint val="37000"/>
                <a:satMod val="300000"/>
              </a:schemeClr>
            </a:gs>
            <a:gs pos="100000">
              <a:schemeClr val="accent4">
                <a:hueOff val="-42130"/>
                <a:satOff val="-5842"/>
                <a:lumOff val="8758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6198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002060"/>
              </a:solidFill>
            </a:rPr>
            <a:t>Causes of domestic violence</a:t>
          </a:r>
          <a:br>
            <a:rPr lang="en-US" sz="1400" b="1" kern="1200" dirty="0" smtClean="0">
              <a:solidFill>
                <a:srgbClr val="002060"/>
              </a:solidFill>
            </a:rPr>
          </a:br>
          <a:r>
            <a:rPr lang="en-US" sz="1400" b="1" kern="1200" dirty="0" smtClean="0">
              <a:solidFill>
                <a:srgbClr val="002060"/>
              </a:solidFill>
            </a:rPr>
            <a:t>Motives of gender discrimination</a:t>
          </a:r>
          <a:endParaRPr lang="ka-GE" sz="1400" b="1" kern="1200" dirty="0">
            <a:solidFill>
              <a:srgbClr val="002060"/>
            </a:solidFill>
          </a:endParaRPr>
        </a:p>
      </dsp:txBody>
      <dsp:txXfrm>
        <a:off x="816178" y="917785"/>
        <a:ext cx="8185357" cy="598240"/>
      </dsp:txXfrm>
    </dsp:sp>
    <dsp:sp modelId="{858B52BC-CFD9-49C7-9934-1CCED68F2BFA}">
      <dsp:nvSpPr>
        <dsp:cNvPr id="0" name=""/>
        <dsp:cNvSpPr/>
      </dsp:nvSpPr>
      <dsp:spPr>
        <a:xfrm>
          <a:off x="512085" y="912813"/>
          <a:ext cx="608185" cy="608185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hueOff val="-42130"/>
              <a:satOff val="-5842"/>
              <a:lumOff val="8758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3A81B233-A3C0-412F-9F62-E4D31CD0E137}">
      <dsp:nvSpPr>
        <dsp:cNvPr id="0" name=""/>
        <dsp:cNvSpPr/>
      </dsp:nvSpPr>
      <dsp:spPr>
        <a:xfrm>
          <a:off x="1057632" y="1703347"/>
          <a:ext cx="7943903" cy="486548"/>
        </a:xfrm>
        <a:prstGeom prst="rect">
          <a:avLst/>
        </a:prstGeom>
        <a:gradFill rotWithShape="0">
          <a:gsLst>
            <a:gs pos="0">
              <a:schemeClr val="accent4">
                <a:hueOff val="-84261"/>
                <a:satOff val="-11685"/>
                <a:lumOff val="17515"/>
                <a:alphaOff val="0"/>
                <a:tint val="50000"/>
                <a:satMod val="300000"/>
              </a:schemeClr>
            </a:gs>
            <a:gs pos="35000">
              <a:schemeClr val="accent4">
                <a:hueOff val="-84261"/>
                <a:satOff val="-11685"/>
                <a:lumOff val="17515"/>
                <a:alphaOff val="0"/>
                <a:tint val="37000"/>
                <a:satMod val="300000"/>
              </a:schemeClr>
            </a:gs>
            <a:gs pos="100000">
              <a:schemeClr val="accent4">
                <a:hueOff val="-84261"/>
                <a:satOff val="-11685"/>
                <a:lumOff val="17515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6198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002060"/>
              </a:solidFill>
            </a:rPr>
            <a:t>Myths and facts, actual causes and factors contributing to domestic violence, including, social and cultural factors</a:t>
          </a:r>
          <a:endParaRPr lang="ka-GE" sz="1400" b="1" kern="1200" dirty="0">
            <a:solidFill>
              <a:srgbClr val="002060"/>
            </a:solidFill>
          </a:endParaRPr>
        </a:p>
      </dsp:txBody>
      <dsp:txXfrm>
        <a:off x="1057632" y="1703347"/>
        <a:ext cx="7943903" cy="486548"/>
      </dsp:txXfrm>
    </dsp:sp>
    <dsp:sp modelId="{B19B8704-5506-4A32-9F63-23F47023C6AF}">
      <dsp:nvSpPr>
        <dsp:cNvPr id="0" name=""/>
        <dsp:cNvSpPr/>
      </dsp:nvSpPr>
      <dsp:spPr>
        <a:xfrm>
          <a:off x="753539" y="1642528"/>
          <a:ext cx="608185" cy="608185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hueOff val="-84261"/>
              <a:satOff val="-11685"/>
              <a:lumOff val="17515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CCC6C61A-5142-4F46-9FDE-38E44B032740}">
      <dsp:nvSpPr>
        <dsp:cNvPr id="0" name=""/>
        <dsp:cNvSpPr/>
      </dsp:nvSpPr>
      <dsp:spPr>
        <a:xfrm>
          <a:off x="1134726" y="2433597"/>
          <a:ext cx="7866809" cy="486548"/>
        </a:xfrm>
        <a:prstGeom prst="rect">
          <a:avLst/>
        </a:prstGeom>
        <a:gradFill rotWithShape="0">
          <a:gsLst>
            <a:gs pos="0">
              <a:schemeClr val="accent4">
                <a:hueOff val="-126391"/>
                <a:satOff val="-17527"/>
                <a:lumOff val="26273"/>
                <a:alphaOff val="0"/>
                <a:tint val="50000"/>
                <a:satMod val="300000"/>
              </a:schemeClr>
            </a:gs>
            <a:gs pos="35000">
              <a:schemeClr val="accent4">
                <a:hueOff val="-126391"/>
                <a:satOff val="-17527"/>
                <a:lumOff val="26273"/>
                <a:alphaOff val="0"/>
                <a:tint val="37000"/>
                <a:satMod val="300000"/>
              </a:schemeClr>
            </a:gs>
            <a:gs pos="100000">
              <a:schemeClr val="accent4">
                <a:hueOff val="-126391"/>
                <a:satOff val="-17527"/>
                <a:lumOff val="26273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6198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002060"/>
              </a:solidFill>
            </a:rPr>
            <a:t>Maintaining conversation with a domestic violence victim, witness and an abuser</a:t>
          </a:r>
          <a:endParaRPr lang="ka-GE" sz="1400" b="1" kern="1200" dirty="0" smtClean="0">
            <a:solidFill>
              <a:srgbClr val="002060"/>
            </a:solidFill>
          </a:endParaRPr>
        </a:p>
      </dsp:txBody>
      <dsp:txXfrm>
        <a:off x="1134726" y="2433597"/>
        <a:ext cx="7866809" cy="486548"/>
      </dsp:txXfrm>
    </dsp:sp>
    <dsp:sp modelId="{B5078A99-448B-4B01-80E2-93ADF4577388}">
      <dsp:nvSpPr>
        <dsp:cNvPr id="0" name=""/>
        <dsp:cNvSpPr/>
      </dsp:nvSpPr>
      <dsp:spPr>
        <a:xfrm>
          <a:off x="830633" y="2372779"/>
          <a:ext cx="608185" cy="608185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hueOff val="-126391"/>
              <a:satOff val="-17527"/>
              <a:lumOff val="26273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294C0DD9-4109-4F04-8BF8-9AD918C49735}">
      <dsp:nvSpPr>
        <dsp:cNvPr id="0" name=""/>
        <dsp:cNvSpPr/>
      </dsp:nvSpPr>
      <dsp:spPr>
        <a:xfrm>
          <a:off x="1057632" y="3163848"/>
          <a:ext cx="7943903" cy="486548"/>
        </a:xfrm>
        <a:prstGeom prst="rect">
          <a:avLst/>
        </a:prstGeom>
        <a:gradFill rotWithShape="0">
          <a:gsLst>
            <a:gs pos="0">
              <a:schemeClr val="accent4">
                <a:hueOff val="-168521"/>
                <a:satOff val="-23369"/>
                <a:lumOff val="35031"/>
                <a:alphaOff val="0"/>
                <a:tint val="50000"/>
                <a:satMod val="300000"/>
              </a:schemeClr>
            </a:gs>
            <a:gs pos="35000">
              <a:schemeClr val="accent4">
                <a:hueOff val="-168521"/>
                <a:satOff val="-23369"/>
                <a:lumOff val="35031"/>
                <a:alphaOff val="0"/>
                <a:tint val="37000"/>
                <a:satMod val="300000"/>
              </a:schemeClr>
            </a:gs>
            <a:gs pos="100000">
              <a:schemeClr val="accent4">
                <a:hueOff val="-168521"/>
                <a:satOff val="-23369"/>
                <a:lumOff val="35031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6198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002060"/>
              </a:solidFill>
            </a:rPr>
            <a:t>International and Regional Legal Framework on Women's Rights, Violence Against Women and Girls</a:t>
          </a:r>
          <a:endParaRPr lang="ka-GE" sz="1400" b="1" kern="1200" dirty="0" smtClean="0">
            <a:solidFill>
              <a:srgbClr val="002060"/>
            </a:solidFill>
          </a:endParaRPr>
        </a:p>
      </dsp:txBody>
      <dsp:txXfrm>
        <a:off x="1057632" y="3163848"/>
        <a:ext cx="7943903" cy="486548"/>
      </dsp:txXfrm>
    </dsp:sp>
    <dsp:sp modelId="{DF365D06-BD90-45BB-837B-A7BA5307B105}">
      <dsp:nvSpPr>
        <dsp:cNvPr id="0" name=""/>
        <dsp:cNvSpPr/>
      </dsp:nvSpPr>
      <dsp:spPr>
        <a:xfrm>
          <a:off x="753539" y="3103030"/>
          <a:ext cx="608185" cy="608185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hueOff val="-168521"/>
              <a:satOff val="-23369"/>
              <a:lumOff val="35031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1AFA835B-7FB4-424F-97AC-A2DD025C9A2B}">
      <dsp:nvSpPr>
        <dsp:cNvPr id="0" name=""/>
        <dsp:cNvSpPr/>
      </dsp:nvSpPr>
      <dsp:spPr>
        <a:xfrm>
          <a:off x="792113" y="3888430"/>
          <a:ext cx="8185357" cy="486548"/>
        </a:xfrm>
        <a:prstGeom prst="rect">
          <a:avLst/>
        </a:prstGeom>
        <a:gradFill rotWithShape="0">
          <a:gsLst>
            <a:gs pos="0">
              <a:schemeClr val="accent4">
                <a:hueOff val="-210651"/>
                <a:satOff val="-29212"/>
                <a:lumOff val="43788"/>
                <a:alphaOff val="0"/>
                <a:tint val="50000"/>
                <a:satMod val="300000"/>
              </a:schemeClr>
            </a:gs>
            <a:gs pos="35000">
              <a:schemeClr val="accent4">
                <a:hueOff val="-210651"/>
                <a:satOff val="-29212"/>
                <a:lumOff val="43788"/>
                <a:alphaOff val="0"/>
                <a:tint val="37000"/>
                <a:satMod val="300000"/>
              </a:schemeClr>
            </a:gs>
            <a:gs pos="100000">
              <a:schemeClr val="accent4">
                <a:hueOff val="-210651"/>
                <a:satOff val="-29212"/>
                <a:lumOff val="43788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6198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002060"/>
              </a:solidFill>
            </a:rPr>
            <a:t>Implemented legislative amendments and practices</a:t>
          </a:r>
          <a:endParaRPr lang="ka-GE" sz="1400" b="1" kern="1200" dirty="0" smtClean="0">
            <a:solidFill>
              <a:srgbClr val="002060"/>
            </a:solidFill>
          </a:endParaRPr>
        </a:p>
      </dsp:txBody>
      <dsp:txXfrm>
        <a:off x="792113" y="3888430"/>
        <a:ext cx="8185357" cy="486548"/>
      </dsp:txXfrm>
    </dsp:sp>
    <dsp:sp modelId="{EEBF34F6-C3FF-4465-9ED3-FA00270BD6E4}">
      <dsp:nvSpPr>
        <dsp:cNvPr id="0" name=""/>
        <dsp:cNvSpPr/>
      </dsp:nvSpPr>
      <dsp:spPr>
        <a:xfrm>
          <a:off x="512085" y="3832745"/>
          <a:ext cx="608185" cy="608185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hueOff val="-210651"/>
              <a:satOff val="-29212"/>
              <a:lumOff val="43788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412425CB-C025-4D03-A9C8-7A138A27E019}">
      <dsp:nvSpPr>
        <dsp:cNvPr id="0" name=""/>
        <dsp:cNvSpPr/>
      </dsp:nvSpPr>
      <dsp:spPr>
        <a:xfrm>
          <a:off x="375565" y="4623814"/>
          <a:ext cx="8625970" cy="486548"/>
        </a:xfrm>
        <a:prstGeom prst="rect">
          <a:avLst/>
        </a:prstGeom>
        <a:gradFill rotWithShape="0">
          <a:gsLst>
            <a:gs pos="0">
              <a:schemeClr val="accent4">
                <a:hueOff val="-252782"/>
                <a:satOff val="-35054"/>
                <a:lumOff val="52546"/>
                <a:alphaOff val="0"/>
                <a:tint val="50000"/>
                <a:satMod val="300000"/>
              </a:schemeClr>
            </a:gs>
            <a:gs pos="35000">
              <a:schemeClr val="accent4">
                <a:hueOff val="-252782"/>
                <a:satOff val="-35054"/>
                <a:lumOff val="52546"/>
                <a:alphaOff val="0"/>
                <a:tint val="37000"/>
                <a:satMod val="300000"/>
              </a:schemeClr>
            </a:gs>
            <a:gs pos="100000">
              <a:schemeClr val="accent4">
                <a:hueOff val="-252782"/>
                <a:satOff val="-35054"/>
                <a:lumOff val="52546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6198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002060"/>
              </a:solidFill>
            </a:rPr>
            <a:t>The  prosecution's role in  women’s access for justice; Family crime trends, investigation gaps, recommendations</a:t>
          </a:r>
          <a:endParaRPr lang="ka-GE" sz="1400" b="1" kern="1200" dirty="0" smtClean="0">
            <a:solidFill>
              <a:srgbClr val="002060"/>
            </a:solidFill>
          </a:endParaRPr>
        </a:p>
      </dsp:txBody>
      <dsp:txXfrm>
        <a:off x="375565" y="4623814"/>
        <a:ext cx="8625970" cy="486548"/>
      </dsp:txXfrm>
    </dsp:sp>
    <dsp:sp modelId="{D106242A-BDFF-4B84-8B0D-C44047E46487}">
      <dsp:nvSpPr>
        <dsp:cNvPr id="0" name=""/>
        <dsp:cNvSpPr/>
      </dsp:nvSpPr>
      <dsp:spPr>
        <a:xfrm>
          <a:off x="71472" y="4562996"/>
          <a:ext cx="608185" cy="608185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hueOff val="-252782"/>
              <a:satOff val="-35054"/>
              <a:lumOff val="52546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5A1F7B-44E3-48EC-BCF2-C59B32C130D1}">
      <dsp:nvSpPr>
        <dsp:cNvPr id="0" name=""/>
        <dsp:cNvSpPr/>
      </dsp:nvSpPr>
      <dsp:spPr>
        <a:xfrm>
          <a:off x="-6258451" y="-963400"/>
          <a:ext cx="7496568" cy="7496568"/>
        </a:xfrm>
        <a:prstGeom prst="blockArc">
          <a:avLst>
            <a:gd name="adj1" fmla="val 18900000"/>
            <a:gd name="adj2" fmla="val 2700000"/>
            <a:gd name="adj3" fmla="val 288"/>
          </a:avLst>
        </a:pr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0EE0E9-DAD8-4547-9044-55A0100D76BA}">
      <dsp:nvSpPr>
        <dsp:cNvPr id="0" name=""/>
        <dsp:cNvSpPr/>
      </dsp:nvSpPr>
      <dsp:spPr>
        <a:xfrm>
          <a:off x="563163" y="312320"/>
          <a:ext cx="8470359" cy="767801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52802" tIns="35560" rIns="35560" bIns="3556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002060"/>
              </a:solidFill>
            </a:rPr>
            <a:t>Victim and abuser</a:t>
          </a:r>
          <a:endParaRPr lang="ka-GE" sz="1400" b="1" kern="1200" dirty="0">
            <a:solidFill>
              <a:srgbClr val="002060"/>
            </a:solidFill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>
              <a:solidFill>
                <a:srgbClr val="002060"/>
              </a:solidFill>
            </a:rPr>
            <a:t>Psychological portrait of a victim and an abuser; "learned helplessness" syndrome in victims; Stockholm syndrome</a:t>
          </a:r>
          <a:endParaRPr lang="ka-GE" sz="1300" kern="1200" dirty="0">
            <a:solidFill>
              <a:srgbClr val="002060"/>
            </a:solidFill>
          </a:endParaRPr>
        </a:p>
      </dsp:txBody>
      <dsp:txXfrm>
        <a:off x="563163" y="312320"/>
        <a:ext cx="8470359" cy="767801"/>
      </dsp:txXfrm>
    </dsp:sp>
    <dsp:sp modelId="{E417C984-E4E0-46C1-A1CB-C891AD6F7CFB}">
      <dsp:nvSpPr>
        <dsp:cNvPr id="0" name=""/>
        <dsp:cNvSpPr/>
      </dsp:nvSpPr>
      <dsp:spPr>
        <a:xfrm>
          <a:off x="127886" y="216023"/>
          <a:ext cx="870554" cy="960395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E343C395-A135-4685-A3AD-ED5EE68A6C39}">
      <dsp:nvSpPr>
        <dsp:cNvPr id="0" name=""/>
        <dsp:cNvSpPr/>
      </dsp:nvSpPr>
      <dsp:spPr>
        <a:xfrm>
          <a:off x="1062214" y="1224135"/>
          <a:ext cx="7971307" cy="1032833"/>
        </a:xfrm>
        <a:prstGeom prst="rect">
          <a:avLst/>
        </a:prstGeom>
        <a:gradFill rotWithShape="0">
          <a:gsLst>
            <a:gs pos="0">
              <a:schemeClr val="accent4">
                <a:hueOff val="-63195"/>
                <a:satOff val="-8764"/>
                <a:lumOff val="13137"/>
                <a:alphaOff val="0"/>
                <a:tint val="50000"/>
                <a:satMod val="300000"/>
              </a:schemeClr>
            </a:gs>
            <a:gs pos="35000">
              <a:schemeClr val="accent4">
                <a:hueOff val="-63195"/>
                <a:satOff val="-8764"/>
                <a:lumOff val="13137"/>
                <a:alphaOff val="0"/>
                <a:tint val="37000"/>
                <a:satMod val="300000"/>
              </a:schemeClr>
            </a:gs>
            <a:gs pos="100000">
              <a:schemeClr val="accent4">
                <a:hueOff val="-63195"/>
                <a:satOff val="-8764"/>
                <a:lumOff val="13137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52802" tIns="35560" rIns="35560" bIns="3556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002060"/>
              </a:solidFill>
            </a:rPr>
            <a:t>Domestic violence against children </a:t>
          </a:r>
          <a:endParaRPr lang="ka-GE" sz="1400" b="1" kern="1200" dirty="0">
            <a:solidFill>
              <a:srgbClr val="002060"/>
            </a:solidFill>
          </a:endParaRPr>
        </a:p>
        <a:p>
          <a:pPr marL="114300" lvl="1" indent="-114300" algn="just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kern="1200" dirty="0" smtClean="0">
              <a:solidFill>
                <a:srgbClr val="002060"/>
              </a:solidFill>
            </a:rPr>
            <a:t>Historical retrospective phenomenon of child abuse in families;  Forms, main causes and consequences of child abuse in a family; Psychological portrait of child victims of domestic violence; Signs of violence in parents</a:t>
          </a:r>
          <a:endParaRPr lang="ka-GE" sz="1300" b="0" kern="1200" dirty="0">
            <a:solidFill>
              <a:srgbClr val="002060"/>
            </a:solidFill>
          </a:endParaRPr>
        </a:p>
      </dsp:txBody>
      <dsp:txXfrm>
        <a:off x="1062214" y="1224135"/>
        <a:ext cx="7971307" cy="1032833"/>
      </dsp:txXfrm>
    </dsp:sp>
    <dsp:sp modelId="{858B52BC-CFD9-49C7-9934-1CCED68F2BFA}">
      <dsp:nvSpPr>
        <dsp:cNvPr id="0" name=""/>
        <dsp:cNvSpPr/>
      </dsp:nvSpPr>
      <dsp:spPr>
        <a:xfrm>
          <a:off x="626937" y="1215551"/>
          <a:ext cx="870554" cy="1050002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hueOff val="-63195"/>
              <a:satOff val="-8764"/>
              <a:lumOff val="13137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3A81B233-A3C0-412F-9F62-E4D31CD0E137}">
      <dsp:nvSpPr>
        <dsp:cNvPr id="0" name=""/>
        <dsp:cNvSpPr/>
      </dsp:nvSpPr>
      <dsp:spPr>
        <a:xfrm>
          <a:off x="1215383" y="2329406"/>
          <a:ext cx="7818139" cy="910955"/>
        </a:xfrm>
        <a:prstGeom prst="rect">
          <a:avLst/>
        </a:prstGeom>
        <a:gradFill rotWithShape="0">
          <a:gsLst>
            <a:gs pos="0">
              <a:schemeClr val="accent4">
                <a:hueOff val="-126391"/>
                <a:satOff val="-17527"/>
                <a:lumOff val="26273"/>
                <a:alphaOff val="0"/>
                <a:tint val="50000"/>
                <a:satMod val="300000"/>
              </a:schemeClr>
            </a:gs>
            <a:gs pos="35000">
              <a:schemeClr val="accent4">
                <a:hueOff val="-126391"/>
                <a:satOff val="-17527"/>
                <a:lumOff val="26273"/>
                <a:alphaOff val="0"/>
                <a:tint val="37000"/>
                <a:satMod val="300000"/>
              </a:schemeClr>
            </a:gs>
            <a:gs pos="100000">
              <a:schemeClr val="accent4">
                <a:hueOff val="-126391"/>
                <a:satOff val="-17527"/>
                <a:lumOff val="26273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52802" tIns="35560" rIns="35560" bIns="3556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002060"/>
              </a:solidFill>
            </a:rPr>
            <a:t>Domestic violence and stress</a:t>
          </a:r>
          <a:endParaRPr lang="ka-GE" sz="1400" b="1" kern="1200" dirty="0">
            <a:solidFill>
              <a:srgbClr val="002060"/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solidFill>
                <a:srgbClr val="002060"/>
              </a:solidFill>
            </a:rPr>
            <a:t>Mental trauma and stress caused by domestic violence; Mechanism for the formation of traumatic stress; Stress Reaction Phases; Fear as a responsive reaction; Dissociation; Traumatic psychological crises</a:t>
          </a:r>
          <a:endParaRPr lang="ka-GE" sz="1400" kern="1200" dirty="0"/>
        </a:p>
      </dsp:txBody>
      <dsp:txXfrm>
        <a:off x="1215383" y="2329406"/>
        <a:ext cx="7818139" cy="910955"/>
      </dsp:txXfrm>
    </dsp:sp>
    <dsp:sp modelId="{B19B8704-5506-4A32-9F63-23F47023C6AF}">
      <dsp:nvSpPr>
        <dsp:cNvPr id="0" name=""/>
        <dsp:cNvSpPr/>
      </dsp:nvSpPr>
      <dsp:spPr>
        <a:xfrm>
          <a:off x="780105" y="2304255"/>
          <a:ext cx="870554" cy="961257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hueOff val="-126391"/>
              <a:satOff val="-17527"/>
              <a:lumOff val="26273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CCC6C61A-5142-4F46-9FDE-38E44B032740}">
      <dsp:nvSpPr>
        <dsp:cNvPr id="0" name=""/>
        <dsp:cNvSpPr/>
      </dsp:nvSpPr>
      <dsp:spPr>
        <a:xfrm>
          <a:off x="1062214" y="3480993"/>
          <a:ext cx="7971307" cy="696443"/>
        </a:xfrm>
        <a:prstGeom prst="rect">
          <a:avLst/>
        </a:prstGeom>
        <a:gradFill rotWithShape="0">
          <a:gsLst>
            <a:gs pos="0">
              <a:schemeClr val="accent4">
                <a:hueOff val="-189586"/>
                <a:satOff val="-26291"/>
                <a:lumOff val="39410"/>
                <a:alphaOff val="0"/>
                <a:tint val="50000"/>
                <a:satMod val="300000"/>
              </a:schemeClr>
            </a:gs>
            <a:gs pos="35000">
              <a:schemeClr val="accent4">
                <a:hueOff val="-189586"/>
                <a:satOff val="-26291"/>
                <a:lumOff val="39410"/>
                <a:alphaOff val="0"/>
                <a:tint val="37000"/>
                <a:satMod val="300000"/>
              </a:schemeClr>
            </a:gs>
            <a:gs pos="100000">
              <a:schemeClr val="accent4">
                <a:hueOff val="-189586"/>
                <a:satOff val="-26291"/>
                <a:lumOff val="3941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52802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rgbClr val="002060"/>
              </a:solidFill>
            </a:rPr>
            <a:t>Grounds for co-existence of victims with the abuser and refusal to help; Hiding or denying domestic violence by victims and witnesses; Thoughts and feelings of domestic violence victims and witnesses</a:t>
          </a:r>
          <a:endParaRPr lang="ka-GE" sz="1400" b="1" kern="1200" dirty="0" smtClean="0">
            <a:solidFill>
              <a:srgbClr val="002060"/>
            </a:solidFill>
          </a:endParaRPr>
        </a:p>
      </dsp:txBody>
      <dsp:txXfrm>
        <a:off x="1062214" y="3480993"/>
        <a:ext cx="7971307" cy="696443"/>
      </dsp:txXfrm>
    </dsp:sp>
    <dsp:sp modelId="{B5078A99-448B-4B01-80E2-93ADF4577388}">
      <dsp:nvSpPr>
        <dsp:cNvPr id="0" name=""/>
        <dsp:cNvSpPr/>
      </dsp:nvSpPr>
      <dsp:spPr>
        <a:xfrm>
          <a:off x="626937" y="3393938"/>
          <a:ext cx="870554" cy="870554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hueOff val="-189586"/>
              <a:satOff val="-26291"/>
              <a:lumOff val="3941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294C0DD9-4109-4F04-8BF8-9AD918C49735}">
      <dsp:nvSpPr>
        <dsp:cNvPr id="0" name=""/>
        <dsp:cNvSpPr/>
      </dsp:nvSpPr>
      <dsp:spPr>
        <a:xfrm>
          <a:off x="563163" y="4405923"/>
          <a:ext cx="8470359" cy="935247"/>
        </a:xfrm>
        <a:prstGeom prst="rect">
          <a:avLst/>
        </a:prstGeom>
        <a:gradFill rotWithShape="0">
          <a:gsLst>
            <a:gs pos="0">
              <a:schemeClr val="accent4">
                <a:hueOff val="-252782"/>
                <a:satOff val="-35054"/>
                <a:lumOff val="52546"/>
                <a:alphaOff val="0"/>
                <a:tint val="50000"/>
                <a:satMod val="300000"/>
              </a:schemeClr>
            </a:gs>
            <a:gs pos="35000">
              <a:schemeClr val="accent4">
                <a:hueOff val="-252782"/>
                <a:satOff val="-35054"/>
                <a:lumOff val="52546"/>
                <a:alphaOff val="0"/>
                <a:tint val="37000"/>
                <a:satMod val="300000"/>
              </a:schemeClr>
            </a:gs>
            <a:gs pos="100000">
              <a:schemeClr val="accent4">
                <a:hueOff val="-252782"/>
                <a:satOff val="-35054"/>
                <a:lumOff val="52546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52802" tIns="35560" rIns="35560" bIns="3556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002060"/>
              </a:solidFill>
            </a:rPr>
            <a:t>Psycho-emotional aspects of working with the witness and abuser of domestic violence</a:t>
          </a:r>
          <a:endParaRPr lang="ka-GE" sz="1400" b="1" kern="1200" dirty="0" smtClean="0">
            <a:solidFill>
              <a:srgbClr val="002060"/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b="0" kern="1200" dirty="0" smtClean="0">
              <a:solidFill>
                <a:srgbClr val="002060"/>
              </a:solidFill>
            </a:rPr>
            <a:t>Relationship skills and style;  Barriers in a relationship; characteristics and ethical principles of a relationship with victims of domestic violence; Peculiarities of conducting a conversation with victims/witnesses and abusers of domestic violence; Development of ascetics.</a:t>
          </a:r>
          <a:endParaRPr lang="ka-GE" sz="1400" b="0" kern="1200" dirty="0">
            <a:solidFill>
              <a:srgbClr val="002060"/>
            </a:solidFill>
          </a:endParaRPr>
        </a:p>
      </dsp:txBody>
      <dsp:txXfrm>
        <a:off x="563163" y="4405923"/>
        <a:ext cx="8470359" cy="935247"/>
      </dsp:txXfrm>
    </dsp:sp>
    <dsp:sp modelId="{DF365D06-BD90-45BB-837B-A7BA5307B105}">
      <dsp:nvSpPr>
        <dsp:cNvPr id="0" name=""/>
        <dsp:cNvSpPr/>
      </dsp:nvSpPr>
      <dsp:spPr>
        <a:xfrm>
          <a:off x="39485" y="4320479"/>
          <a:ext cx="1047355" cy="1106135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hueOff val="-252782"/>
              <a:satOff val="-35054"/>
              <a:lumOff val="52546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4" name="Rectangle 52"/>
          <p:cNvSpPr>
            <a:spLocks noChangeArrowheads="1"/>
          </p:cNvSpPr>
          <p:nvPr/>
        </p:nvSpPr>
        <p:spPr bwMode="gray">
          <a:xfrm>
            <a:off x="0" y="0"/>
            <a:ext cx="9144000" cy="5157788"/>
          </a:xfrm>
          <a:prstGeom prst="rect">
            <a:avLst/>
          </a:prstGeom>
          <a:solidFill>
            <a:schemeClr val="accent1"/>
          </a:solidFill>
          <a:ln w="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3136" name="Rectangle 64"/>
          <p:cNvSpPr>
            <a:spLocks noChangeArrowheads="1"/>
          </p:cNvSpPr>
          <p:nvPr/>
        </p:nvSpPr>
        <p:spPr bwMode="gray">
          <a:xfrm>
            <a:off x="1262063" y="0"/>
            <a:ext cx="2362200" cy="4953000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shade val="72549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3137" name="Rectangle 65"/>
          <p:cNvSpPr>
            <a:spLocks noChangeArrowheads="1"/>
          </p:cNvSpPr>
          <p:nvPr/>
        </p:nvSpPr>
        <p:spPr bwMode="gray">
          <a:xfrm>
            <a:off x="304800" y="2400300"/>
            <a:ext cx="8458200" cy="1104900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0" y="2590800"/>
            <a:ext cx="8229600" cy="6858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733800"/>
            <a:ext cx="5867400" cy="4572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400800"/>
            <a:ext cx="2133600" cy="3206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00800"/>
            <a:ext cx="2895600" cy="3206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400800"/>
            <a:ext cx="2133600" cy="3206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BEE6933-C3C4-4D4B-A515-53490812F9E7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3106" name="Text Box 34"/>
          <p:cNvSpPr txBox="1">
            <a:spLocks noChangeArrowheads="1"/>
          </p:cNvSpPr>
          <p:nvPr/>
        </p:nvSpPr>
        <p:spPr bwMode="gray">
          <a:xfrm>
            <a:off x="4267200" y="5257800"/>
            <a:ext cx="1157288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 sz="1600" b="1" dirty="0"/>
              <a:t>Company</a:t>
            </a:r>
          </a:p>
          <a:p>
            <a:r>
              <a:rPr lang="en-GB" sz="2600" b="1" dirty="0"/>
              <a:t>LOGO</a:t>
            </a:r>
          </a:p>
        </p:txBody>
      </p:sp>
      <p:pic>
        <p:nvPicPr>
          <p:cNvPr id="3133" name="Picture 6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3490913"/>
            <a:ext cx="1258888" cy="1438275"/>
          </a:xfrm>
          <a:prstGeom prst="rect">
            <a:avLst/>
          </a:prstGeom>
          <a:noFill/>
        </p:spPr>
      </p:pic>
      <p:sp>
        <p:nvSpPr>
          <p:cNvPr id="3135" name="Rectangle 63"/>
          <p:cNvSpPr>
            <a:spLocks noChangeArrowheads="1"/>
          </p:cNvSpPr>
          <p:nvPr/>
        </p:nvSpPr>
        <p:spPr bwMode="gray">
          <a:xfrm>
            <a:off x="1276350" y="4941888"/>
            <a:ext cx="7867650" cy="217487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pic>
        <p:nvPicPr>
          <p:cNvPr id="3134" name="Picture 6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1281113" y="4927600"/>
            <a:ext cx="2370137" cy="1096963"/>
          </a:xfrm>
          <a:prstGeom prst="rect">
            <a:avLst/>
          </a:prstGeom>
          <a:noFill/>
        </p:spPr>
      </p:pic>
      <p:sp>
        <p:nvSpPr>
          <p:cNvPr id="3138" name="Rectangle 66"/>
          <p:cNvSpPr>
            <a:spLocks noChangeArrowheads="1"/>
          </p:cNvSpPr>
          <p:nvPr/>
        </p:nvSpPr>
        <p:spPr bwMode="gray">
          <a:xfrm>
            <a:off x="304800" y="304800"/>
            <a:ext cx="8534400" cy="4343400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3139" name="Rectangle 67"/>
          <p:cNvSpPr>
            <a:spLocks noChangeArrowheads="1"/>
          </p:cNvSpPr>
          <p:nvPr/>
        </p:nvSpPr>
        <p:spPr bwMode="gray">
          <a:xfrm>
            <a:off x="7391400" y="914400"/>
            <a:ext cx="1600200" cy="1447800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3140" name="Rectangle 68"/>
          <p:cNvSpPr>
            <a:spLocks noChangeArrowheads="1"/>
          </p:cNvSpPr>
          <p:nvPr/>
        </p:nvSpPr>
        <p:spPr bwMode="gray">
          <a:xfrm>
            <a:off x="8305800" y="0"/>
            <a:ext cx="76200" cy="1752600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3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36" grpId="0" animBg="1"/>
      <p:bldP spid="3137" grpId="0" animBg="1"/>
      <p:bldP spid="3140" grpId="0" animBg="1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AE4E159-82F2-43F2-8609-965A01187707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61912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61912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1F145A1-8F61-4AB7-8C67-04F6E3BA250F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800" y="206375"/>
            <a:ext cx="6858000" cy="533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371600"/>
            <a:ext cx="8229600" cy="5026025"/>
          </a:xfrm>
        </p:spPr>
        <p:txBody>
          <a:bodyPr/>
          <a:lstStyle/>
          <a:p>
            <a:r>
              <a:rPr lang="en-US" dirty="0" smtClean="0"/>
              <a:t>Click icon to add tab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521450"/>
            <a:ext cx="2133600" cy="244475"/>
          </a:xfrm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521450"/>
            <a:ext cx="2895600" cy="244475"/>
          </a:xfrm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521450"/>
            <a:ext cx="2133600" cy="244475"/>
          </a:xfrm>
        </p:spPr>
        <p:txBody>
          <a:bodyPr/>
          <a:lstStyle>
            <a:lvl1pPr>
              <a:defRPr/>
            </a:lvl1pPr>
          </a:lstStyle>
          <a:p>
            <a:fld id="{C5EFE053-068B-443D-8D08-A8EB7115E007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AEB3BF6-2059-4066-B34E-665389B95399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F712447-894B-44BB-8CED-38B698A0F251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4038600" cy="5026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4038600" cy="5026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A532D51-81C1-4A7A-8251-2EE1F076C374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5D6B877-2880-4D14-B70A-DD8F7A02336E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56F3DA9-37F1-4EB1-99A0-80D9B67D607C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B12986B-64C5-44CC-A28A-897F607AE238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D64E78C-68D5-4E71-B200-6181F2CFA4E1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88D27B1-065C-4C4C-B954-973DEFE3C5B4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chemeClr val="bg1"/>
            </a:gs>
            <a:gs pos="100000">
              <a:schemeClr val="bg1">
                <a:gamma/>
                <a:tint val="39216"/>
                <a:invGamma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7" name="Rectangle 43"/>
          <p:cNvSpPr>
            <a:spLocks noChangeArrowheads="1"/>
          </p:cNvSpPr>
          <p:nvPr/>
        </p:nvSpPr>
        <p:spPr bwMode="gray">
          <a:xfrm>
            <a:off x="0" y="9525"/>
            <a:ext cx="9144000" cy="1028700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068" name="Rectangle 44"/>
          <p:cNvSpPr>
            <a:spLocks noChangeArrowheads="1"/>
          </p:cNvSpPr>
          <p:nvPr/>
        </p:nvSpPr>
        <p:spPr bwMode="gray">
          <a:xfrm>
            <a:off x="1447800" y="0"/>
            <a:ext cx="7696200" cy="87947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069" name="Rectangle 45"/>
          <p:cNvSpPr>
            <a:spLocks noChangeArrowheads="1"/>
          </p:cNvSpPr>
          <p:nvPr/>
        </p:nvSpPr>
        <p:spPr bwMode="gray">
          <a:xfrm>
            <a:off x="0" y="158750"/>
            <a:ext cx="9144000" cy="603250"/>
          </a:xfrm>
          <a:prstGeom prst="rect">
            <a:avLst/>
          </a:prstGeom>
          <a:gradFill rotWithShape="1">
            <a:gsLst>
              <a:gs pos="0">
                <a:schemeClr val="accent1">
                  <a:gamma/>
                  <a:shade val="46275"/>
                  <a:invGamma/>
                </a:schemeClr>
              </a:gs>
              <a:gs pos="100000">
                <a:schemeClr val="accent1"/>
              </a:gs>
            </a:gsLst>
            <a:lin ang="0" scaled="1"/>
          </a:gra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071" name="Rectangle 47"/>
          <p:cNvSpPr>
            <a:spLocks noChangeArrowheads="1"/>
          </p:cNvSpPr>
          <p:nvPr/>
        </p:nvSpPr>
        <p:spPr bwMode="gray">
          <a:xfrm>
            <a:off x="0" y="1143000"/>
            <a:ext cx="228600" cy="5715000"/>
          </a:xfrm>
          <a:prstGeom prst="rect">
            <a:avLst/>
          </a:prstGeom>
          <a:gradFill rotWithShape="1">
            <a:gsLst>
              <a:gs pos="0">
                <a:schemeClr val="hlink"/>
              </a:gs>
              <a:gs pos="100000">
                <a:schemeClr val="hlink">
                  <a:gamma/>
                  <a:tint val="0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072" name="Rectangle 48"/>
          <p:cNvSpPr>
            <a:spLocks noChangeArrowheads="1"/>
          </p:cNvSpPr>
          <p:nvPr/>
        </p:nvSpPr>
        <p:spPr bwMode="gray">
          <a:xfrm>
            <a:off x="8686800" y="0"/>
            <a:ext cx="76200" cy="609600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7200" y="1371600"/>
            <a:ext cx="8229600" cy="502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457200" y="6521450"/>
            <a:ext cx="21336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124200" y="6521450"/>
            <a:ext cx="28956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6553200" y="6521450"/>
            <a:ext cx="21336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accent1"/>
                </a:solidFill>
              </a:defRPr>
            </a:lvl1pPr>
          </a:lstStyle>
          <a:p>
            <a:fld id="{EAB5DE24-C68D-4414-8E09-E92EB153819A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073" name="Rectangle 49"/>
          <p:cNvSpPr>
            <a:spLocks noChangeArrowheads="1"/>
          </p:cNvSpPr>
          <p:nvPr/>
        </p:nvSpPr>
        <p:spPr bwMode="gray">
          <a:xfrm>
            <a:off x="0" y="0"/>
            <a:ext cx="1447800" cy="1066800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pic>
        <p:nvPicPr>
          <p:cNvPr id="1065" name="Picture 41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gray">
          <a:xfrm>
            <a:off x="0" y="0"/>
            <a:ext cx="1243013" cy="1038225"/>
          </a:xfrm>
          <a:prstGeom prst="rect">
            <a:avLst/>
          </a:prstGeom>
          <a:noFill/>
        </p:spPr>
      </p:pic>
      <p:sp>
        <p:nvSpPr>
          <p:cNvPr id="1070" name="Rectangle 46"/>
          <p:cNvSpPr>
            <a:spLocks noChangeArrowheads="1"/>
          </p:cNvSpPr>
          <p:nvPr/>
        </p:nvSpPr>
        <p:spPr bwMode="gray">
          <a:xfrm>
            <a:off x="0" y="1035050"/>
            <a:ext cx="1447800" cy="2286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title"/>
          </p:nvPr>
        </p:nvSpPr>
        <p:spPr bwMode="gray">
          <a:xfrm>
            <a:off x="1447800" y="206375"/>
            <a:ext cx="68580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0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69" grpId="0" animBg="1"/>
      <p:bldP spid="1072" grpId="0" animBg="1"/>
    </p:bldLst>
  </p:timing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v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 2" pitchFamily="18" charset="2"/>
        <a:buChar char="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 2" pitchFamily="18" charset="2"/>
        <a:buChar char="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5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42000">
                <a:schemeClr val="accent4">
                  <a:lumMod val="40000"/>
                  <a:lumOff val="60000"/>
                </a:schemeClr>
              </a:gs>
              <a:gs pos="19000">
                <a:schemeClr val="accent4">
                  <a:lumMod val="60000"/>
                  <a:lumOff val="40000"/>
                </a:schemeClr>
              </a:gs>
              <a:gs pos="0">
                <a:schemeClr val="tx1"/>
              </a:gs>
              <a:gs pos="100000">
                <a:schemeClr val="bg1">
                  <a:gamma/>
                  <a:tint val="39216"/>
                  <a:invGamma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3068960"/>
            <a:ext cx="9144000" cy="576064"/>
          </a:xfrm>
          <a:prstGeom prst="rect">
            <a:avLst/>
          </a:prstGeom>
          <a:solidFill>
            <a:srgbClr val="0070C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-36512" y="-39960"/>
            <a:ext cx="3008224" cy="6897960"/>
          </a:xfrm>
          <a:prstGeom prst="rect">
            <a:avLst/>
          </a:prstGeom>
          <a:gradFill>
            <a:gsLst>
              <a:gs pos="33000">
                <a:srgbClr val="208CD7"/>
              </a:gs>
              <a:gs pos="0">
                <a:srgbClr val="0070C0"/>
              </a:gs>
              <a:gs pos="89000">
                <a:srgbClr val="A8C2D3"/>
              </a:gs>
              <a:gs pos="49000">
                <a:srgbClr val="90A1AD"/>
              </a:gs>
              <a:gs pos="49000">
                <a:schemeClr val="tx1">
                  <a:lumMod val="40000"/>
                  <a:lumOff val="60000"/>
                </a:schemeClr>
              </a:gs>
              <a:gs pos="100000">
                <a:schemeClr val="tx1">
                  <a:lumMod val="20000"/>
                  <a:lumOff val="80000"/>
                </a:schemeClr>
              </a:gs>
            </a:gsLst>
            <a:lin ang="5400000" scaled="0"/>
          </a:gra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/>
          <p:cNvSpPr txBox="1">
            <a:spLocks noChangeArrowheads="1"/>
          </p:cNvSpPr>
          <p:nvPr/>
        </p:nvSpPr>
        <p:spPr bwMode="gray">
          <a:xfrm>
            <a:off x="107504" y="5708104"/>
            <a:ext cx="2664296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v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 2" pitchFamily="18" charset="2"/>
              <a:buChar char="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60000"/>
              <a:buFont typeface="Wingdings 2" pitchFamily="18" charset="2"/>
              <a:buChar char="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400" b="1" dirty="0" smtClean="0">
                <a:solidFill>
                  <a:schemeClr val="tx1">
                    <a:lumMod val="50000"/>
                  </a:schemeClr>
                </a:solidFill>
              </a:rPr>
              <a:t>www.pog.gov.ge</a:t>
            </a:r>
            <a:endParaRPr lang="en-GB" sz="24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971712" y="-7404"/>
            <a:ext cx="6172288" cy="3436404"/>
          </a:xfrm>
          <a:prstGeom prst="rect">
            <a:avLst/>
          </a:pr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5300"/>
                      </a14:imgEffect>
                      <a14:imgEffect>
                        <a14:saturation sat="250000"/>
                      </a14:imgEffect>
                    </a14:imgLayer>
                  </a14:imgProps>
                </a:ext>
              </a:extLst>
            </a:blip>
            <a:srcRect/>
            <a:stretch>
              <a:fillRect l="-1000"/>
            </a:stretch>
          </a:blip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2987824" y="3528392"/>
            <a:ext cx="6156176" cy="3356992"/>
          </a:xfrm>
          <a:prstGeom prst="rect">
            <a:avLst/>
          </a:prstGeom>
          <a:blipFill dpi="0" rotWithShape="1">
            <a:blip r:embed="rId4">
              <a:alphaModFix amt="13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Oval 1"/>
          <p:cNvSpPr/>
          <p:nvPr/>
        </p:nvSpPr>
        <p:spPr>
          <a:xfrm>
            <a:off x="395536" y="692696"/>
            <a:ext cx="2088232" cy="2016224"/>
          </a:xfrm>
          <a:prstGeom prst="ellipse">
            <a:avLst/>
          </a:prstGeom>
          <a:blipFill>
            <a:blip r:embed="rId5"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White">
          <a:xfrm>
            <a:off x="3011293" y="3861048"/>
            <a:ext cx="5992776" cy="1321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8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SzPct val="50000"/>
              <a:buFont typeface="Wingdings 2" pitchFamily="18" charset="2"/>
              <a:buChar char="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SzPct val="60000"/>
              <a:buFont typeface="Wingdings 2" pitchFamily="18" charset="2"/>
              <a:buChar char="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endParaRPr lang="ka-GE" sz="2400" b="1" dirty="0" smtClean="0">
              <a:solidFill>
                <a:schemeClr val="tx1">
                  <a:lumMod val="50000"/>
                </a:schemeClr>
              </a:solidFill>
            </a:endParaRPr>
          </a:p>
          <a:p>
            <a:pPr algn="ctr"/>
            <a:r>
              <a:rPr lang="en-US" sz="2000" b="1" dirty="0" smtClean="0">
                <a:solidFill>
                  <a:srgbClr val="002060"/>
                </a:solidFill>
              </a:rPr>
              <a:t>Prosecution </a:t>
            </a:r>
            <a:r>
              <a:rPr lang="en-US" sz="2000" b="1" dirty="0">
                <a:solidFill>
                  <a:srgbClr val="002060"/>
                </a:solidFill>
              </a:rPr>
              <a:t>Service of Georgia</a:t>
            </a:r>
            <a:endParaRPr lang="ka-GE" sz="2000" b="1" dirty="0">
              <a:solidFill>
                <a:srgbClr val="002060"/>
              </a:solidFill>
            </a:endParaRPr>
          </a:p>
          <a:p>
            <a:pPr algn="ctr"/>
            <a:endParaRPr lang="ka-GE" sz="2000" b="1" dirty="0">
              <a:solidFill>
                <a:schemeClr val="tx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en-US" sz="1600" b="1" i="1" dirty="0" smtClean="0">
                <a:solidFill>
                  <a:schemeClr val="accent2">
                    <a:lumMod val="50000"/>
                  </a:schemeClr>
                </a:solidFill>
              </a:rPr>
              <a:t>Protecting </a:t>
            </a:r>
            <a:r>
              <a:rPr lang="en-US" sz="1600" b="1" i="1" dirty="0">
                <a:solidFill>
                  <a:schemeClr val="accent2">
                    <a:lumMod val="50000"/>
                  </a:schemeClr>
                </a:solidFill>
              </a:rPr>
              <a:t>W</a:t>
            </a:r>
            <a:r>
              <a:rPr lang="en-US" sz="1600" b="1" i="1" dirty="0" smtClean="0">
                <a:solidFill>
                  <a:schemeClr val="accent2">
                    <a:lumMod val="50000"/>
                  </a:schemeClr>
                </a:solidFill>
              </a:rPr>
              <a:t>omen’s </a:t>
            </a:r>
            <a:r>
              <a:rPr lang="en-US" sz="1600" b="1" i="1" dirty="0">
                <a:solidFill>
                  <a:schemeClr val="accent2">
                    <a:lumMod val="50000"/>
                  </a:schemeClr>
                </a:solidFill>
              </a:rPr>
              <a:t>R</a:t>
            </a:r>
            <a:r>
              <a:rPr lang="en-US" sz="1600" b="1" i="1" dirty="0" smtClean="0">
                <a:solidFill>
                  <a:schemeClr val="accent2">
                    <a:lumMod val="50000"/>
                  </a:schemeClr>
                </a:solidFill>
              </a:rPr>
              <a:t>ights </a:t>
            </a:r>
            <a:r>
              <a:rPr lang="en-US" sz="1600" b="1" i="1" dirty="0">
                <a:solidFill>
                  <a:schemeClr val="accent2">
                    <a:lumMod val="50000"/>
                  </a:schemeClr>
                </a:solidFill>
              </a:rPr>
              <a:t>and </a:t>
            </a:r>
            <a:r>
              <a:rPr lang="en-US" sz="1600" b="1" i="1" dirty="0" smtClean="0">
                <a:solidFill>
                  <a:schemeClr val="accent2">
                    <a:lumMod val="50000"/>
                  </a:schemeClr>
                </a:solidFill>
              </a:rPr>
              <a:t>Fighting </a:t>
            </a:r>
            <a:r>
              <a:rPr lang="en-US" sz="1600" b="1" i="1" dirty="0">
                <a:solidFill>
                  <a:schemeClr val="accent2">
                    <a:lumMod val="50000"/>
                  </a:schemeClr>
                </a:solidFill>
              </a:rPr>
              <a:t>V</a:t>
            </a:r>
            <a:r>
              <a:rPr lang="en-US" sz="1600" b="1" i="1" dirty="0" smtClean="0">
                <a:solidFill>
                  <a:schemeClr val="accent2">
                    <a:lumMod val="50000"/>
                  </a:schemeClr>
                </a:solidFill>
              </a:rPr>
              <a:t>iolence </a:t>
            </a:r>
            <a:r>
              <a:rPr lang="en-US" sz="1600" b="1" i="1" dirty="0">
                <a:solidFill>
                  <a:schemeClr val="accent2">
                    <a:lumMod val="50000"/>
                  </a:schemeClr>
                </a:solidFill>
              </a:rPr>
              <a:t>A</a:t>
            </a:r>
            <a:r>
              <a:rPr lang="en-US" sz="1600" b="1" i="1" dirty="0" smtClean="0">
                <a:solidFill>
                  <a:schemeClr val="accent2">
                    <a:lumMod val="50000"/>
                  </a:schemeClr>
                </a:solidFill>
              </a:rPr>
              <a:t>gainst </a:t>
            </a:r>
            <a:r>
              <a:rPr lang="en-US" sz="1600" b="1" i="1" dirty="0">
                <a:solidFill>
                  <a:schemeClr val="accent2">
                    <a:lumMod val="50000"/>
                  </a:schemeClr>
                </a:solidFill>
              </a:rPr>
              <a:t>W</a:t>
            </a:r>
            <a:r>
              <a:rPr lang="en-US" sz="1600" b="1" i="1" dirty="0" smtClean="0">
                <a:solidFill>
                  <a:schemeClr val="accent2">
                    <a:lumMod val="50000"/>
                  </a:schemeClr>
                </a:solidFill>
              </a:rPr>
              <a:t>omen</a:t>
            </a:r>
            <a:endParaRPr lang="ka-GE" sz="1600" b="1" i="1" dirty="0">
              <a:solidFill>
                <a:schemeClr val="accent2">
                  <a:lumMod val="50000"/>
                </a:schemeClr>
              </a:solidFill>
            </a:endParaRPr>
          </a:p>
          <a:p>
            <a:pPr algn="ctr"/>
            <a:endParaRPr lang="en-US" sz="1600" b="1" i="1" dirty="0" smtClean="0">
              <a:solidFill>
                <a:schemeClr val="accent2">
                  <a:lumMod val="50000"/>
                </a:schemeClr>
              </a:solidFill>
            </a:endParaRPr>
          </a:p>
          <a:p>
            <a:pPr algn="ctr"/>
            <a:r>
              <a:rPr lang="en-US" sz="1600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in 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complishments and challenges</a:t>
            </a:r>
            <a:endParaRPr lang="ka-GE" sz="16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ka-GE" sz="2000" dirty="0" smtClean="0">
                <a:solidFill>
                  <a:schemeClr val="accent4">
                    <a:lumMod val="75000"/>
                  </a:schemeClr>
                </a:solidFill>
              </a:rPr>
              <a:t>  </a:t>
            </a:r>
            <a:endParaRPr lang="en-GB" sz="2000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849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auto">
          <a:xfrm>
            <a:off x="0" y="4431506"/>
            <a:ext cx="9144000" cy="2426494"/>
          </a:xfrm>
          <a:prstGeom prst="rect">
            <a:avLst/>
          </a:prstGeom>
          <a:gradFill>
            <a:gsLst>
              <a:gs pos="24000">
                <a:schemeClr val="tx1">
                  <a:lumMod val="20000"/>
                  <a:lumOff val="80000"/>
                </a:schemeClr>
              </a:gs>
              <a:gs pos="100000">
                <a:schemeClr val="tx2">
                  <a:lumMod val="0"/>
                  <a:lumOff val="100000"/>
                  <a:alpha val="0"/>
                </a:schemeClr>
              </a:gs>
            </a:gsLst>
            <a:lin ang="16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5" name="Oval 14"/>
          <p:cNvSpPr/>
          <p:nvPr/>
        </p:nvSpPr>
        <p:spPr>
          <a:xfrm>
            <a:off x="2267744" y="1270350"/>
            <a:ext cx="5040560" cy="4752528"/>
          </a:xfrm>
          <a:prstGeom prst="ellipse">
            <a:avLst/>
          </a:prstGeom>
          <a:blipFill dpi="0" rotWithShape="1">
            <a:blip r:embed="rId2">
              <a:alphaModFix amt="1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0" y="0"/>
            <a:ext cx="1475656" cy="1268760"/>
            <a:chOff x="0" y="0"/>
            <a:chExt cx="1475656" cy="126876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475656" cy="10527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Oval 11"/>
            <p:cNvSpPr/>
            <p:nvPr/>
          </p:nvSpPr>
          <p:spPr>
            <a:xfrm>
              <a:off x="251520" y="44624"/>
              <a:ext cx="936104" cy="936104"/>
            </a:xfrm>
            <a:prstGeom prst="ellipse">
              <a:avLst/>
            </a:prstGeom>
            <a:blipFill>
              <a:blip r:embed="rId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0" y="1052736"/>
              <a:ext cx="1475656" cy="2160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" name="Rectangle 1"/>
          <p:cNvSpPr/>
          <p:nvPr/>
        </p:nvSpPr>
        <p:spPr>
          <a:xfrm>
            <a:off x="1655676" y="1556792"/>
            <a:ext cx="6156684" cy="3528392"/>
          </a:xfrm>
          <a:prstGeom prst="rect">
            <a:avLst/>
          </a:prstGeom>
          <a:solidFill>
            <a:schemeClr val="accent3">
              <a:lumMod val="95000"/>
              <a:alpha val="40000"/>
            </a:schemeClr>
          </a:solidFill>
          <a:ln>
            <a:noFill/>
          </a:ln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nk You for Your Attention!</a:t>
            </a:r>
            <a:endParaRPr lang="en-US" sz="4000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5"/>
          <p:cNvSpPr txBox="1">
            <a:spLocks noChangeArrowheads="1"/>
          </p:cNvSpPr>
          <p:nvPr/>
        </p:nvSpPr>
        <p:spPr>
          <a:xfrm>
            <a:off x="3275856" y="5085184"/>
            <a:ext cx="5688632" cy="1609328"/>
          </a:xfrm>
          <a:prstGeom prst="rect">
            <a:avLst/>
          </a:prstGeom>
          <a:noFill/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SzPct val="50000"/>
              <a:buFont typeface="Wingdings 2" pitchFamily="18" charset="2"/>
              <a:buChar char="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SzPct val="60000"/>
              <a:buFont typeface="Wingdings 2" pitchFamily="18" charset="2"/>
              <a:buChar char="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buNone/>
            </a:pPr>
            <a:r>
              <a:rPr lang="ka-GE" sz="1600" b="1" dirty="0">
                <a:solidFill>
                  <a:srgbClr val="002060"/>
                </a:solidFill>
              </a:rPr>
              <a:t>Office of the Chief </a:t>
            </a:r>
            <a:r>
              <a:rPr lang="ka-GE" sz="1600" b="1" dirty="0" smtClean="0">
                <a:solidFill>
                  <a:srgbClr val="002060"/>
                </a:solidFill>
              </a:rPr>
              <a:t>Prosecutor</a:t>
            </a:r>
            <a:r>
              <a:rPr lang="en-US" sz="1600" b="1" smtClean="0">
                <a:solidFill>
                  <a:srgbClr val="002060"/>
                </a:solidFill>
              </a:rPr>
              <a:t> of Georgia</a:t>
            </a:r>
            <a:endParaRPr lang="en-US" sz="1600" b="1" dirty="0" smtClean="0">
              <a:solidFill>
                <a:srgbClr val="002060"/>
              </a:solidFill>
            </a:endParaRPr>
          </a:p>
          <a:p>
            <a:pPr marL="0" indent="0" algn="r">
              <a:buNone/>
            </a:pPr>
            <a:r>
              <a:rPr lang="ka-GE" sz="1600" b="1" dirty="0">
                <a:solidFill>
                  <a:srgbClr val="002060"/>
                </a:solidFill>
              </a:rPr>
              <a:t> </a:t>
            </a:r>
          </a:p>
          <a:p>
            <a:pPr marL="0" indent="0" algn="r">
              <a:buNone/>
            </a:pPr>
            <a:r>
              <a:rPr lang="en-US" sz="1600" b="1" dirty="0">
                <a:solidFill>
                  <a:srgbClr val="002060"/>
                </a:solidFill>
              </a:rPr>
              <a:t>Gorgasali str. N24 </a:t>
            </a:r>
          </a:p>
          <a:p>
            <a:pPr marL="0" indent="0" algn="r">
              <a:buNone/>
            </a:pPr>
            <a:r>
              <a:rPr lang="en-US" sz="1600" b="1" dirty="0">
                <a:solidFill>
                  <a:srgbClr val="002060"/>
                </a:solidFill>
              </a:rPr>
              <a:t>www.pog.gov.ge</a:t>
            </a:r>
            <a:endParaRPr lang="en-GB" sz="16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6189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auto">
          <a:xfrm>
            <a:off x="0" y="4431506"/>
            <a:ext cx="9144000" cy="2426494"/>
          </a:xfrm>
          <a:prstGeom prst="rect">
            <a:avLst/>
          </a:prstGeom>
          <a:gradFill>
            <a:gsLst>
              <a:gs pos="24000">
                <a:schemeClr val="tx1">
                  <a:lumMod val="20000"/>
                  <a:lumOff val="80000"/>
                </a:schemeClr>
              </a:gs>
              <a:gs pos="100000">
                <a:schemeClr val="tx2">
                  <a:lumMod val="0"/>
                  <a:lumOff val="100000"/>
                  <a:alpha val="0"/>
                </a:schemeClr>
              </a:gs>
            </a:gsLst>
            <a:lin ang="16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5" name="Oval 14"/>
          <p:cNvSpPr/>
          <p:nvPr/>
        </p:nvSpPr>
        <p:spPr>
          <a:xfrm>
            <a:off x="2267744" y="1340768"/>
            <a:ext cx="5040560" cy="4752528"/>
          </a:xfrm>
          <a:prstGeom prst="ellipse">
            <a:avLst/>
          </a:prstGeom>
          <a:blipFill dpi="0" rotWithShape="1">
            <a:blip r:embed="rId8">
              <a:alphaModFix amt="1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0" y="0"/>
            <a:ext cx="1475656" cy="1268760"/>
            <a:chOff x="0" y="0"/>
            <a:chExt cx="1475656" cy="126876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475656" cy="10527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Oval 11"/>
            <p:cNvSpPr/>
            <p:nvPr/>
          </p:nvSpPr>
          <p:spPr>
            <a:xfrm>
              <a:off x="251520" y="44624"/>
              <a:ext cx="936104" cy="936104"/>
            </a:xfrm>
            <a:prstGeom prst="ellipse">
              <a:avLst/>
            </a:prstGeom>
            <a:blipFill>
              <a:blip r:embed="rId9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0" y="1052736"/>
              <a:ext cx="1475656" cy="2160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447800" y="206375"/>
            <a:ext cx="6858000" cy="533400"/>
          </a:xfrm>
        </p:spPr>
        <p:txBody>
          <a:bodyPr/>
          <a:lstStyle/>
          <a:p>
            <a:r>
              <a:rPr lang="en-US" sz="1800" b="1" dirty="0"/>
              <a:t>Executing the </a:t>
            </a:r>
            <a:r>
              <a:rPr lang="en-US" sz="1800" b="1" dirty="0" smtClean="0"/>
              <a:t>Process </a:t>
            </a:r>
            <a:r>
              <a:rPr lang="en-US" sz="1800" b="1" dirty="0"/>
              <a:t>of </a:t>
            </a:r>
            <a:r>
              <a:rPr lang="en-US" sz="1800" b="1" dirty="0" smtClean="0"/>
              <a:t>Specialization</a:t>
            </a:r>
            <a:endParaRPr lang="ka-GE" sz="1800" dirty="0"/>
          </a:p>
        </p:txBody>
      </p:sp>
      <p:sp>
        <p:nvSpPr>
          <p:cNvPr id="9" name="Rectangle 5"/>
          <p:cNvSpPr txBox="1">
            <a:spLocks noChangeArrowheads="1"/>
          </p:cNvSpPr>
          <p:nvPr/>
        </p:nvSpPr>
        <p:spPr>
          <a:xfrm>
            <a:off x="6516216" y="6093296"/>
            <a:ext cx="2664296" cy="457200"/>
          </a:xfrm>
          <a:prstGeom prst="rect">
            <a:avLst/>
          </a:prstGeom>
          <a:noFill/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SzPct val="50000"/>
              <a:buFont typeface="Wingdings 2" pitchFamily="18" charset="2"/>
              <a:buChar char="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SzPct val="60000"/>
              <a:buFont typeface="Wingdings 2" pitchFamily="18" charset="2"/>
              <a:buChar char="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b="1" dirty="0" smtClean="0">
                <a:solidFill>
                  <a:schemeClr val="tx1">
                    <a:lumMod val="50000"/>
                  </a:schemeClr>
                </a:solidFill>
              </a:rPr>
              <a:t>www.pog.gov.ge</a:t>
            </a:r>
            <a:endParaRPr lang="en-GB" sz="2000" b="1" dirty="0">
              <a:solidFill>
                <a:schemeClr val="tx1">
                  <a:lumMod val="50000"/>
                </a:schemeClr>
              </a:solidFill>
            </a:endParaRPr>
          </a:p>
        </p:txBody>
      </p:sp>
      <p:grpSp>
        <p:nvGrpSpPr>
          <p:cNvPr id="24" name="Group 216"/>
          <p:cNvGrpSpPr>
            <a:grpSpLocks/>
          </p:cNvGrpSpPr>
          <p:nvPr/>
        </p:nvGrpSpPr>
        <p:grpSpPr bwMode="auto">
          <a:xfrm flipH="1">
            <a:off x="2843287" y="2993715"/>
            <a:ext cx="649287" cy="317500"/>
            <a:chOff x="3682489" y="5859501"/>
            <a:chExt cx="1218025" cy="233795"/>
          </a:xfrm>
        </p:grpSpPr>
        <p:cxnSp>
          <p:nvCxnSpPr>
            <p:cNvPr id="25" name="Straight Connector 24"/>
            <p:cNvCxnSpPr/>
            <p:nvPr/>
          </p:nvCxnSpPr>
          <p:spPr>
            <a:xfrm>
              <a:off x="3682489" y="6093296"/>
              <a:ext cx="1218025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 flipV="1">
              <a:off x="4900514" y="5859501"/>
              <a:ext cx="0" cy="23379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Group 219"/>
          <p:cNvGrpSpPr>
            <a:grpSpLocks/>
          </p:cNvGrpSpPr>
          <p:nvPr/>
        </p:nvGrpSpPr>
        <p:grpSpPr bwMode="auto">
          <a:xfrm>
            <a:off x="6032574" y="3014352"/>
            <a:ext cx="915988" cy="306388"/>
            <a:chOff x="3682489" y="5859501"/>
            <a:chExt cx="1218025" cy="233795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3682489" y="6093296"/>
              <a:ext cx="1218025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V="1">
              <a:off x="4900514" y="5859501"/>
              <a:ext cx="0" cy="23379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Rectangle 29"/>
          <p:cNvSpPr/>
          <p:nvPr>
            <p:custDataLst>
              <p:tags r:id="rId1"/>
            </p:custDataLst>
          </p:nvPr>
        </p:nvSpPr>
        <p:spPr>
          <a:xfrm>
            <a:off x="6659637" y="5762315"/>
            <a:ext cx="1663700" cy="1635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34000"/>
                  <a:lumOff val="66000"/>
                </a:schemeClr>
              </a:gs>
              <a:gs pos="100000">
                <a:schemeClr val="tx1">
                  <a:lumMod val="0"/>
                  <a:lumOff val="10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1" name="Rectangle 30"/>
          <p:cNvSpPr/>
          <p:nvPr>
            <p:custDataLst>
              <p:tags r:id="rId2"/>
            </p:custDataLst>
          </p:nvPr>
        </p:nvSpPr>
        <p:spPr>
          <a:xfrm>
            <a:off x="1300237" y="5862327"/>
            <a:ext cx="1663700" cy="163513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34000"/>
                  <a:lumOff val="66000"/>
                </a:schemeClr>
              </a:gs>
              <a:gs pos="100000">
                <a:schemeClr val="tx1">
                  <a:lumMod val="0"/>
                  <a:lumOff val="10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2" name="Rectangle 31"/>
          <p:cNvSpPr/>
          <p:nvPr>
            <p:custDataLst>
              <p:tags r:id="rId3"/>
            </p:custDataLst>
          </p:nvPr>
        </p:nvSpPr>
        <p:spPr>
          <a:xfrm>
            <a:off x="6678687" y="2927040"/>
            <a:ext cx="1663700" cy="161925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34000"/>
                  <a:lumOff val="66000"/>
                </a:schemeClr>
              </a:gs>
              <a:gs pos="100000">
                <a:schemeClr val="tx1">
                  <a:lumMod val="0"/>
                  <a:lumOff val="10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>
            <p:custDataLst>
              <p:tags r:id="rId4"/>
            </p:custDataLst>
          </p:nvPr>
        </p:nvSpPr>
        <p:spPr>
          <a:xfrm>
            <a:off x="1311349" y="2914340"/>
            <a:ext cx="1663700" cy="1635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34000"/>
                  <a:lumOff val="66000"/>
                </a:schemeClr>
              </a:gs>
              <a:gs pos="100000">
                <a:schemeClr val="tx1">
                  <a:lumMod val="0"/>
                  <a:lumOff val="10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4" name="Rectangle 33"/>
          <p:cNvSpPr/>
          <p:nvPr>
            <p:custDataLst>
              <p:tags r:id="rId5"/>
            </p:custDataLst>
          </p:nvPr>
        </p:nvSpPr>
        <p:spPr>
          <a:xfrm>
            <a:off x="3967237" y="5136840"/>
            <a:ext cx="1663700" cy="161925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34000"/>
                  <a:lumOff val="66000"/>
                </a:schemeClr>
              </a:gs>
              <a:gs pos="100000">
                <a:schemeClr val="tx1">
                  <a:lumMod val="0"/>
                  <a:lumOff val="10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5" name="Rectangle 34"/>
          <p:cNvSpPr/>
          <p:nvPr>
            <p:custDataLst>
              <p:tags r:id="rId6"/>
            </p:custDataLst>
          </p:nvPr>
        </p:nvSpPr>
        <p:spPr>
          <a:xfrm>
            <a:off x="4343474" y="4538352"/>
            <a:ext cx="898525" cy="174625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34000"/>
                  <a:lumOff val="66000"/>
                </a:schemeClr>
              </a:gs>
              <a:gs pos="100000">
                <a:schemeClr val="tx1">
                  <a:lumMod val="0"/>
                  <a:lumOff val="10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36" name="Group 211"/>
          <p:cNvGrpSpPr>
            <a:grpSpLocks/>
          </p:cNvGrpSpPr>
          <p:nvPr/>
        </p:nvGrpSpPr>
        <p:grpSpPr bwMode="auto">
          <a:xfrm>
            <a:off x="3103637" y="4655827"/>
            <a:ext cx="609600" cy="841375"/>
            <a:chOff x="3682489" y="5384117"/>
            <a:chExt cx="1218025" cy="709181"/>
          </a:xfrm>
        </p:grpSpPr>
        <p:cxnSp>
          <p:nvCxnSpPr>
            <p:cNvPr id="37" name="Straight Connector 36"/>
            <p:cNvCxnSpPr/>
            <p:nvPr/>
          </p:nvCxnSpPr>
          <p:spPr>
            <a:xfrm>
              <a:off x="3682489" y="6093298"/>
              <a:ext cx="1218025" cy="0"/>
            </a:xfrm>
            <a:prstGeom prst="line">
              <a:avLst/>
            </a:prstGeom>
            <a:ln>
              <a:solidFill>
                <a:schemeClr val="accent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 flipV="1">
              <a:off x="4900514" y="5384117"/>
              <a:ext cx="0" cy="709181"/>
            </a:xfrm>
            <a:prstGeom prst="line">
              <a:avLst/>
            </a:prstGeom>
            <a:ln>
              <a:solidFill>
                <a:schemeClr val="accent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213"/>
          <p:cNvGrpSpPr>
            <a:grpSpLocks/>
          </p:cNvGrpSpPr>
          <p:nvPr/>
        </p:nvGrpSpPr>
        <p:grpSpPr bwMode="auto">
          <a:xfrm flipH="1">
            <a:off x="5694437" y="4705040"/>
            <a:ext cx="855662" cy="766762"/>
            <a:chOff x="3682489" y="5528730"/>
            <a:chExt cx="1218025" cy="564567"/>
          </a:xfrm>
        </p:grpSpPr>
        <p:cxnSp>
          <p:nvCxnSpPr>
            <p:cNvPr id="40" name="Straight Connector 39"/>
            <p:cNvCxnSpPr/>
            <p:nvPr/>
          </p:nvCxnSpPr>
          <p:spPr>
            <a:xfrm>
              <a:off x="3682489" y="6093297"/>
              <a:ext cx="1218025" cy="0"/>
            </a:xfrm>
            <a:prstGeom prst="line">
              <a:avLst/>
            </a:prstGeom>
            <a:ln>
              <a:solidFill>
                <a:schemeClr val="accent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 flipH="1" flipV="1">
              <a:off x="4900514" y="5528730"/>
              <a:ext cx="0" cy="564567"/>
            </a:xfrm>
            <a:prstGeom prst="line">
              <a:avLst/>
            </a:prstGeom>
            <a:ln>
              <a:solidFill>
                <a:schemeClr val="accent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e 249"/>
          <p:cNvGrpSpPr>
            <a:grpSpLocks/>
          </p:cNvGrpSpPr>
          <p:nvPr/>
        </p:nvGrpSpPr>
        <p:grpSpPr bwMode="auto">
          <a:xfrm>
            <a:off x="6948264" y="1294504"/>
            <a:ext cx="1008625" cy="1010767"/>
            <a:chOff x="2881313" y="1930398"/>
            <a:chExt cx="687260" cy="689505"/>
          </a:xfrm>
          <a:solidFill>
            <a:srgbClr val="002060"/>
          </a:solidFill>
        </p:grpSpPr>
        <p:grpSp>
          <p:nvGrpSpPr>
            <p:cNvPr id="43" name="Gruppe 92"/>
            <p:cNvGrpSpPr>
              <a:grpSpLocks/>
            </p:cNvGrpSpPr>
            <p:nvPr/>
          </p:nvGrpSpPr>
          <p:grpSpPr bwMode="auto">
            <a:xfrm>
              <a:off x="2881313" y="1954615"/>
              <a:ext cx="246354" cy="665294"/>
              <a:chOff x="3176819" y="3905908"/>
              <a:chExt cx="825379" cy="2226897"/>
            </a:xfrm>
            <a:grpFill/>
          </p:grpSpPr>
          <p:grpSp>
            <p:nvGrpSpPr>
              <p:cNvPr id="50" name="Gruppe 52"/>
              <p:cNvGrpSpPr>
                <a:grpSpLocks/>
              </p:cNvGrpSpPr>
              <p:nvPr/>
            </p:nvGrpSpPr>
            <p:grpSpPr bwMode="auto">
              <a:xfrm>
                <a:off x="3176819" y="3905908"/>
                <a:ext cx="825379" cy="2226897"/>
                <a:chOff x="3612248" y="3840594"/>
                <a:chExt cx="825379" cy="2226897"/>
              </a:xfrm>
              <a:grpFill/>
            </p:grpSpPr>
            <p:sp>
              <p:nvSpPr>
                <p:cNvPr id="53" name="Freeform 137"/>
                <p:cNvSpPr>
                  <a:spLocks noEditPoints="1"/>
                </p:cNvSpPr>
                <p:nvPr/>
              </p:nvSpPr>
              <p:spPr bwMode="auto">
                <a:xfrm>
                  <a:off x="3802906" y="4160490"/>
                  <a:ext cx="591534" cy="1300660"/>
                </a:xfrm>
                <a:custGeom>
                  <a:avLst/>
                  <a:gdLst>
                    <a:gd name="T0" fmla="*/ 811490228 w 350"/>
                    <a:gd name="T1" fmla="*/ 413305594 h 774"/>
                    <a:gd name="T2" fmla="*/ 756046810 w 350"/>
                    <a:gd name="T3" fmla="*/ 257055956 h 774"/>
                    <a:gd name="T4" fmla="*/ 756046810 w 350"/>
                    <a:gd name="T5" fmla="*/ 221773779 h 774"/>
                    <a:gd name="T6" fmla="*/ 740925878 w 350"/>
                    <a:gd name="T7" fmla="*/ 181451242 h 774"/>
                    <a:gd name="T8" fmla="*/ 725804945 w 350"/>
                    <a:gd name="T9" fmla="*/ 115927201 h 774"/>
                    <a:gd name="T10" fmla="*/ 705643702 w 350"/>
                    <a:gd name="T11" fmla="*/ 90725621 h 774"/>
                    <a:gd name="T12" fmla="*/ 650200284 w 350"/>
                    <a:gd name="T13" fmla="*/ 65524067 h 774"/>
                    <a:gd name="T14" fmla="*/ 569555312 w 350"/>
                    <a:gd name="T15" fmla="*/ 45362811 h 774"/>
                    <a:gd name="T16" fmla="*/ 302418744 w 350"/>
                    <a:gd name="T17" fmla="*/ 0 h 774"/>
                    <a:gd name="T18" fmla="*/ 246975326 w 350"/>
                    <a:gd name="T19" fmla="*/ 10080625 h 774"/>
                    <a:gd name="T20" fmla="*/ 191531858 w 350"/>
                    <a:gd name="T21" fmla="*/ 35282189 h 774"/>
                    <a:gd name="T22" fmla="*/ 105846575 w 350"/>
                    <a:gd name="T23" fmla="*/ 70564378 h 774"/>
                    <a:gd name="T24" fmla="*/ 30241877 w 350"/>
                    <a:gd name="T25" fmla="*/ 90725621 h 774"/>
                    <a:gd name="T26" fmla="*/ 15120938 w 350"/>
                    <a:gd name="T27" fmla="*/ 105846579 h 774"/>
                    <a:gd name="T28" fmla="*/ 0 w 350"/>
                    <a:gd name="T29" fmla="*/ 151209377 h 774"/>
                    <a:gd name="T30" fmla="*/ 15120938 w 350"/>
                    <a:gd name="T31" fmla="*/ 216733468 h 774"/>
                    <a:gd name="T32" fmla="*/ 45362809 w 350"/>
                    <a:gd name="T33" fmla="*/ 267136577 h 774"/>
                    <a:gd name="T34" fmla="*/ 105846575 w 350"/>
                    <a:gd name="T35" fmla="*/ 524192533 h 774"/>
                    <a:gd name="T36" fmla="*/ 151209372 w 350"/>
                    <a:gd name="T37" fmla="*/ 635079373 h 774"/>
                    <a:gd name="T38" fmla="*/ 181451236 w 350"/>
                    <a:gd name="T39" fmla="*/ 715724348 h 774"/>
                    <a:gd name="T40" fmla="*/ 211693150 w 350"/>
                    <a:gd name="T41" fmla="*/ 801409633 h 774"/>
                    <a:gd name="T42" fmla="*/ 196572169 w 350"/>
                    <a:gd name="T43" fmla="*/ 871974184 h 774"/>
                    <a:gd name="T44" fmla="*/ 161289993 w 350"/>
                    <a:gd name="T45" fmla="*/ 1003022268 h 774"/>
                    <a:gd name="T46" fmla="*/ 120967507 w 350"/>
                    <a:gd name="T47" fmla="*/ 1169352528 h 774"/>
                    <a:gd name="T48" fmla="*/ 115927197 w 350"/>
                    <a:gd name="T49" fmla="*/ 1229836259 h 774"/>
                    <a:gd name="T50" fmla="*/ 146169061 w 350"/>
                    <a:gd name="T51" fmla="*/ 1244957192 h 774"/>
                    <a:gd name="T52" fmla="*/ 146169061 w 350"/>
                    <a:gd name="T53" fmla="*/ 1401206830 h 774"/>
                    <a:gd name="T54" fmla="*/ 156249683 w 350"/>
                    <a:gd name="T55" fmla="*/ 1653222375 h 774"/>
                    <a:gd name="T56" fmla="*/ 156249683 w 350"/>
                    <a:gd name="T57" fmla="*/ 1718746814 h 774"/>
                    <a:gd name="T58" fmla="*/ 156249683 w 350"/>
                    <a:gd name="T59" fmla="*/ 1789311167 h 774"/>
                    <a:gd name="T60" fmla="*/ 156249683 w 350"/>
                    <a:gd name="T61" fmla="*/ 1895157696 h 774"/>
                    <a:gd name="T62" fmla="*/ 272176879 w 350"/>
                    <a:gd name="T63" fmla="*/ 1940520494 h 774"/>
                    <a:gd name="T64" fmla="*/ 342741230 w 350"/>
                    <a:gd name="T65" fmla="*/ 1950601116 h 774"/>
                    <a:gd name="T66" fmla="*/ 493950651 w 350"/>
                    <a:gd name="T67" fmla="*/ 1925399561 h 774"/>
                    <a:gd name="T68" fmla="*/ 665321216 w 350"/>
                    <a:gd name="T69" fmla="*/ 1880036763 h 774"/>
                    <a:gd name="T70" fmla="*/ 781248363 w 350"/>
                    <a:gd name="T71" fmla="*/ 1834673965 h 774"/>
                    <a:gd name="T72" fmla="*/ 826611160 w 350"/>
                    <a:gd name="T73" fmla="*/ 1703625881 h 774"/>
                    <a:gd name="T74" fmla="*/ 821570849 w 350"/>
                    <a:gd name="T75" fmla="*/ 1340723099 h 774"/>
                    <a:gd name="T76" fmla="*/ 821570849 w 350"/>
                    <a:gd name="T77" fmla="*/ 1159271906 h 774"/>
                    <a:gd name="T78" fmla="*/ 796369296 w 350"/>
                    <a:gd name="T79" fmla="*/ 1028223823 h 774"/>
                    <a:gd name="T80" fmla="*/ 776208053 w 350"/>
                    <a:gd name="T81" fmla="*/ 967740092 h 774"/>
                    <a:gd name="T82" fmla="*/ 861893534 w 350"/>
                    <a:gd name="T83" fmla="*/ 751006524 h 774"/>
                    <a:gd name="T84" fmla="*/ 877014466 w 350"/>
                    <a:gd name="T85" fmla="*/ 705643726 h 774"/>
                    <a:gd name="T86" fmla="*/ 877014466 w 350"/>
                    <a:gd name="T87" fmla="*/ 685482482 h 774"/>
                    <a:gd name="T88" fmla="*/ 705643702 w 350"/>
                    <a:gd name="T89" fmla="*/ 619958440 h 774"/>
                    <a:gd name="T90" fmla="*/ 685482459 w 350"/>
                    <a:gd name="T91" fmla="*/ 650200306 h 774"/>
                    <a:gd name="T92" fmla="*/ 700603392 w 350"/>
                    <a:gd name="T93" fmla="*/ 594756886 h 774"/>
                    <a:gd name="T94" fmla="*/ 710684013 w 350"/>
                    <a:gd name="T95" fmla="*/ 604837508 h 774"/>
                    <a:gd name="T96" fmla="*/ 705643702 w 350"/>
                    <a:gd name="T97" fmla="*/ 619958440 h 774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350"/>
                    <a:gd name="T148" fmla="*/ 0 h 774"/>
                    <a:gd name="T149" fmla="*/ 350 w 350"/>
                    <a:gd name="T150" fmla="*/ 774 h 774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350" h="774">
                      <a:moveTo>
                        <a:pt x="344" y="262"/>
                      </a:moveTo>
                      <a:lnTo>
                        <a:pt x="344" y="262"/>
                      </a:lnTo>
                      <a:lnTo>
                        <a:pt x="322" y="164"/>
                      </a:lnTo>
                      <a:lnTo>
                        <a:pt x="300" y="102"/>
                      </a:lnTo>
                      <a:lnTo>
                        <a:pt x="300" y="96"/>
                      </a:lnTo>
                      <a:lnTo>
                        <a:pt x="300" y="88"/>
                      </a:lnTo>
                      <a:lnTo>
                        <a:pt x="296" y="80"/>
                      </a:lnTo>
                      <a:lnTo>
                        <a:pt x="294" y="76"/>
                      </a:lnTo>
                      <a:lnTo>
                        <a:pt x="294" y="72"/>
                      </a:lnTo>
                      <a:lnTo>
                        <a:pt x="292" y="56"/>
                      </a:lnTo>
                      <a:lnTo>
                        <a:pt x="288" y="46"/>
                      </a:lnTo>
                      <a:lnTo>
                        <a:pt x="284" y="40"/>
                      </a:lnTo>
                      <a:lnTo>
                        <a:pt x="280" y="36"/>
                      </a:lnTo>
                      <a:lnTo>
                        <a:pt x="270" y="30"/>
                      </a:lnTo>
                      <a:lnTo>
                        <a:pt x="260" y="26"/>
                      </a:lnTo>
                      <a:lnTo>
                        <a:pt x="258" y="26"/>
                      </a:lnTo>
                      <a:lnTo>
                        <a:pt x="234" y="20"/>
                      </a:lnTo>
                      <a:lnTo>
                        <a:pt x="226" y="18"/>
                      </a:lnTo>
                      <a:lnTo>
                        <a:pt x="212" y="14"/>
                      </a:lnTo>
                      <a:lnTo>
                        <a:pt x="176" y="8"/>
                      </a:lnTo>
                      <a:lnTo>
                        <a:pt x="120" y="0"/>
                      </a:lnTo>
                      <a:lnTo>
                        <a:pt x="112" y="0"/>
                      </a:lnTo>
                      <a:lnTo>
                        <a:pt x="98" y="4"/>
                      </a:lnTo>
                      <a:lnTo>
                        <a:pt x="84" y="8"/>
                      </a:lnTo>
                      <a:lnTo>
                        <a:pt x="76" y="14"/>
                      </a:lnTo>
                      <a:lnTo>
                        <a:pt x="68" y="18"/>
                      </a:lnTo>
                      <a:lnTo>
                        <a:pt x="58" y="22"/>
                      </a:lnTo>
                      <a:lnTo>
                        <a:pt x="42" y="28"/>
                      </a:lnTo>
                      <a:lnTo>
                        <a:pt x="28" y="32"/>
                      </a:lnTo>
                      <a:lnTo>
                        <a:pt x="12" y="36"/>
                      </a:lnTo>
                      <a:lnTo>
                        <a:pt x="8" y="38"/>
                      </a:lnTo>
                      <a:lnTo>
                        <a:pt x="6" y="42"/>
                      </a:lnTo>
                      <a:lnTo>
                        <a:pt x="4" y="48"/>
                      </a:lnTo>
                      <a:lnTo>
                        <a:pt x="0" y="60"/>
                      </a:lnTo>
                      <a:lnTo>
                        <a:pt x="0" y="70"/>
                      </a:lnTo>
                      <a:lnTo>
                        <a:pt x="2" y="80"/>
                      </a:lnTo>
                      <a:lnTo>
                        <a:pt x="6" y="86"/>
                      </a:lnTo>
                      <a:lnTo>
                        <a:pt x="18" y="106"/>
                      </a:lnTo>
                      <a:lnTo>
                        <a:pt x="30" y="158"/>
                      </a:lnTo>
                      <a:lnTo>
                        <a:pt x="42" y="208"/>
                      </a:lnTo>
                      <a:lnTo>
                        <a:pt x="50" y="224"/>
                      </a:lnTo>
                      <a:lnTo>
                        <a:pt x="56" y="240"/>
                      </a:lnTo>
                      <a:lnTo>
                        <a:pt x="60" y="252"/>
                      </a:lnTo>
                      <a:lnTo>
                        <a:pt x="64" y="266"/>
                      </a:lnTo>
                      <a:lnTo>
                        <a:pt x="72" y="284"/>
                      </a:lnTo>
                      <a:lnTo>
                        <a:pt x="80" y="304"/>
                      </a:lnTo>
                      <a:lnTo>
                        <a:pt x="82" y="312"/>
                      </a:lnTo>
                      <a:lnTo>
                        <a:pt x="84" y="318"/>
                      </a:lnTo>
                      <a:lnTo>
                        <a:pt x="82" y="332"/>
                      </a:lnTo>
                      <a:lnTo>
                        <a:pt x="78" y="346"/>
                      </a:lnTo>
                      <a:lnTo>
                        <a:pt x="72" y="364"/>
                      </a:lnTo>
                      <a:lnTo>
                        <a:pt x="64" y="398"/>
                      </a:lnTo>
                      <a:lnTo>
                        <a:pt x="54" y="438"/>
                      </a:lnTo>
                      <a:lnTo>
                        <a:pt x="48" y="464"/>
                      </a:lnTo>
                      <a:lnTo>
                        <a:pt x="42" y="484"/>
                      </a:lnTo>
                      <a:lnTo>
                        <a:pt x="46" y="488"/>
                      </a:lnTo>
                      <a:lnTo>
                        <a:pt x="52" y="492"/>
                      </a:lnTo>
                      <a:lnTo>
                        <a:pt x="58" y="494"/>
                      </a:lnTo>
                      <a:lnTo>
                        <a:pt x="58" y="506"/>
                      </a:lnTo>
                      <a:lnTo>
                        <a:pt x="58" y="524"/>
                      </a:lnTo>
                      <a:lnTo>
                        <a:pt x="58" y="556"/>
                      </a:lnTo>
                      <a:lnTo>
                        <a:pt x="60" y="606"/>
                      </a:lnTo>
                      <a:lnTo>
                        <a:pt x="62" y="656"/>
                      </a:lnTo>
                      <a:lnTo>
                        <a:pt x="62" y="672"/>
                      </a:lnTo>
                      <a:lnTo>
                        <a:pt x="62" y="682"/>
                      </a:lnTo>
                      <a:lnTo>
                        <a:pt x="62" y="710"/>
                      </a:lnTo>
                      <a:lnTo>
                        <a:pt x="62" y="732"/>
                      </a:lnTo>
                      <a:lnTo>
                        <a:pt x="62" y="752"/>
                      </a:lnTo>
                      <a:lnTo>
                        <a:pt x="72" y="756"/>
                      </a:lnTo>
                      <a:lnTo>
                        <a:pt x="108" y="770"/>
                      </a:lnTo>
                      <a:lnTo>
                        <a:pt x="122" y="774"/>
                      </a:lnTo>
                      <a:lnTo>
                        <a:pt x="136" y="774"/>
                      </a:lnTo>
                      <a:lnTo>
                        <a:pt x="152" y="774"/>
                      </a:lnTo>
                      <a:lnTo>
                        <a:pt x="168" y="770"/>
                      </a:lnTo>
                      <a:lnTo>
                        <a:pt x="196" y="764"/>
                      </a:lnTo>
                      <a:lnTo>
                        <a:pt x="214" y="760"/>
                      </a:lnTo>
                      <a:lnTo>
                        <a:pt x="264" y="746"/>
                      </a:lnTo>
                      <a:lnTo>
                        <a:pt x="288" y="738"/>
                      </a:lnTo>
                      <a:lnTo>
                        <a:pt x="310" y="728"/>
                      </a:lnTo>
                      <a:lnTo>
                        <a:pt x="330" y="716"/>
                      </a:lnTo>
                      <a:lnTo>
                        <a:pt x="328" y="676"/>
                      </a:lnTo>
                      <a:lnTo>
                        <a:pt x="326" y="616"/>
                      </a:lnTo>
                      <a:lnTo>
                        <a:pt x="326" y="532"/>
                      </a:lnTo>
                      <a:lnTo>
                        <a:pt x="324" y="468"/>
                      </a:lnTo>
                      <a:lnTo>
                        <a:pt x="326" y="460"/>
                      </a:lnTo>
                      <a:lnTo>
                        <a:pt x="326" y="446"/>
                      </a:lnTo>
                      <a:lnTo>
                        <a:pt x="324" y="434"/>
                      </a:lnTo>
                      <a:lnTo>
                        <a:pt x="316" y="408"/>
                      </a:lnTo>
                      <a:lnTo>
                        <a:pt x="310" y="392"/>
                      </a:lnTo>
                      <a:lnTo>
                        <a:pt x="308" y="384"/>
                      </a:lnTo>
                      <a:lnTo>
                        <a:pt x="324" y="344"/>
                      </a:lnTo>
                      <a:lnTo>
                        <a:pt x="338" y="314"/>
                      </a:lnTo>
                      <a:lnTo>
                        <a:pt x="342" y="298"/>
                      </a:lnTo>
                      <a:lnTo>
                        <a:pt x="344" y="290"/>
                      </a:lnTo>
                      <a:lnTo>
                        <a:pt x="348" y="280"/>
                      </a:lnTo>
                      <a:lnTo>
                        <a:pt x="350" y="276"/>
                      </a:lnTo>
                      <a:lnTo>
                        <a:pt x="348" y="272"/>
                      </a:lnTo>
                      <a:lnTo>
                        <a:pt x="344" y="262"/>
                      </a:lnTo>
                      <a:close/>
                      <a:moveTo>
                        <a:pt x="280" y="246"/>
                      </a:moveTo>
                      <a:lnTo>
                        <a:pt x="276" y="250"/>
                      </a:lnTo>
                      <a:lnTo>
                        <a:pt x="276" y="256"/>
                      </a:lnTo>
                      <a:lnTo>
                        <a:pt x="272" y="258"/>
                      </a:lnTo>
                      <a:lnTo>
                        <a:pt x="274" y="236"/>
                      </a:lnTo>
                      <a:lnTo>
                        <a:pt x="278" y="236"/>
                      </a:lnTo>
                      <a:lnTo>
                        <a:pt x="280" y="238"/>
                      </a:lnTo>
                      <a:lnTo>
                        <a:pt x="282" y="240"/>
                      </a:lnTo>
                      <a:lnTo>
                        <a:pt x="282" y="246"/>
                      </a:lnTo>
                      <a:lnTo>
                        <a:pt x="280" y="24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54" name="Freeform 139"/>
                <p:cNvSpPr>
                  <a:spLocks/>
                </p:cNvSpPr>
                <p:nvPr/>
              </p:nvSpPr>
              <p:spPr bwMode="auto">
                <a:xfrm>
                  <a:off x="3881125" y="3842658"/>
                  <a:ext cx="347099" cy="366729"/>
                </a:xfrm>
                <a:custGeom>
                  <a:avLst/>
                  <a:gdLst>
                    <a:gd name="T0" fmla="*/ 282257514 w 202"/>
                    <a:gd name="T1" fmla="*/ 10080625 h 216"/>
                    <a:gd name="T2" fmla="*/ 317539691 w 202"/>
                    <a:gd name="T3" fmla="*/ 5040313 h 216"/>
                    <a:gd name="T4" fmla="*/ 327620313 w 202"/>
                    <a:gd name="T5" fmla="*/ 10080625 h 216"/>
                    <a:gd name="T6" fmla="*/ 403224977 w 202"/>
                    <a:gd name="T7" fmla="*/ 15120939 h 216"/>
                    <a:gd name="T8" fmla="*/ 433466942 w 202"/>
                    <a:gd name="T9" fmla="*/ 30241879 h 216"/>
                    <a:gd name="T10" fmla="*/ 443547564 w 202"/>
                    <a:gd name="T11" fmla="*/ 45362812 h 216"/>
                    <a:gd name="T12" fmla="*/ 463708808 w 202"/>
                    <a:gd name="T13" fmla="*/ 100806246 h 216"/>
                    <a:gd name="T14" fmla="*/ 463708808 w 202"/>
                    <a:gd name="T15" fmla="*/ 156249693 h 216"/>
                    <a:gd name="T16" fmla="*/ 473789430 w 202"/>
                    <a:gd name="T17" fmla="*/ 226814098 h 216"/>
                    <a:gd name="T18" fmla="*/ 473789430 w 202"/>
                    <a:gd name="T19" fmla="*/ 307459075 h 216"/>
                    <a:gd name="T20" fmla="*/ 453628186 w 202"/>
                    <a:gd name="T21" fmla="*/ 372983119 h 216"/>
                    <a:gd name="T22" fmla="*/ 453628186 w 202"/>
                    <a:gd name="T23" fmla="*/ 393144363 h 216"/>
                    <a:gd name="T24" fmla="*/ 473789430 w 202"/>
                    <a:gd name="T25" fmla="*/ 443547573 h 216"/>
                    <a:gd name="T26" fmla="*/ 493950674 w 202"/>
                    <a:gd name="T27" fmla="*/ 453628195 h 216"/>
                    <a:gd name="T28" fmla="*/ 483870052 w 202"/>
                    <a:gd name="T29" fmla="*/ 453628195 h 216"/>
                    <a:gd name="T30" fmla="*/ 463708808 w 202"/>
                    <a:gd name="T31" fmla="*/ 453628195 h 216"/>
                    <a:gd name="T32" fmla="*/ 473789430 w 202"/>
                    <a:gd name="T33" fmla="*/ 478829751 h 216"/>
                    <a:gd name="T34" fmla="*/ 498990985 w 202"/>
                    <a:gd name="T35" fmla="*/ 493950684 h 216"/>
                    <a:gd name="T36" fmla="*/ 509071607 w 202"/>
                    <a:gd name="T37" fmla="*/ 488910373 h 216"/>
                    <a:gd name="T38" fmla="*/ 493950674 w 202"/>
                    <a:gd name="T39" fmla="*/ 534273172 h 216"/>
                    <a:gd name="T40" fmla="*/ 473789430 w 202"/>
                    <a:gd name="T41" fmla="*/ 544353795 h 216"/>
                    <a:gd name="T42" fmla="*/ 453628186 w 202"/>
                    <a:gd name="T43" fmla="*/ 544353795 h 216"/>
                    <a:gd name="T44" fmla="*/ 418346010 w 202"/>
                    <a:gd name="T45" fmla="*/ 534273172 h 216"/>
                    <a:gd name="T46" fmla="*/ 398184666 w 202"/>
                    <a:gd name="T47" fmla="*/ 509071617 h 216"/>
                    <a:gd name="T48" fmla="*/ 398184666 w 202"/>
                    <a:gd name="T49" fmla="*/ 493950684 h 216"/>
                    <a:gd name="T50" fmla="*/ 388104044 w 202"/>
                    <a:gd name="T51" fmla="*/ 478829751 h 216"/>
                    <a:gd name="T52" fmla="*/ 352821868 w 202"/>
                    <a:gd name="T53" fmla="*/ 468749128 h 216"/>
                    <a:gd name="T54" fmla="*/ 337700935 w 202"/>
                    <a:gd name="T55" fmla="*/ 453628195 h 216"/>
                    <a:gd name="T56" fmla="*/ 196572178 w 202"/>
                    <a:gd name="T57" fmla="*/ 453628195 h 216"/>
                    <a:gd name="T58" fmla="*/ 176410934 w 202"/>
                    <a:gd name="T59" fmla="*/ 478829751 h 216"/>
                    <a:gd name="T60" fmla="*/ 176410934 w 202"/>
                    <a:gd name="T61" fmla="*/ 504031306 h 216"/>
                    <a:gd name="T62" fmla="*/ 171370623 w 202"/>
                    <a:gd name="T63" fmla="*/ 524192550 h 216"/>
                    <a:gd name="T64" fmla="*/ 151209379 w 202"/>
                    <a:gd name="T65" fmla="*/ 534273172 h 216"/>
                    <a:gd name="T66" fmla="*/ 141128757 w 202"/>
                    <a:gd name="T67" fmla="*/ 539313484 h 216"/>
                    <a:gd name="T68" fmla="*/ 120967513 w 202"/>
                    <a:gd name="T69" fmla="*/ 534273172 h 216"/>
                    <a:gd name="T70" fmla="*/ 70564378 w 202"/>
                    <a:gd name="T71" fmla="*/ 544353795 h 216"/>
                    <a:gd name="T72" fmla="*/ 35282189 w 202"/>
                    <a:gd name="T73" fmla="*/ 529232861 h 216"/>
                    <a:gd name="T74" fmla="*/ 15120939 w 202"/>
                    <a:gd name="T75" fmla="*/ 493950684 h 216"/>
                    <a:gd name="T76" fmla="*/ 0 w 202"/>
                    <a:gd name="T77" fmla="*/ 473789440 h 216"/>
                    <a:gd name="T78" fmla="*/ 30241878 w 202"/>
                    <a:gd name="T79" fmla="*/ 478829751 h 216"/>
                    <a:gd name="T80" fmla="*/ 35282189 w 202"/>
                    <a:gd name="T81" fmla="*/ 473789440 h 216"/>
                    <a:gd name="T82" fmla="*/ 45362811 w 202"/>
                    <a:gd name="T83" fmla="*/ 458668506 h 216"/>
                    <a:gd name="T84" fmla="*/ 65524068 w 202"/>
                    <a:gd name="T85" fmla="*/ 433466951 h 216"/>
                    <a:gd name="T86" fmla="*/ 60483757 w 202"/>
                    <a:gd name="T87" fmla="*/ 398184674 h 216"/>
                    <a:gd name="T88" fmla="*/ 55443446 w 202"/>
                    <a:gd name="T89" fmla="*/ 367942808 h 216"/>
                    <a:gd name="T90" fmla="*/ 45362811 w 202"/>
                    <a:gd name="T91" fmla="*/ 312499386 h 216"/>
                    <a:gd name="T92" fmla="*/ 55443446 w 202"/>
                    <a:gd name="T93" fmla="*/ 267136586 h 216"/>
                    <a:gd name="T94" fmla="*/ 80645000 w 202"/>
                    <a:gd name="T95" fmla="*/ 196572182 h 216"/>
                    <a:gd name="T96" fmla="*/ 90725622 w 202"/>
                    <a:gd name="T97" fmla="*/ 171370626 h 216"/>
                    <a:gd name="T98" fmla="*/ 120967513 w 202"/>
                    <a:gd name="T99" fmla="*/ 105846582 h 216"/>
                    <a:gd name="T100" fmla="*/ 181451245 w 202"/>
                    <a:gd name="T101" fmla="*/ 45362812 h 216"/>
                    <a:gd name="T102" fmla="*/ 236894715 w 202"/>
                    <a:gd name="T103" fmla="*/ 5040313 h 216"/>
                    <a:gd name="T104" fmla="*/ 272176892 w 202"/>
                    <a:gd name="T105" fmla="*/ 5040313 h 216"/>
                    <a:gd name="T106" fmla="*/ 282257514 w 202"/>
                    <a:gd name="T107" fmla="*/ 10080625 h 21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202"/>
                    <a:gd name="T163" fmla="*/ 0 h 216"/>
                    <a:gd name="T164" fmla="*/ 202 w 202"/>
                    <a:gd name="T165" fmla="*/ 216 h 21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202" h="216">
                      <a:moveTo>
                        <a:pt x="112" y="4"/>
                      </a:moveTo>
                      <a:lnTo>
                        <a:pt x="112" y="4"/>
                      </a:lnTo>
                      <a:lnTo>
                        <a:pt x="120" y="2"/>
                      </a:lnTo>
                      <a:lnTo>
                        <a:pt x="126" y="2"/>
                      </a:lnTo>
                      <a:lnTo>
                        <a:pt x="130" y="4"/>
                      </a:lnTo>
                      <a:lnTo>
                        <a:pt x="146" y="4"/>
                      </a:lnTo>
                      <a:lnTo>
                        <a:pt x="160" y="6"/>
                      </a:lnTo>
                      <a:lnTo>
                        <a:pt x="166" y="8"/>
                      </a:lnTo>
                      <a:lnTo>
                        <a:pt x="172" y="12"/>
                      </a:lnTo>
                      <a:lnTo>
                        <a:pt x="176" y="18"/>
                      </a:lnTo>
                      <a:lnTo>
                        <a:pt x="180" y="24"/>
                      </a:lnTo>
                      <a:lnTo>
                        <a:pt x="184" y="40"/>
                      </a:lnTo>
                      <a:lnTo>
                        <a:pt x="184" y="54"/>
                      </a:lnTo>
                      <a:lnTo>
                        <a:pt x="184" y="62"/>
                      </a:lnTo>
                      <a:lnTo>
                        <a:pt x="188" y="90"/>
                      </a:lnTo>
                      <a:lnTo>
                        <a:pt x="190" y="108"/>
                      </a:lnTo>
                      <a:lnTo>
                        <a:pt x="188" y="122"/>
                      </a:lnTo>
                      <a:lnTo>
                        <a:pt x="180" y="148"/>
                      </a:lnTo>
                      <a:lnTo>
                        <a:pt x="180" y="156"/>
                      </a:lnTo>
                      <a:lnTo>
                        <a:pt x="182" y="166"/>
                      </a:lnTo>
                      <a:lnTo>
                        <a:pt x="188" y="176"/>
                      </a:lnTo>
                      <a:lnTo>
                        <a:pt x="192" y="178"/>
                      </a:lnTo>
                      <a:lnTo>
                        <a:pt x="196" y="180"/>
                      </a:lnTo>
                      <a:lnTo>
                        <a:pt x="192" y="180"/>
                      </a:lnTo>
                      <a:lnTo>
                        <a:pt x="188" y="180"/>
                      </a:lnTo>
                      <a:lnTo>
                        <a:pt x="184" y="180"/>
                      </a:lnTo>
                      <a:lnTo>
                        <a:pt x="188" y="190"/>
                      </a:lnTo>
                      <a:lnTo>
                        <a:pt x="194" y="194"/>
                      </a:lnTo>
                      <a:lnTo>
                        <a:pt x="198" y="196"/>
                      </a:lnTo>
                      <a:lnTo>
                        <a:pt x="202" y="194"/>
                      </a:lnTo>
                      <a:lnTo>
                        <a:pt x="200" y="204"/>
                      </a:lnTo>
                      <a:lnTo>
                        <a:pt x="196" y="212"/>
                      </a:lnTo>
                      <a:lnTo>
                        <a:pt x="192" y="214"/>
                      </a:lnTo>
                      <a:lnTo>
                        <a:pt x="188" y="216"/>
                      </a:lnTo>
                      <a:lnTo>
                        <a:pt x="180" y="216"/>
                      </a:lnTo>
                      <a:lnTo>
                        <a:pt x="170" y="214"/>
                      </a:lnTo>
                      <a:lnTo>
                        <a:pt x="166" y="212"/>
                      </a:lnTo>
                      <a:lnTo>
                        <a:pt x="162" y="208"/>
                      </a:lnTo>
                      <a:lnTo>
                        <a:pt x="158" y="202"/>
                      </a:lnTo>
                      <a:lnTo>
                        <a:pt x="158" y="196"/>
                      </a:lnTo>
                      <a:lnTo>
                        <a:pt x="156" y="192"/>
                      </a:lnTo>
                      <a:lnTo>
                        <a:pt x="154" y="190"/>
                      </a:lnTo>
                      <a:lnTo>
                        <a:pt x="144" y="188"/>
                      </a:lnTo>
                      <a:lnTo>
                        <a:pt x="140" y="186"/>
                      </a:lnTo>
                      <a:lnTo>
                        <a:pt x="136" y="184"/>
                      </a:lnTo>
                      <a:lnTo>
                        <a:pt x="134" y="180"/>
                      </a:lnTo>
                      <a:lnTo>
                        <a:pt x="134" y="176"/>
                      </a:lnTo>
                      <a:lnTo>
                        <a:pt x="78" y="180"/>
                      </a:lnTo>
                      <a:lnTo>
                        <a:pt x="70" y="190"/>
                      </a:lnTo>
                      <a:lnTo>
                        <a:pt x="70" y="194"/>
                      </a:lnTo>
                      <a:lnTo>
                        <a:pt x="70" y="200"/>
                      </a:lnTo>
                      <a:lnTo>
                        <a:pt x="70" y="206"/>
                      </a:lnTo>
                      <a:lnTo>
                        <a:pt x="68" y="208"/>
                      </a:lnTo>
                      <a:lnTo>
                        <a:pt x="64" y="212"/>
                      </a:lnTo>
                      <a:lnTo>
                        <a:pt x="60" y="212"/>
                      </a:lnTo>
                      <a:lnTo>
                        <a:pt x="56" y="214"/>
                      </a:lnTo>
                      <a:lnTo>
                        <a:pt x="48" y="212"/>
                      </a:lnTo>
                      <a:lnTo>
                        <a:pt x="42" y="214"/>
                      </a:lnTo>
                      <a:lnTo>
                        <a:pt x="28" y="216"/>
                      </a:lnTo>
                      <a:lnTo>
                        <a:pt x="22" y="214"/>
                      </a:lnTo>
                      <a:lnTo>
                        <a:pt x="14" y="210"/>
                      </a:lnTo>
                      <a:lnTo>
                        <a:pt x="8" y="204"/>
                      </a:lnTo>
                      <a:lnTo>
                        <a:pt x="6" y="196"/>
                      </a:lnTo>
                      <a:lnTo>
                        <a:pt x="0" y="188"/>
                      </a:lnTo>
                      <a:lnTo>
                        <a:pt x="6" y="190"/>
                      </a:lnTo>
                      <a:lnTo>
                        <a:pt x="12" y="190"/>
                      </a:lnTo>
                      <a:lnTo>
                        <a:pt x="14" y="190"/>
                      </a:lnTo>
                      <a:lnTo>
                        <a:pt x="14" y="188"/>
                      </a:lnTo>
                      <a:lnTo>
                        <a:pt x="18" y="182"/>
                      </a:lnTo>
                      <a:lnTo>
                        <a:pt x="24" y="178"/>
                      </a:lnTo>
                      <a:lnTo>
                        <a:pt x="26" y="172"/>
                      </a:lnTo>
                      <a:lnTo>
                        <a:pt x="26" y="166"/>
                      </a:lnTo>
                      <a:lnTo>
                        <a:pt x="24" y="158"/>
                      </a:lnTo>
                      <a:lnTo>
                        <a:pt x="22" y="146"/>
                      </a:lnTo>
                      <a:lnTo>
                        <a:pt x="18" y="134"/>
                      </a:lnTo>
                      <a:lnTo>
                        <a:pt x="18" y="124"/>
                      </a:lnTo>
                      <a:lnTo>
                        <a:pt x="18" y="114"/>
                      </a:lnTo>
                      <a:lnTo>
                        <a:pt x="22" y="106"/>
                      </a:lnTo>
                      <a:lnTo>
                        <a:pt x="30" y="88"/>
                      </a:lnTo>
                      <a:lnTo>
                        <a:pt x="32" y="78"/>
                      </a:lnTo>
                      <a:lnTo>
                        <a:pt x="36" y="68"/>
                      </a:lnTo>
                      <a:lnTo>
                        <a:pt x="40" y="56"/>
                      </a:lnTo>
                      <a:lnTo>
                        <a:pt x="48" y="42"/>
                      </a:lnTo>
                      <a:lnTo>
                        <a:pt x="60" y="30"/>
                      </a:lnTo>
                      <a:lnTo>
                        <a:pt x="72" y="18"/>
                      </a:lnTo>
                      <a:lnTo>
                        <a:pt x="84" y="10"/>
                      </a:lnTo>
                      <a:lnTo>
                        <a:pt x="94" y="2"/>
                      </a:lnTo>
                      <a:lnTo>
                        <a:pt x="104" y="0"/>
                      </a:lnTo>
                      <a:lnTo>
                        <a:pt x="108" y="2"/>
                      </a:lnTo>
                      <a:lnTo>
                        <a:pt x="112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55" name="Freeform 141"/>
                <p:cNvSpPr>
                  <a:spLocks/>
                </p:cNvSpPr>
                <p:nvPr/>
              </p:nvSpPr>
              <p:spPr bwMode="auto">
                <a:xfrm>
                  <a:off x="4003344" y="3886667"/>
                  <a:ext cx="171103" cy="249373"/>
                </a:xfrm>
                <a:custGeom>
                  <a:avLst/>
                  <a:gdLst>
                    <a:gd name="T0" fmla="*/ 231854407 w 106"/>
                    <a:gd name="T1" fmla="*/ 50403117 h 150"/>
                    <a:gd name="T2" fmla="*/ 231854407 w 106"/>
                    <a:gd name="T3" fmla="*/ 50403117 h 150"/>
                    <a:gd name="T4" fmla="*/ 246975341 w 106"/>
                    <a:gd name="T5" fmla="*/ 85685302 h 150"/>
                    <a:gd name="T6" fmla="*/ 262096274 w 106"/>
                    <a:gd name="T7" fmla="*/ 115927190 h 150"/>
                    <a:gd name="T8" fmla="*/ 267136585 w 106"/>
                    <a:gd name="T9" fmla="*/ 141128742 h 150"/>
                    <a:gd name="T10" fmla="*/ 267136585 w 106"/>
                    <a:gd name="T11" fmla="*/ 141128742 h 150"/>
                    <a:gd name="T12" fmla="*/ 267136585 w 106"/>
                    <a:gd name="T13" fmla="*/ 186491536 h 150"/>
                    <a:gd name="T14" fmla="*/ 267136585 w 106"/>
                    <a:gd name="T15" fmla="*/ 186491536 h 150"/>
                    <a:gd name="T16" fmla="*/ 257055963 w 106"/>
                    <a:gd name="T17" fmla="*/ 241935001 h 150"/>
                    <a:gd name="T18" fmla="*/ 252015652 w 106"/>
                    <a:gd name="T19" fmla="*/ 277217174 h 150"/>
                    <a:gd name="T20" fmla="*/ 241935030 w 106"/>
                    <a:gd name="T21" fmla="*/ 302418726 h 150"/>
                    <a:gd name="T22" fmla="*/ 241935030 w 106"/>
                    <a:gd name="T23" fmla="*/ 302418726 h 150"/>
                    <a:gd name="T24" fmla="*/ 201612492 w 106"/>
                    <a:gd name="T25" fmla="*/ 367942762 h 150"/>
                    <a:gd name="T26" fmla="*/ 201612492 w 106"/>
                    <a:gd name="T27" fmla="*/ 367942762 h 150"/>
                    <a:gd name="T28" fmla="*/ 191531869 w 106"/>
                    <a:gd name="T29" fmla="*/ 372983072 h 150"/>
                    <a:gd name="T30" fmla="*/ 176410936 w 106"/>
                    <a:gd name="T31" fmla="*/ 378023383 h 150"/>
                    <a:gd name="T32" fmla="*/ 161290003 w 106"/>
                    <a:gd name="T33" fmla="*/ 378023383 h 150"/>
                    <a:gd name="T34" fmla="*/ 161290003 w 106"/>
                    <a:gd name="T35" fmla="*/ 378023383 h 150"/>
                    <a:gd name="T36" fmla="*/ 136088448 w 106"/>
                    <a:gd name="T37" fmla="*/ 372983072 h 150"/>
                    <a:gd name="T38" fmla="*/ 105846582 w 106"/>
                    <a:gd name="T39" fmla="*/ 362902452 h 150"/>
                    <a:gd name="T40" fmla="*/ 65524068 w 106"/>
                    <a:gd name="T41" fmla="*/ 342741210 h 150"/>
                    <a:gd name="T42" fmla="*/ 65524068 w 106"/>
                    <a:gd name="T43" fmla="*/ 342741210 h 150"/>
                    <a:gd name="T44" fmla="*/ 40322501 w 106"/>
                    <a:gd name="T45" fmla="*/ 332660589 h 150"/>
                    <a:gd name="T46" fmla="*/ 20161250 w 106"/>
                    <a:gd name="T47" fmla="*/ 317539658 h 150"/>
                    <a:gd name="T48" fmla="*/ 10080625 w 106"/>
                    <a:gd name="T49" fmla="*/ 307459037 h 150"/>
                    <a:gd name="T50" fmla="*/ 5040313 w 106"/>
                    <a:gd name="T51" fmla="*/ 297378416 h 150"/>
                    <a:gd name="T52" fmla="*/ 5040313 w 106"/>
                    <a:gd name="T53" fmla="*/ 297378416 h 150"/>
                    <a:gd name="T54" fmla="*/ 0 w 106"/>
                    <a:gd name="T55" fmla="*/ 262096243 h 150"/>
                    <a:gd name="T56" fmla="*/ 0 w 106"/>
                    <a:gd name="T57" fmla="*/ 246975311 h 150"/>
                    <a:gd name="T58" fmla="*/ 0 w 106"/>
                    <a:gd name="T59" fmla="*/ 246975311 h 150"/>
                    <a:gd name="T60" fmla="*/ 10080625 w 106"/>
                    <a:gd name="T61" fmla="*/ 206652778 h 150"/>
                    <a:gd name="T62" fmla="*/ 15120939 w 106"/>
                    <a:gd name="T63" fmla="*/ 166330294 h 150"/>
                    <a:gd name="T64" fmla="*/ 20161250 w 106"/>
                    <a:gd name="T65" fmla="*/ 126007811 h 150"/>
                    <a:gd name="T66" fmla="*/ 20161250 w 106"/>
                    <a:gd name="T67" fmla="*/ 126007811 h 150"/>
                    <a:gd name="T68" fmla="*/ 20161250 w 106"/>
                    <a:gd name="T69" fmla="*/ 105846569 h 150"/>
                    <a:gd name="T70" fmla="*/ 25201561 w 106"/>
                    <a:gd name="T71" fmla="*/ 85685302 h 150"/>
                    <a:gd name="T72" fmla="*/ 40322501 w 106"/>
                    <a:gd name="T73" fmla="*/ 65524061 h 150"/>
                    <a:gd name="T74" fmla="*/ 50403123 w 106"/>
                    <a:gd name="T75" fmla="*/ 45362806 h 150"/>
                    <a:gd name="T76" fmla="*/ 65524068 w 106"/>
                    <a:gd name="T77" fmla="*/ 30241875 h 150"/>
                    <a:gd name="T78" fmla="*/ 85685313 w 106"/>
                    <a:gd name="T79" fmla="*/ 15120938 h 150"/>
                    <a:gd name="T80" fmla="*/ 100806246 w 106"/>
                    <a:gd name="T81" fmla="*/ 5040312 h 150"/>
                    <a:gd name="T82" fmla="*/ 120967515 w 106"/>
                    <a:gd name="T83" fmla="*/ 0 h 150"/>
                    <a:gd name="T84" fmla="*/ 120967515 w 106"/>
                    <a:gd name="T85" fmla="*/ 0 h 150"/>
                    <a:gd name="T86" fmla="*/ 156249692 w 106"/>
                    <a:gd name="T87" fmla="*/ 5040312 h 150"/>
                    <a:gd name="T88" fmla="*/ 186491558 w 106"/>
                    <a:gd name="T89" fmla="*/ 15120938 h 150"/>
                    <a:gd name="T90" fmla="*/ 211693163 w 106"/>
                    <a:gd name="T91" fmla="*/ 30241875 h 150"/>
                    <a:gd name="T92" fmla="*/ 231854407 w 106"/>
                    <a:gd name="T93" fmla="*/ 50403117 h 150"/>
                    <a:gd name="T94" fmla="*/ 231854407 w 106"/>
                    <a:gd name="T95" fmla="*/ 50403117 h 150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06"/>
                    <a:gd name="T145" fmla="*/ 0 h 150"/>
                    <a:gd name="T146" fmla="*/ 106 w 106"/>
                    <a:gd name="T147" fmla="*/ 150 h 150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06" h="150">
                      <a:moveTo>
                        <a:pt x="92" y="20"/>
                      </a:moveTo>
                      <a:lnTo>
                        <a:pt x="92" y="20"/>
                      </a:lnTo>
                      <a:lnTo>
                        <a:pt x="98" y="34"/>
                      </a:lnTo>
                      <a:lnTo>
                        <a:pt x="104" y="46"/>
                      </a:lnTo>
                      <a:lnTo>
                        <a:pt x="106" y="56"/>
                      </a:lnTo>
                      <a:lnTo>
                        <a:pt x="106" y="74"/>
                      </a:lnTo>
                      <a:lnTo>
                        <a:pt x="102" y="96"/>
                      </a:lnTo>
                      <a:lnTo>
                        <a:pt x="100" y="110"/>
                      </a:lnTo>
                      <a:lnTo>
                        <a:pt x="96" y="120"/>
                      </a:lnTo>
                      <a:lnTo>
                        <a:pt x="80" y="146"/>
                      </a:lnTo>
                      <a:lnTo>
                        <a:pt x="76" y="148"/>
                      </a:lnTo>
                      <a:lnTo>
                        <a:pt x="70" y="150"/>
                      </a:lnTo>
                      <a:lnTo>
                        <a:pt x="64" y="150"/>
                      </a:lnTo>
                      <a:lnTo>
                        <a:pt x="54" y="148"/>
                      </a:lnTo>
                      <a:lnTo>
                        <a:pt x="42" y="144"/>
                      </a:lnTo>
                      <a:lnTo>
                        <a:pt x="26" y="136"/>
                      </a:lnTo>
                      <a:lnTo>
                        <a:pt x="16" y="132"/>
                      </a:lnTo>
                      <a:lnTo>
                        <a:pt x="8" y="126"/>
                      </a:lnTo>
                      <a:lnTo>
                        <a:pt x="4" y="122"/>
                      </a:lnTo>
                      <a:lnTo>
                        <a:pt x="2" y="118"/>
                      </a:lnTo>
                      <a:lnTo>
                        <a:pt x="0" y="104"/>
                      </a:lnTo>
                      <a:lnTo>
                        <a:pt x="0" y="98"/>
                      </a:lnTo>
                      <a:lnTo>
                        <a:pt x="4" y="82"/>
                      </a:lnTo>
                      <a:lnTo>
                        <a:pt x="6" y="66"/>
                      </a:lnTo>
                      <a:lnTo>
                        <a:pt x="8" y="50"/>
                      </a:lnTo>
                      <a:lnTo>
                        <a:pt x="8" y="42"/>
                      </a:lnTo>
                      <a:lnTo>
                        <a:pt x="10" y="34"/>
                      </a:lnTo>
                      <a:lnTo>
                        <a:pt x="16" y="26"/>
                      </a:lnTo>
                      <a:lnTo>
                        <a:pt x="20" y="18"/>
                      </a:lnTo>
                      <a:lnTo>
                        <a:pt x="26" y="12"/>
                      </a:lnTo>
                      <a:lnTo>
                        <a:pt x="34" y="6"/>
                      </a:lnTo>
                      <a:lnTo>
                        <a:pt x="40" y="2"/>
                      </a:lnTo>
                      <a:lnTo>
                        <a:pt x="48" y="0"/>
                      </a:lnTo>
                      <a:lnTo>
                        <a:pt x="62" y="2"/>
                      </a:lnTo>
                      <a:lnTo>
                        <a:pt x="74" y="6"/>
                      </a:lnTo>
                      <a:lnTo>
                        <a:pt x="84" y="12"/>
                      </a:lnTo>
                      <a:lnTo>
                        <a:pt x="92" y="2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56" name="Freeform 142"/>
                <p:cNvSpPr>
                  <a:spLocks/>
                </p:cNvSpPr>
                <p:nvPr/>
              </p:nvSpPr>
              <p:spPr bwMode="auto">
                <a:xfrm>
                  <a:off x="3905570" y="4742362"/>
                  <a:ext cx="210213" cy="146691"/>
                </a:xfrm>
                <a:custGeom>
                  <a:avLst/>
                  <a:gdLst>
                    <a:gd name="T0" fmla="*/ 126007831 w 124"/>
                    <a:gd name="T1" fmla="*/ 40322498 h 88"/>
                    <a:gd name="T2" fmla="*/ 211693172 w 124"/>
                    <a:gd name="T3" fmla="*/ 5040312 h 88"/>
                    <a:gd name="T4" fmla="*/ 246975351 w 124"/>
                    <a:gd name="T5" fmla="*/ 0 h 88"/>
                    <a:gd name="T6" fmla="*/ 267136596 w 124"/>
                    <a:gd name="T7" fmla="*/ 10080625 h 88"/>
                    <a:gd name="T8" fmla="*/ 267136596 w 124"/>
                    <a:gd name="T9" fmla="*/ 15120938 h 88"/>
                    <a:gd name="T10" fmla="*/ 191531877 w 124"/>
                    <a:gd name="T11" fmla="*/ 50403120 h 88"/>
                    <a:gd name="T12" fmla="*/ 166330321 w 124"/>
                    <a:gd name="T13" fmla="*/ 65524065 h 88"/>
                    <a:gd name="T14" fmla="*/ 216733483 w 124"/>
                    <a:gd name="T15" fmla="*/ 65524065 h 88"/>
                    <a:gd name="T16" fmla="*/ 302418775 w 124"/>
                    <a:gd name="T17" fmla="*/ 75604686 h 88"/>
                    <a:gd name="T18" fmla="*/ 307459086 w 124"/>
                    <a:gd name="T19" fmla="*/ 80644997 h 88"/>
                    <a:gd name="T20" fmla="*/ 312499397 w 124"/>
                    <a:gd name="T21" fmla="*/ 90725618 h 88"/>
                    <a:gd name="T22" fmla="*/ 302418775 w 124"/>
                    <a:gd name="T23" fmla="*/ 95765929 h 88"/>
                    <a:gd name="T24" fmla="*/ 262096285 w 124"/>
                    <a:gd name="T25" fmla="*/ 100806240 h 88"/>
                    <a:gd name="T26" fmla="*/ 176410944 w 124"/>
                    <a:gd name="T27" fmla="*/ 110886886 h 88"/>
                    <a:gd name="T28" fmla="*/ 241935040 w 124"/>
                    <a:gd name="T29" fmla="*/ 110886886 h 88"/>
                    <a:gd name="T30" fmla="*/ 277217218 w 124"/>
                    <a:gd name="T31" fmla="*/ 110886886 h 88"/>
                    <a:gd name="T32" fmla="*/ 297378464 w 124"/>
                    <a:gd name="T33" fmla="*/ 120967508 h 88"/>
                    <a:gd name="T34" fmla="*/ 297378464 w 124"/>
                    <a:gd name="T35" fmla="*/ 126007818 h 88"/>
                    <a:gd name="T36" fmla="*/ 287297841 w 124"/>
                    <a:gd name="T37" fmla="*/ 141128751 h 88"/>
                    <a:gd name="T38" fmla="*/ 277217218 w 124"/>
                    <a:gd name="T39" fmla="*/ 141128751 h 88"/>
                    <a:gd name="T40" fmla="*/ 146169076 w 124"/>
                    <a:gd name="T41" fmla="*/ 156249683 h 88"/>
                    <a:gd name="T42" fmla="*/ 191531877 w 124"/>
                    <a:gd name="T43" fmla="*/ 166330304 h 88"/>
                    <a:gd name="T44" fmla="*/ 221773795 w 124"/>
                    <a:gd name="T45" fmla="*/ 161289994 h 88"/>
                    <a:gd name="T46" fmla="*/ 236894728 w 124"/>
                    <a:gd name="T47" fmla="*/ 161289994 h 88"/>
                    <a:gd name="T48" fmla="*/ 246975351 w 124"/>
                    <a:gd name="T49" fmla="*/ 171370615 h 88"/>
                    <a:gd name="T50" fmla="*/ 241935040 w 124"/>
                    <a:gd name="T51" fmla="*/ 181451237 h 88"/>
                    <a:gd name="T52" fmla="*/ 216733483 w 124"/>
                    <a:gd name="T53" fmla="*/ 186491547 h 88"/>
                    <a:gd name="T54" fmla="*/ 136088454 w 124"/>
                    <a:gd name="T55" fmla="*/ 191531858 h 88"/>
                    <a:gd name="T56" fmla="*/ 100806250 w 124"/>
                    <a:gd name="T57" fmla="*/ 201612480 h 88"/>
                    <a:gd name="T58" fmla="*/ 65524071 w 124"/>
                    <a:gd name="T59" fmla="*/ 216733462 h 88"/>
                    <a:gd name="T60" fmla="*/ 0 w 124"/>
                    <a:gd name="T61" fmla="*/ 221773772 h 88"/>
                    <a:gd name="T62" fmla="*/ 30241880 w 124"/>
                    <a:gd name="T63" fmla="*/ 171370615 h 88"/>
                    <a:gd name="T64" fmla="*/ 60483760 w 124"/>
                    <a:gd name="T65" fmla="*/ 105846575 h 88"/>
                    <a:gd name="T66" fmla="*/ 65524071 w 124"/>
                    <a:gd name="T67" fmla="*/ 80644997 h 88"/>
                    <a:gd name="T68" fmla="*/ 100806250 w 124"/>
                    <a:gd name="T69" fmla="*/ 50403120 h 88"/>
                    <a:gd name="T70" fmla="*/ 126007831 w 124"/>
                    <a:gd name="T71" fmla="*/ 40322498 h 88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124"/>
                    <a:gd name="T109" fmla="*/ 0 h 88"/>
                    <a:gd name="T110" fmla="*/ 124 w 124"/>
                    <a:gd name="T111" fmla="*/ 88 h 88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124" h="88">
                      <a:moveTo>
                        <a:pt x="50" y="16"/>
                      </a:moveTo>
                      <a:lnTo>
                        <a:pt x="50" y="16"/>
                      </a:lnTo>
                      <a:lnTo>
                        <a:pt x="72" y="6"/>
                      </a:lnTo>
                      <a:lnTo>
                        <a:pt x="84" y="2"/>
                      </a:lnTo>
                      <a:lnTo>
                        <a:pt x="98" y="0"/>
                      </a:lnTo>
                      <a:lnTo>
                        <a:pt x="104" y="2"/>
                      </a:lnTo>
                      <a:lnTo>
                        <a:pt x="106" y="4"/>
                      </a:lnTo>
                      <a:lnTo>
                        <a:pt x="106" y="6"/>
                      </a:lnTo>
                      <a:lnTo>
                        <a:pt x="98" y="10"/>
                      </a:lnTo>
                      <a:lnTo>
                        <a:pt x="76" y="20"/>
                      </a:lnTo>
                      <a:lnTo>
                        <a:pt x="66" y="26"/>
                      </a:lnTo>
                      <a:lnTo>
                        <a:pt x="86" y="26"/>
                      </a:lnTo>
                      <a:lnTo>
                        <a:pt x="104" y="28"/>
                      </a:lnTo>
                      <a:lnTo>
                        <a:pt x="120" y="30"/>
                      </a:lnTo>
                      <a:lnTo>
                        <a:pt x="122" y="32"/>
                      </a:lnTo>
                      <a:lnTo>
                        <a:pt x="124" y="34"/>
                      </a:lnTo>
                      <a:lnTo>
                        <a:pt x="124" y="36"/>
                      </a:lnTo>
                      <a:lnTo>
                        <a:pt x="120" y="38"/>
                      </a:lnTo>
                      <a:lnTo>
                        <a:pt x="112" y="40"/>
                      </a:lnTo>
                      <a:lnTo>
                        <a:pt x="104" y="40"/>
                      </a:lnTo>
                      <a:lnTo>
                        <a:pt x="92" y="40"/>
                      </a:lnTo>
                      <a:lnTo>
                        <a:pt x="70" y="44"/>
                      </a:lnTo>
                      <a:lnTo>
                        <a:pt x="96" y="44"/>
                      </a:lnTo>
                      <a:lnTo>
                        <a:pt x="110" y="44"/>
                      </a:lnTo>
                      <a:lnTo>
                        <a:pt x="114" y="46"/>
                      </a:lnTo>
                      <a:lnTo>
                        <a:pt x="118" y="48"/>
                      </a:lnTo>
                      <a:lnTo>
                        <a:pt x="118" y="50"/>
                      </a:lnTo>
                      <a:lnTo>
                        <a:pt x="116" y="54"/>
                      </a:lnTo>
                      <a:lnTo>
                        <a:pt x="114" y="56"/>
                      </a:lnTo>
                      <a:lnTo>
                        <a:pt x="110" y="56"/>
                      </a:lnTo>
                      <a:lnTo>
                        <a:pt x="62" y="60"/>
                      </a:lnTo>
                      <a:lnTo>
                        <a:pt x="58" y="62"/>
                      </a:lnTo>
                      <a:lnTo>
                        <a:pt x="76" y="66"/>
                      </a:lnTo>
                      <a:lnTo>
                        <a:pt x="88" y="64"/>
                      </a:lnTo>
                      <a:lnTo>
                        <a:pt x="94" y="64"/>
                      </a:lnTo>
                      <a:lnTo>
                        <a:pt x="96" y="66"/>
                      </a:lnTo>
                      <a:lnTo>
                        <a:pt x="98" y="68"/>
                      </a:lnTo>
                      <a:lnTo>
                        <a:pt x="96" y="72"/>
                      </a:lnTo>
                      <a:lnTo>
                        <a:pt x="92" y="74"/>
                      </a:lnTo>
                      <a:lnTo>
                        <a:pt x="86" y="74"/>
                      </a:lnTo>
                      <a:lnTo>
                        <a:pt x="54" y="76"/>
                      </a:lnTo>
                      <a:lnTo>
                        <a:pt x="40" y="80"/>
                      </a:lnTo>
                      <a:lnTo>
                        <a:pt x="26" y="86"/>
                      </a:lnTo>
                      <a:lnTo>
                        <a:pt x="14" y="88"/>
                      </a:lnTo>
                      <a:lnTo>
                        <a:pt x="0" y="88"/>
                      </a:lnTo>
                      <a:lnTo>
                        <a:pt x="12" y="68"/>
                      </a:lnTo>
                      <a:lnTo>
                        <a:pt x="22" y="50"/>
                      </a:lnTo>
                      <a:lnTo>
                        <a:pt x="24" y="42"/>
                      </a:lnTo>
                      <a:lnTo>
                        <a:pt x="26" y="32"/>
                      </a:lnTo>
                      <a:lnTo>
                        <a:pt x="32" y="26"/>
                      </a:lnTo>
                      <a:lnTo>
                        <a:pt x="40" y="20"/>
                      </a:lnTo>
                      <a:lnTo>
                        <a:pt x="50" y="1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57" name="Freeform 143"/>
                <p:cNvSpPr>
                  <a:spLocks noEditPoints="1"/>
                </p:cNvSpPr>
                <p:nvPr/>
              </p:nvSpPr>
              <p:spPr bwMode="auto">
                <a:xfrm>
                  <a:off x="3876238" y="5382915"/>
                  <a:ext cx="562199" cy="684558"/>
                </a:xfrm>
                <a:custGeom>
                  <a:avLst/>
                  <a:gdLst>
                    <a:gd name="T0" fmla="*/ 186491543 w 330"/>
                    <a:gd name="T1" fmla="*/ 866933887 h 408"/>
                    <a:gd name="T2" fmla="*/ 151209369 w 330"/>
                    <a:gd name="T3" fmla="*/ 730845292 h 408"/>
                    <a:gd name="T4" fmla="*/ 146169058 w 330"/>
                    <a:gd name="T5" fmla="*/ 720764670 h 408"/>
                    <a:gd name="T6" fmla="*/ 141128747 w 330"/>
                    <a:gd name="T7" fmla="*/ 690522804 h 408"/>
                    <a:gd name="T8" fmla="*/ 141128747 w 330"/>
                    <a:gd name="T9" fmla="*/ 589716584 h 408"/>
                    <a:gd name="T10" fmla="*/ 141128747 w 330"/>
                    <a:gd name="T11" fmla="*/ 554434408 h 408"/>
                    <a:gd name="T12" fmla="*/ 50403119 w 330"/>
                    <a:gd name="T13" fmla="*/ 55443446 h 408"/>
                    <a:gd name="T14" fmla="*/ 35282187 w 330"/>
                    <a:gd name="T15" fmla="*/ 80645001 h 408"/>
                    <a:gd name="T16" fmla="*/ 10080624 w 330"/>
                    <a:gd name="T17" fmla="*/ 156249690 h 408"/>
                    <a:gd name="T18" fmla="*/ 0 w 330"/>
                    <a:gd name="T19" fmla="*/ 282257515 h 408"/>
                    <a:gd name="T20" fmla="*/ 10080624 w 330"/>
                    <a:gd name="T21" fmla="*/ 403224979 h 408"/>
                    <a:gd name="T22" fmla="*/ 25201559 w 330"/>
                    <a:gd name="T23" fmla="*/ 493950676 h 408"/>
                    <a:gd name="T24" fmla="*/ 35282187 w 330"/>
                    <a:gd name="T25" fmla="*/ 599797206 h 408"/>
                    <a:gd name="T26" fmla="*/ 30241876 w 330"/>
                    <a:gd name="T27" fmla="*/ 670361560 h 408"/>
                    <a:gd name="T28" fmla="*/ 30241876 w 330"/>
                    <a:gd name="T29" fmla="*/ 665321249 h 408"/>
                    <a:gd name="T30" fmla="*/ 10080624 w 330"/>
                    <a:gd name="T31" fmla="*/ 801409646 h 408"/>
                    <a:gd name="T32" fmla="*/ 30241876 w 330"/>
                    <a:gd name="T33" fmla="*/ 806449957 h 408"/>
                    <a:gd name="T34" fmla="*/ 30241876 w 330"/>
                    <a:gd name="T35" fmla="*/ 801409646 h 408"/>
                    <a:gd name="T36" fmla="*/ 40322497 w 330"/>
                    <a:gd name="T37" fmla="*/ 846772644 h 408"/>
                    <a:gd name="T38" fmla="*/ 40322497 w 330"/>
                    <a:gd name="T39" fmla="*/ 907256375 h 408"/>
                    <a:gd name="T40" fmla="*/ 60483752 w 330"/>
                    <a:gd name="T41" fmla="*/ 972780418 h 408"/>
                    <a:gd name="T42" fmla="*/ 70564374 w 330"/>
                    <a:gd name="T43" fmla="*/ 992941662 h 408"/>
                    <a:gd name="T44" fmla="*/ 105846573 w 330"/>
                    <a:gd name="T45" fmla="*/ 1018143217 h 408"/>
                    <a:gd name="T46" fmla="*/ 146169058 w 330"/>
                    <a:gd name="T47" fmla="*/ 1028223839 h 408"/>
                    <a:gd name="T48" fmla="*/ 216733457 w 330"/>
                    <a:gd name="T49" fmla="*/ 1018143217 h 408"/>
                    <a:gd name="T50" fmla="*/ 236894699 w 330"/>
                    <a:gd name="T51" fmla="*/ 982861040 h 408"/>
                    <a:gd name="T52" fmla="*/ 236894699 w 330"/>
                    <a:gd name="T53" fmla="*/ 967740107 h 408"/>
                    <a:gd name="T54" fmla="*/ 216733457 w 330"/>
                    <a:gd name="T55" fmla="*/ 922377308 h 408"/>
                    <a:gd name="T56" fmla="*/ 821570832 w 330"/>
                    <a:gd name="T57" fmla="*/ 675401871 h 408"/>
                    <a:gd name="T58" fmla="*/ 816530521 w 330"/>
                    <a:gd name="T59" fmla="*/ 670361560 h 408"/>
                    <a:gd name="T60" fmla="*/ 801409589 w 330"/>
                    <a:gd name="T61" fmla="*/ 660280938 h 408"/>
                    <a:gd name="T62" fmla="*/ 751006483 w 330"/>
                    <a:gd name="T63" fmla="*/ 619958450 h 408"/>
                    <a:gd name="T64" fmla="*/ 735885551 w 330"/>
                    <a:gd name="T65" fmla="*/ 599797206 h 408"/>
                    <a:gd name="T66" fmla="*/ 715724309 w 330"/>
                    <a:gd name="T67" fmla="*/ 579635963 h 408"/>
                    <a:gd name="T68" fmla="*/ 690522756 w 330"/>
                    <a:gd name="T69" fmla="*/ 544353786 h 408"/>
                    <a:gd name="T70" fmla="*/ 675401824 w 330"/>
                    <a:gd name="T71" fmla="*/ 509071609 h 408"/>
                    <a:gd name="T72" fmla="*/ 660280892 w 330"/>
                    <a:gd name="T73" fmla="*/ 463708810 h 408"/>
                    <a:gd name="T74" fmla="*/ 478829709 w 330"/>
                    <a:gd name="T75" fmla="*/ 65524068 h 408"/>
                    <a:gd name="T76" fmla="*/ 483870019 w 330"/>
                    <a:gd name="T77" fmla="*/ 105846580 h 408"/>
                    <a:gd name="T78" fmla="*/ 483870019 w 330"/>
                    <a:gd name="T79" fmla="*/ 166330312 h 408"/>
                    <a:gd name="T80" fmla="*/ 504031262 w 330"/>
                    <a:gd name="T81" fmla="*/ 282257515 h 408"/>
                    <a:gd name="T82" fmla="*/ 534273126 w 330"/>
                    <a:gd name="T83" fmla="*/ 398184668 h 408"/>
                    <a:gd name="T84" fmla="*/ 534273126 w 330"/>
                    <a:gd name="T85" fmla="*/ 448587877 h 408"/>
                    <a:gd name="T86" fmla="*/ 529232815 w 330"/>
                    <a:gd name="T87" fmla="*/ 468749121 h 408"/>
                    <a:gd name="T88" fmla="*/ 509071573 w 330"/>
                    <a:gd name="T89" fmla="*/ 524192542 h 408"/>
                    <a:gd name="T90" fmla="*/ 509071573 w 330"/>
                    <a:gd name="T91" fmla="*/ 574595652 h 408"/>
                    <a:gd name="T92" fmla="*/ 514111883 w 330"/>
                    <a:gd name="T93" fmla="*/ 584676274 h 408"/>
                    <a:gd name="T94" fmla="*/ 524192505 w 330"/>
                    <a:gd name="T95" fmla="*/ 614918139 h 408"/>
                    <a:gd name="T96" fmla="*/ 534273126 w 330"/>
                    <a:gd name="T97" fmla="*/ 695563115 h 408"/>
                    <a:gd name="T98" fmla="*/ 559474679 w 330"/>
                    <a:gd name="T99" fmla="*/ 690522804 h 408"/>
                    <a:gd name="T100" fmla="*/ 564514990 w 330"/>
                    <a:gd name="T101" fmla="*/ 599797206 h 408"/>
                    <a:gd name="T102" fmla="*/ 594756853 w 330"/>
                    <a:gd name="T103" fmla="*/ 614918139 h 408"/>
                    <a:gd name="T104" fmla="*/ 614918096 w 330"/>
                    <a:gd name="T105" fmla="*/ 645160005 h 408"/>
                    <a:gd name="T106" fmla="*/ 619958407 w 330"/>
                    <a:gd name="T107" fmla="*/ 655240627 h 408"/>
                    <a:gd name="T108" fmla="*/ 650200270 w 330"/>
                    <a:gd name="T109" fmla="*/ 720764670 h 408"/>
                    <a:gd name="T110" fmla="*/ 660280892 w 330"/>
                    <a:gd name="T111" fmla="*/ 740925914 h 408"/>
                    <a:gd name="T112" fmla="*/ 690522756 w 330"/>
                    <a:gd name="T113" fmla="*/ 756046847 h 408"/>
                    <a:gd name="T114" fmla="*/ 811490211 w 330"/>
                    <a:gd name="T115" fmla="*/ 766127469 h 408"/>
                    <a:gd name="T116" fmla="*/ 816530521 w 330"/>
                    <a:gd name="T117" fmla="*/ 756046847 h 408"/>
                    <a:gd name="T118" fmla="*/ 826611143 w 330"/>
                    <a:gd name="T119" fmla="*/ 725804981 h 408"/>
                    <a:gd name="T120" fmla="*/ 831651453 w 330"/>
                    <a:gd name="T121" fmla="*/ 715724359 h 408"/>
                    <a:gd name="T122" fmla="*/ 821570832 w 330"/>
                    <a:gd name="T123" fmla="*/ 675401871 h 408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30"/>
                    <a:gd name="T187" fmla="*/ 0 h 408"/>
                    <a:gd name="T188" fmla="*/ 330 w 330"/>
                    <a:gd name="T189" fmla="*/ 408 h 408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30" h="408">
                      <a:moveTo>
                        <a:pt x="74" y="344"/>
                      </a:moveTo>
                      <a:lnTo>
                        <a:pt x="74" y="344"/>
                      </a:lnTo>
                      <a:lnTo>
                        <a:pt x="60" y="290"/>
                      </a:lnTo>
                      <a:lnTo>
                        <a:pt x="58" y="286"/>
                      </a:lnTo>
                      <a:lnTo>
                        <a:pt x="56" y="274"/>
                      </a:lnTo>
                      <a:lnTo>
                        <a:pt x="56" y="254"/>
                      </a:lnTo>
                      <a:lnTo>
                        <a:pt x="56" y="234"/>
                      </a:lnTo>
                      <a:lnTo>
                        <a:pt x="56" y="220"/>
                      </a:lnTo>
                      <a:lnTo>
                        <a:pt x="92" y="44"/>
                      </a:lnTo>
                      <a:lnTo>
                        <a:pt x="20" y="22"/>
                      </a:lnTo>
                      <a:lnTo>
                        <a:pt x="14" y="32"/>
                      </a:lnTo>
                      <a:lnTo>
                        <a:pt x="10" y="40"/>
                      </a:lnTo>
                      <a:lnTo>
                        <a:pt x="4" y="62"/>
                      </a:lnTo>
                      <a:lnTo>
                        <a:pt x="2" y="88"/>
                      </a:lnTo>
                      <a:lnTo>
                        <a:pt x="0" y="112"/>
                      </a:lnTo>
                      <a:lnTo>
                        <a:pt x="2" y="138"/>
                      </a:lnTo>
                      <a:lnTo>
                        <a:pt x="4" y="160"/>
                      </a:lnTo>
                      <a:lnTo>
                        <a:pt x="10" y="196"/>
                      </a:lnTo>
                      <a:lnTo>
                        <a:pt x="14" y="218"/>
                      </a:lnTo>
                      <a:lnTo>
                        <a:pt x="14" y="238"/>
                      </a:lnTo>
                      <a:lnTo>
                        <a:pt x="14" y="254"/>
                      </a:lnTo>
                      <a:lnTo>
                        <a:pt x="12" y="266"/>
                      </a:lnTo>
                      <a:lnTo>
                        <a:pt x="12" y="264"/>
                      </a:lnTo>
                      <a:lnTo>
                        <a:pt x="6" y="292"/>
                      </a:lnTo>
                      <a:lnTo>
                        <a:pt x="4" y="318"/>
                      </a:lnTo>
                      <a:lnTo>
                        <a:pt x="8" y="322"/>
                      </a:lnTo>
                      <a:lnTo>
                        <a:pt x="12" y="320"/>
                      </a:lnTo>
                      <a:lnTo>
                        <a:pt x="12" y="318"/>
                      </a:lnTo>
                      <a:lnTo>
                        <a:pt x="16" y="336"/>
                      </a:lnTo>
                      <a:lnTo>
                        <a:pt x="16" y="360"/>
                      </a:lnTo>
                      <a:lnTo>
                        <a:pt x="18" y="370"/>
                      </a:lnTo>
                      <a:lnTo>
                        <a:pt x="24" y="386"/>
                      </a:lnTo>
                      <a:lnTo>
                        <a:pt x="28" y="394"/>
                      </a:lnTo>
                      <a:lnTo>
                        <a:pt x="42" y="404"/>
                      </a:lnTo>
                      <a:lnTo>
                        <a:pt x="50" y="406"/>
                      </a:lnTo>
                      <a:lnTo>
                        <a:pt x="58" y="408"/>
                      </a:lnTo>
                      <a:lnTo>
                        <a:pt x="74" y="406"/>
                      </a:lnTo>
                      <a:lnTo>
                        <a:pt x="86" y="404"/>
                      </a:lnTo>
                      <a:lnTo>
                        <a:pt x="92" y="402"/>
                      </a:lnTo>
                      <a:lnTo>
                        <a:pt x="94" y="390"/>
                      </a:lnTo>
                      <a:lnTo>
                        <a:pt x="94" y="384"/>
                      </a:lnTo>
                      <a:lnTo>
                        <a:pt x="92" y="376"/>
                      </a:lnTo>
                      <a:lnTo>
                        <a:pt x="86" y="366"/>
                      </a:lnTo>
                      <a:lnTo>
                        <a:pt x="74" y="344"/>
                      </a:lnTo>
                      <a:close/>
                      <a:moveTo>
                        <a:pt x="326" y="268"/>
                      </a:moveTo>
                      <a:lnTo>
                        <a:pt x="326" y="268"/>
                      </a:lnTo>
                      <a:lnTo>
                        <a:pt x="324" y="266"/>
                      </a:lnTo>
                      <a:lnTo>
                        <a:pt x="318" y="262"/>
                      </a:lnTo>
                      <a:lnTo>
                        <a:pt x="310" y="254"/>
                      </a:lnTo>
                      <a:lnTo>
                        <a:pt x="298" y="246"/>
                      </a:lnTo>
                      <a:lnTo>
                        <a:pt x="292" y="238"/>
                      </a:lnTo>
                      <a:lnTo>
                        <a:pt x="284" y="230"/>
                      </a:lnTo>
                      <a:lnTo>
                        <a:pt x="280" y="224"/>
                      </a:lnTo>
                      <a:lnTo>
                        <a:pt x="274" y="216"/>
                      </a:lnTo>
                      <a:lnTo>
                        <a:pt x="268" y="202"/>
                      </a:lnTo>
                      <a:lnTo>
                        <a:pt x="262" y="184"/>
                      </a:lnTo>
                      <a:lnTo>
                        <a:pt x="260" y="0"/>
                      </a:lnTo>
                      <a:lnTo>
                        <a:pt x="190" y="26"/>
                      </a:lnTo>
                      <a:lnTo>
                        <a:pt x="192" y="42"/>
                      </a:lnTo>
                      <a:lnTo>
                        <a:pt x="192" y="66"/>
                      </a:lnTo>
                      <a:lnTo>
                        <a:pt x="194" y="82"/>
                      </a:lnTo>
                      <a:lnTo>
                        <a:pt x="200" y="112"/>
                      </a:lnTo>
                      <a:lnTo>
                        <a:pt x="212" y="158"/>
                      </a:lnTo>
                      <a:lnTo>
                        <a:pt x="212" y="178"/>
                      </a:lnTo>
                      <a:lnTo>
                        <a:pt x="210" y="186"/>
                      </a:lnTo>
                      <a:lnTo>
                        <a:pt x="206" y="194"/>
                      </a:lnTo>
                      <a:lnTo>
                        <a:pt x="202" y="208"/>
                      </a:lnTo>
                      <a:lnTo>
                        <a:pt x="200" y="222"/>
                      </a:lnTo>
                      <a:lnTo>
                        <a:pt x="202" y="228"/>
                      </a:lnTo>
                      <a:lnTo>
                        <a:pt x="204" y="232"/>
                      </a:lnTo>
                      <a:lnTo>
                        <a:pt x="206" y="238"/>
                      </a:lnTo>
                      <a:lnTo>
                        <a:pt x="208" y="244"/>
                      </a:lnTo>
                      <a:lnTo>
                        <a:pt x="210" y="258"/>
                      </a:lnTo>
                      <a:lnTo>
                        <a:pt x="212" y="276"/>
                      </a:lnTo>
                      <a:lnTo>
                        <a:pt x="218" y="278"/>
                      </a:lnTo>
                      <a:lnTo>
                        <a:pt x="222" y="274"/>
                      </a:lnTo>
                      <a:lnTo>
                        <a:pt x="218" y="232"/>
                      </a:lnTo>
                      <a:lnTo>
                        <a:pt x="224" y="238"/>
                      </a:lnTo>
                      <a:lnTo>
                        <a:pt x="236" y="244"/>
                      </a:lnTo>
                      <a:lnTo>
                        <a:pt x="242" y="250"/>
                      </a:lnTo>
                      <a:lnTo>
                        <a:pt x="244" y="256"/>
                      </a:lnTo>
                      <a:lnTo>
                        <a:pt x="246" y="260"/>
                      </a:lnTo>
                      <a:lnTo>
                        <a:pt x="252" y="276"/>
                      </a:lnTo>
                      <a:lnTo>
                        <a:pt x="258" y="286"/>
                      </a:lnTo>
                      <a:lnTo>
                        <a:pt x="262" y="294"/>
                      </a:lnTo>
                      <a:lnTo>
                        <a:pt x="266" y="298"/>
                      </a:lnTo>
                      <a:lnTo>
                        <a:pt x="274" y="300"/>
                      </a:lnTo>
                      <a:lnTo>
                        <a:pt x="294" y="302"/>
                      </a:lnTo>
                      <a:lnTo>
                        <a:pt x="322" y="304"/>
                      </a:lnTo>
                      <a:lnTo>
                        <a:pt x="324" y="300"/>
                      </a:lnTo>
                      <a:lnTo>
                        <a:pt x="326" y="296"/>
                      </a:lnTo>
                      <a:lnTo>
                        <a:pt x="328" y="288"/>
                      </a:lnTo>
                      <a:lnTo>
                        <a:pt x="330" y="284"/>
                      </a:lnTo>
                      <a:lnTo>
                        <a:pt x="328" y="276"/>
                      </a:lnTo>
                      <a:lnTo>
                        <a:pt x="326" y="26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58" name="Freeform 144"/>
                <p:cNvSpPr>
                  <a:spLocks/>
                </p:cNvSpPr>
                <p:nvPr/>
              </p:nvSpPr>
              <p:spPr bwMode="auto">
                <a:xfrm>
                  <a:off x="3612248" y="4180048"/>
                  <a:ext cx="337319" cy="718784"/>
                </a:xfrm>
                <a:custGeom>
                  <a:avLst/>
                  <a:gdLst>
                    <a:gd name="T0" fmla="*/ 418346010 w 202"/>
                    <a:gd name="T1" fmla="*/ 463708816 h 426"/>
                    <a:gd name="T2" fmla="*/ 352821868 w 202"/>
                    <a:gd name="T3" fmla="*/ 529232859 h 426"/>
                    <a:gd name="T4" fmla="*/ 327620313 w 202"/>
                    <a:gd name="T5" fmla="*/ 569555348 h 426"/>
                    <a:gd name="T6" fmla="*/ 297378447 w 202"/>
                    <a:gd name="T7" fmla="*/ 609877836 h 426"/>
                    <a:gd name="T8" fmla="*/ 231854404 w 202"/>
                    <a:gd name="T9" fmla="*/ 650200325 h 426"/>
                    <a:gd name="T10" fmla="*/ 221773782 w 202"/>
                    <a:gd name="T11" fmla="*/ 650200325 h 426"/>
                    <a:gd name="T12" fmla="*/ 216733471 w 202"/>
                    <a:gd name="T13" fmla="*/ 670361569 h 426"/>
                    <a:gd name="T14" fmla="*/ 226814093 w 202"/>
                    <a:gd name="T15" fmla="*/ 675401880 h 426"/>
                    <a:gd name="T16" fmla="*/ 236894715 w 202"/>
                    <a:gd name="T17" fmla="*/ 685482502 h 426"/>
                    <a:gd name="T18" fmla="*/ 246975337 w 202"/>
                    <a:gd name="T19" fmla="*/ 710684057 h 426"/>
                    <a:gd name="T20" fmla="*/ 292338136 w 202"/>
                    <a:gd name="T21" fmla="*/ 771167790 h 426"/>
                    <a:gd name="T22" fmla="*/ 357862179 w 202"/>
                    <a:gd name="T23" fmla="*/ 846772654 h 426"/>
                    <a:gd name="T24" fmla="*/ 418346010 w 202"/>
                    <a:gd name="T25" fmla="*/ 877014521 h 426"/>
                    <a:gd name="T26" fmla="*/ 493950674 w 202"/>
                    <a:gd name="T27" fmla="*/ 907256387 h 426"/>
                    <a:gd name="T28" fmla="*/ 498990985 w 202"/>
                    <a:gd name="T29" fmla="*/ 912296698 h 426"/>
                    <a:gd name="T30" fmla="*/ 483870052 w 202"/>
                    <a:gd name="T31" fmla="*/ 982861053 h 426"/>
                    <a:gd name="T32" fmla="*/ 453628186 w 202"/>
                    <a:gd name="T33" fmla="*/ 1038304474 h 426"/>
                    <a:gd name="T34" fmla="*/ 413305599 w 202"/>
                    <a:gd name="T35" fmla="*/ 1073586652 h 426"/>
                    <a:gd name="T36" fmla="*/ 120967513 w 202"/>
                    <a:gd name="T37" fmla="*/ 841732343 h 426"/>
                    <a:gd name="T38" fmla="*/ 85685311 w 202"/>
                    <a:gd name="T39" fmla="*/ 811490278 h 426"/>
                    <a:gd name="T40" fmla="*/ 50403122 w 202"/>
                    <a:gd name="T41" fmla="*/ 771167790 h 426"/>
                    <a:gd name="T42" fmla="*/ 15120939 w 202"/>
                    <a:gd name="T43" fmla="*/ 710684057 h 426"/>
                    <a:gd name="T44" fmla="*/ 10080625 w 202"/>
                    <a:gd name="T45" fmla="*/ 700603435 h 426"/>
                    <a:gd name="T46" fmla="*/ 0 w 202"/>
                    <a:gd name="T47" fmla="*/ 660280947 h 426"/>
                    <a:gd name="T48" fmla="*/ 10080625 w 202"/>
                    <a:gd name="T49" fmla="*/ 635079391 h 426"/>
                    <a:gd name="T50" fmla="*/ 206652800 w 202"/>
                    <a:gd name="T51" fmla="*/ 312499385 h 426"/>
                    <a:gd name="T52" fmla="*/ 262096270 w 202"/>
                    <a:gd name="T53" fmla="*/ 156249692 h 426"/>
                    <a:gd name="T54" fmla="*/ 297378447 w 202"/>
                    <a:gd name="T55" fmla="*/ 90725624 h 426"/>
                    <a:gd name="T56" fmla="*/ 312499380 w 202"/>
                    <a:gd name="T57" fmla="*/ 70564380 h 426"/>
                    <a:gd name="T58" fmla="*/ 337700935 w 202"/>
                    <a:gd name="T59" fmla="*/ 55443446 h 426"/>
                    <a:gd name="T60" fmla="*/ 362902490 w 202"/>
                    <a:gd name="T61" fmla="*/ 50403123 h 426"/>
                    <a:gd name="T62" fmla="*/ 509071607 w 202"/>
                    <a:gd name="T63" fmla="*/ 0 h 426"/>
                    <a:gd name="T64" fmla="*/ 483870052 w 202"/>
                    <a:gd name="T65" fmla="*/ 196572181 h 426"/>
                    <a:gd name="T66" fmla="*/ 458668497 w 202"/>
                    <a:gd name="T67" fmla="*/ 347781562 h 426"/>
                    <a:gd name="T68" fmla="*/ 418346010 w 202"/>
                    <a:gd name="T69" fmla="*/ 463708816 h 42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02"/>
                    <a:gd name="T106" fmla="*/ 0 h 426"/>
                    <a:gd name="T107" fmla="*/ 202 w 202"/>
                    <a:gd name="T108" fmla="*/ 426 h 42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02" h="426">
                      <a:moveTo>
                        <a:pt x="166" y="184"/>
                      </a:moveTo>
                      <a:lnTo>
                        <a:pt x="166" y="184"/>
                      </a:lnTo>
                      <a:lnTo>
                        <a:pt x="152" y="196"/>
                      </a:lnTo>
                      <a:lnTo>
                        <a:pt x="140" y="210"/>
                      </a:lnTo>
                      <a:lnTo>
                        <a:pt x="130" y="226"/>
                      </a:lnTo>
                      <a:lnTo>
                        <a:pt x="124" y="236"/>
                      </a:lnTo>
                      <a:lnTo>
                        <a:pt x="118" y="242"/>
                      </a:lnTo>
                      <a:lnTo>
                        <a:pt x="104" y="252"/>
                      </a:lnTo>
                      <a:lnTo>
                        <a:pt x="92" y="258"/>
                      </a:lnTo>
                      <a:lnTo>
                        <a:pt x="88" y="258"/>
                      </a:lnTo>
                      <a:lnTo>
                        <a:pt x="86" y="262"/>
                      </a:lnTo>
                      <a:lnTo>
                        <a:pt x="86" y="266"/>
                      </a:lnTo>
                      <a:lnTo>
                        <a:pt x="90" y="268"/>
                      </a:lnTo>
                      <a:lnTo>
                        <a:pt x="92" y="270"/>
                      </a:lnTo>
                      <a:lnTo>
                        <a:pt x="94" y="272"/>
                      </a:lnTo>
                      <a:lnTo>
                        <a:pt x="98" y="282"/>
                      </a:lnTo>
                      <a:lnTo>
                        <a:pt x="104" y="292"/>
                      </a:lnTo>
                      <a:lnTo>
                        <a:pt x="116" y="306"/>
                      </a:lnTo>
                      <a:lnTo>
                        <a:pt x="134" y="324"/>
                      </a:lnTo>
                      <a:lnTo>
                        <a:pt x="142" y="336"/>
                      </a:lnTo>
                      <a:lnTo>
                        <a:pt x="166" y="348"/>
                      </a:lnTo>
                      <a:lnTo>
                        <a:pt x="184" y="356"/>
                      </a:lnTo>
                      <a:lnTo>
                        <a:pt x="196" y="360"/>
                      </a:lnTo>
                      <a:lnTo>
                        <a:pt x="198" y="362"/>
                      </a:lnTo>
                      <a:lnTo>
                        <a:pt x="198" y="370"/>
                      </a:lnTo>
                      <a:lnTo>
                        <a:pt x="192" y="390"/>
                      </a:lnTo>
                      <a:lnTo>
                        <a:pt x="186" y="400"/>
                      </a:lnTo>
                      <a:lnTo>
                        <a:pt x="180" y="412"/>
                      </a:lnTo>
                      <a:lnTo>
                        <a:pt x="172" y="420"/>
                      </a:lnTo>
                      <a:lnTo>
                        <a:pt x="164" y="426"/>
                      </a:lnTo>
                      <a:lnTo>
                        <a:pt x="48" y="334"/>
                      </a:lnTo>
                      <a:lnTo>
                        <a:pt x="34" y="322"/>
                      </a:lnTo>
                      <a:lnTo>
                        <a:pt x="26" y="314"/>
                      </a:lnTo>
                      <a:lnTo>
                        <a:pt x="20" y="306"/>
                      </a:lnTo>
                      <a:lnTo>
                        <a:pt x="6" y="282"/>
                      </a:lnTo>
                      <a:lnTo>
                        <a:pt x="4" y="278"/>
                      </a:lnTo>
                      <a:lnTo>
                        <a:pt x="0" y="270"/>
                      </a:lnTo>
                      <a:lnTo>
                        <a:pt x="0" y="262"/>
                      </a:lnTo>
                      <a:lnTo>
                        <a:pt x="0" y="258"/>
                      </a:lnTo>
                      <a:lnTo>
                        <a:pt x="4" y="252"/>
                      </a:lnTo>
                      <a:lnTo>
                        <a:pt x="82" y="124"/>
                      </a:lnTo>
                      <a:lnTo>
                        <a:pt x="104" y="62"/>
                      </a:lnTo>
                      <a:lnTo>
                        <a:pt x="112" y="48"/>
                      </a:lnTo>
                      <a:lnTo>
                        <a:pt x="118" y="36"/>
                      </a:lnTo>
                      <a:lnTo>
                        <a:pt x="124" y="28"/>
                      </a:lnTo>
                      <a:lnTo>
                        <a:pt x="130" y="24"/>
                      </a:lnTo>
                      <a:lnTo>
                        <a:pt x="134" y="22"/>
                      </a:lnTo>
                      <a:lnTo>
                        <a:pt x="144" y="20"/>
                      </a:lnTo>
                      <a:lnTo>
                        <a:pt x="202" y="0"/>
                      </a:lnTo>
                      <a:lnTo>
                        <a:pt x="200" y="24"/>
                      </a:lnTo>
                      <a:lnTo>
                        <a:pt x="192" y="78"/>
                      </a:lnTo>
                      <a:lnTo>
                        <a:pt x="188" y="108"/>
                      </a:lnTo>
                      <a:lnTo>
                        <a:pt x="182" y="138"/>
                      </a:lnTo>
                      <a:lnTo>
                        <a:pt x="174" y="164"/>
                      </a:lnTo>
                      <a:lnTo>
                        <a:pt x="166" y="18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</p:grpSp>
          <p:sp>
            <p:nvSpPr>
              <p:cNvPr id="51" name="Freeform 138"/>
              <p:cNvSpPr>
                <a:spLocks/>
              </p:cNvSpPr>
              <p:nvPr/>
            </p:nvSpPr>
            <p:spPr bwMode="auto">
              <a:xfrm>
                <a:off x="3544225" y="4214357"/>
                <a:ext cx="202273" cy="330410"/>
              </a:xfrm>
              <a:custGeom>
                <a:avLst/>
                <a:gdLst>
                  <a:gd name="T0" fmla="*/ 2147483647 w 120"/>
                  <a:gd name="T1" fmla="*/ 2147483647 h 196"/>
                  <a:gd name="T2" fmla="*/ 2147483647 w 120"/>
                  <a:gd name="T3" fmla="*/ 2147483647 h 196"/>
                  <a:gd name="T4" fmla="*/ 2147483647 w 120"/>
                  <a:gd name="T5" fmla="*/ 2147483647 h 196"/>
                  <a:gd name="T6" fmla="*/ 2147483647 w 120"/>
                  <a:gd name="T7" fmla="*/ 2147483647 h 196"/>
                  <a:gd name="T8" fmla="*/ 2147483647 w 120"/>
                  <a:gd name="T9" fmla="*/ 2147483647 h 196"/>
                  <a:gd name="T10" fmla="*/ 2147483647 w 120"/>
                  <a:gd name="T11" fmla="*/ 2147483647 h 196"/>
                  <a:gd name="T12" fmla="*/ 2147483647 w 120"/>
                  <a:gd name="T13" fmla="*/ 2147483647 h 196"/>
                  <a:gd name="T14" fmla="*/ 2147483647 w 120"/>
                  <a:gd name="T15" fmla="*/ 2147483647 h 196"/>
                  <a:gd name="T16" fmla="*/ 2147483647 w 120"/>
                  <a:gd name="T17" fmla="*/ 2147483647 h 196"/>
                  <a:gd name="T18" fmla="*/ 2147483647 w 120"/>
                  <a:gd name="T19" fmla="*/ 2147483647 h 196"/>
                  <a:gd name="T20" fmla="*/ 2147483647 w 120"/>
                  <a:gd name="T21" fmla="*/ 2147483647 h 196"/>
                  <a:gd name="T22" fmla="*/ 2147483647 w 120"/>
                  <a:gd name="T23" fmla="*/ 2147483647 h 196"/>
                  <a:gd name="T24" fmla="*/ 2147483647 w 120"/>
                  <a:gd name="T25" fmla="*/ 2147483647 h 196"/>
                  <a:gd name="T26" fmla="*/ 2147483647 w 120"/>
                  <a:gd name="T27" fmla="*/ 2147483647 h 196"/>
                  <a:gd name="T28" fmla="*/ 2147483647 w 120"/>
                  <a:gd name="T29" fmla="*/ 2147483647 h 196"/>
                  <a:gd name="T30" fmla="*/ 2147483647 w 120"/>
                  <a:gd name="T31" fmla="*/ 2147483647 h 196"/>
                  <a:gd name="T32" fmla="*/ 2147483647 w 120"/>
                  <a:gd name="T33" fmla="*/ 2147483647 h 196"/>
                  <a:gd name="T34" fmla="*/ 2147483647 w 120"/>
                  <a:gd name="T35" fmla="*/ 2147483647 h 196"/>
                  <a:gd name="T36" fmla="*/ 2147483647 w 120"/>
                  <a:gd name="T37" fmla="*/ 2147483647 h 196"/>
                  <a:gd name="T38" fmla="*/ 2147483647 w 120"/>
                  <a:gd name="T39" fmla="*/ 2147483647 h 196"/>
                  <a:gd name="T40" fmla="*/ 0 w 120"/>
                  <a:gd name="T41" fmla="*/ 2147483647 h 196"/>
                  <a:gd name="T42" fmla="*/ 2147483647 w 120"/>
                  <a:gd name="T43" fmla="*/ 2147483647 h 196"/>
                  <a:gd name="T44" fmla="*/ 2147483647 w 120"/>
                  <a:gd name="T45" fmla="*/ 2147483647 h 196"/>
                  <a:gd name="T46" fmla="*/ 2147483647 w 120"/>
                  <a:gd name="T47" fmla="*/ 2147483647 h 196"/>
                  <a:gd name="T48" fmla="*/ 2147483647 w 120"/>
                  <a:gd name="T49" fmla="*/ 0 h 196"/>
                  <a:gd name="T50" fmla="*/ 2147483647 w 120"/>
                  <a:gd name="T51" fmla="*/ 0 h 196"/>
                  <a:gd name="T52" fmla="*/ 2147483647 w 120"/>
                  <a:gd name="T53" fmla="*/ 2147483647 h 196"/>
                  <a:gd name="T54" fmla="*/ 2147483647 w 120"/>
                  <a:gd name="T55" fmla="*/ 2147483647 h 19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120"/>
                  <a:gd name="T85" fmla="*/ 0 h 196"/>
                  <a:gd name="T86" fmla="*/ 120 w 120"/>
                  <a:gd name="T87" fmla="*/ 196 h 19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120" h="196">
                    <a:moveTo>
                      <a:pt x="82" y="2"/>
                    </a:moveTo>
                    <a:lnTo>
                      <a:pt x="82" y="2"/>
                    </a:lnTo>
                    <a:lnTo>
                      <a:pt x="96" y="24"/>
                    </a:lnTo>
                    <a:lnTo>
                      <a:pt x="98" y="34"/>
                    </a:lnTo>
                    <a:lnTo>
                      <a:pt x="102" y="46"/>
                    </a:lnTo>
                    <a:lnTo>
                      <a:pt x="106" y="70"/>
                    </a:lnTo>
                    <a:lnTo>
                      <a:pt x="114" y="120"/>
                    </a:lnTo>
                    <a:lnTo>
                      <a:pt x="118" y="170"/>
                    </a:lnTo>
                    <a:lnTo>
                      <a:pt x="120" y="188"/>
                    </a:lnTo>
                    <a:lnTo>
                      <a:pt x="118" y="196"/>
                    </a:lnTo>
                    <a:lnTo>
                      <a:pt x="106" y="174"/>
                    </a:lnTo>
                    <a:lnTo>
                      <a:pt x="76" y="120"/>
                    </a:lnTo>
                    <a:lnTo>
                      <a:pt x="58" y="90"/>
                    </a:lnTo>
                    <a:lnTo>
                      <a:pt x="38" y="62"/>
                    </a:lnTo>
                    <a:lnTo>
                      <a:pt x="22" y="40"/>
                    </a:lnTo>
                    <a:lnTo>
                      <a:pt x="14" y="32"/>
                    </a:lnTo>
                    <a:lnTo>
                      <a:pt x="8" y="26"/>
                    </a:lnTo>
                    <a:lnTo>
                      <a:pt x="0" y="22"/>
                    </a:lnTo>
                    <a:lnTo>
                      <a:pt x="2" y="12"/>
                    </a:lnTo>
                    <a:lnTo>
                      <a:pt x="36" y="4"/>
                    </a:lnTo>
                    <a:lnTo>
                      <a:pt x="64" y="0"/>
                    </a:lnTo>
                    <a:lnTo>
                      <a:pt x="74" y="0"/>
                    </a:lnTo>
                    <a:lnTo>
                      <a:pt x="82" y="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id-ID">
                  <a:latin typeface="+mn-lt"/>
                  <a:ea typeface="+mn-ea"/>
                </a:endParaRPr>
              </a:p>
            </p:txBody>
          </p:sp>
          <p:sp>
            <p:nvSpPr>
              <p:cNvPr id="52" name="Freeform 140"/>
              <p:cNvSpPr>
                <a:spLocks/>
              </p:cNvSpPr>
              <p:nvPr/>
            </p:nvSpPr>
            <p:spPr bwMode="auto">
              <a:xfrm>
                <a:off x="3577692" y="4142677"/>
                <a:ext cx="146661" cy="229817"/>
              </a:xfrm>
              <a:custGeom>
                <a:avLst/>
                <a:gdLst>
                  <a:gd name="T0" fmla="*/ 196572170 w 90"/>
                  <a:gd name="T1" fmla="*/ 120967497 h 140"/>
                  <a:gd name="T2" fmla="*/ 196572170 w 90"/>
                  <a:gd name="T3" fmla="*/ 120967497 h 140"/>
                  <a:gd name="T4" fmla="*/ 191531860 w 90"/>
                  <a:gd name="T5" fmla="*/ 136088428 h 140"/>
                  <a:gd name="T6" fmla="*/ 181451238 w 90"/>
                  <a:gd name="T7" fmla="*/ 171370600 h 140"/>
                  <a:gd name="T8" fmla="*/ 181451238 w 90"/>
                  <a:gd name="T9" fmla="*/ 196572151 h 140"/>
                  <a:gd name="T10" fmla="*/ 186491549 w 90"/>
                  <a:gd name="T11" fmla="*/ 211693132 h 140"/>
                  <a:gd name="T12" fmla="*/ 191531860 w 90"/>
                  <a:gd name="T13" fmla="*/ 226814063 h 140"/>
                  <a:gd name="T14" fmla="*/ 206652792 w 90"/>
                  <a:gd name="T15" fmla="*/ 236894683 h 140"/>
                  <a:gd name="T16" fmla="*/ 206652792 w 90"/>
                  <a:gd name="T17" fmla="*/ 236894683 h 140"/>
                  <a:gd name="T18" fmla="*/ 226814085 w 90"/>
                  <a:gd name="T19" fmla="*/ 241934994 h 140"/>
                  <a:gd name="T20" fmla="*/ 226814085 w 90"/>
                  <a:gd name="T21" fmla="*/ 241934994 h 140"/>
                  <a:gd name="T22" fmla="*/ 226814085 w 90"/>
                  <a:gd name="T23" fmla="*/ 257055925 h 140"/>
                  <a:gd name="T24" fmla="*/ 226814085 w 90"/>
                  <a:gd name="T25" fmla="*/ 272176856 h 140"/>
                  <a:gd name="T26" fmla="*/ 221773774 w 90"/>
                  <a:gd name="T27" fmla="*/ 282257476 h 140"/>
                  <a:gd name="T28" fmla="*/ 221773774 w 90"/>
                  <a:gd name="T29" fmla="*/ 282257476 h 140"/>
                  <a:gd name="T30" fmla="*/ 211693152 w 90"/>
                  <a:gd name="T31" fmla="*/ 297378407 h 140"/>
                  <a:gd name="T32" fmla="*/ 206652792 w 90"/>
                  <a:gd name="T33" fmla="*/ 322579959 h 140"/>
                  <a:gd name="T34" fmla="*/ 196572170 w 90"/>
                  <a:gd name="T35" fmla="*/ 352821820 h 140"/>
                  <a:gd name="T36" fmla="*/ 186491549 w 90"/>
                  <a:gd name="T37" fmla="*/ 347781510 h 140"/>
                  <a:gd name="T38" fmla="*/ 186491549 w 90"/>
                  <a:gd name="T39" fmla="*/ 347781510 h 140"/>
                  <a:gd name="T40" fmla="*/ 196572170 w 90"/>
                  <a:gd name="T41" fmla="*/ 337700889 h 140"/>
                  <a:gd name="T42" fmla="*/ 196572170 w 90"/>
                  <a:gd name="T43" fmla="*/ 322579959 h 140"/>
                  <a:gd name="T44" fmla="*/ 186491549 w 90"/>
                  <a:gd name="T45" fmla="*/ 307459028 h 140"/>
                  <a:gd name="T46" fmla="*/ 186491549 w 90"/>
                  <a:gd name="T47" fmla="*/ 307459028 h 140"/>
                  <a:gd name="T48" fmla="*/ 171370617 w 90"/>
                  <a:gd name="T49" fmla="*/ 297378407 h 140"/>
                  <a:gd name="T50" fmla="*/ 146169063 w 90"/>
                  <a:gd name="T51" fmla="*/ 282257476 h 140"/>
                  <a:gd name="T52" fmla="*/ 95765930 w 90"/>
                  <a:gd name="T53" fmla="*/ 257055925 h 140"/>
                  <a:gd name="T54" fmla="*/ 95765930 w 90"/>
                  <a:gd name="T55" fmla="*/ 257055925 h 140"/>
                  <a:gd name="T56" fmla="*/ 70564376 w 90"/>
                  <a:gd name="T57" fmla="*/ 241934994 h 140"/>
                  <a:gd name="T58" fmla="*/ 55443444 w 90"/>
                  <a:gd name="T59" fmla="*/ 226814063 h 140"/>
                  <a:gd name="T60" fmla="*/ 35282188 w 90"/>
                  <a:gd name="T61" fmla="*/ 206652772 h 140"/>
                  <a:gd name="T62" fmla="*/ 20161249 w 90"/>
                  <a:gd name="T63" fmla="*/ 191531841 h 140"/>
                  <a:gd name="T64" fmla="*/ 20161249 w 90"/>
                  <a:gd name="T65" fmla="*/ 191531841 h 140"/>
                  <a:gd name="T66" fmla="*/ 15120939 w 90"/>
                  <a:gd name="T67" fmla="*/ 120967497 h 140"/>
                  <a:gd name="T68" fmla="*/ 15120939 w 90"/>
                  <a:gd name="T69" fmla="*/ 120967497 h 140"/>
                  <a:gd name="T70" fmla="*/ 10080625 w 90"/>
                  <a:gd name="T71" fmla="*/ 70564369 h 140"/>
                  <a:gd name="T72" fmla="*/ 0 w 90"/>
                  <a:gd name="T73" fmla="*/ 35282185 h 140"/>
                  <a:gd name="T74" fmla="*/ 0 w 90"/>
                  <a:gd name="T75" fmla="*/ 35282185 h 140"/>
                  <a:gd name="T76" fmla="*/ 10080625 w 90"/>
                  <a:gd name="T77" fmla="*/ 25201558 h 140"/>
                  <a:gd name="T78" fmla="*/ 20161249 w 90"/>
                  <a:gd name="T79" fmla="*/ 5040312 h 140"/>
                  <a:gd name="T80" fmla="*/ 20161249 w 90"/>
                  <a:gd name="T81" fmla="*/ 5040312 h 140"/>
                  <a:gd name="T82" fmla="*/ 25201560 w 90"/>
                  <a:gd name="T83" fmla="*/ 0 h 140"/>
                  <a:gd name="T84" fmla="*/ 30241877 w 90"/>
                  <a:gd name="T85" fmla="*/ 5040312 h 140"/>
                  <a:gd name="T86" fmla="*/ 50403120 w 90"/>
                  <a:gd name="T87" fmla="*/ 15120937 h 140"/>
                  <a:gd name="T88" fmla="*/ 110886887 w 90"/>
                  <a:gd name="T89" fmla="*/ 55443438 h 140"/>
                  <a:gd name="T90" fmla="*/ 196572170 w 90"/>
                  <a:gd name="T91" fmla="*/ 120967497 h 140"/>
                  <a:gd name="T92" fmla="*/ 196572170 w 90"/>
                  <a:gd name="T93" fmla="*/ 120967497 h 140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90"/>
                  <a:gd name="T142" fmla="*/ 0 h 140"/>
                  <a:gd name="T143" fmla="*/ 90 w 90"/>
                  <a:gd name="T144" fmla="*/ 140 h 140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90" h="140">
                    <a:moveTo>
                      <a:pt x="78" y="48"/>
                    </a:moveTo>
                    <a:lnTo>
                      <a:pt x="78" y="48"/>
                    </a:lnTo>
                    <a:lnTo>
                      <a:pt x="76" y="54"/>
                    </a:lnTo>
                    <a:lnTo>
                      <a:pt x="72" y="68"/>
                    </a:lnTo>
                    <a:lnTo>
                      <a:pt x="72" y="78"/>
                    </a:lnTo>
                    <a:lnTo>
                      <a:pt x="74" y="84"/>
                    </a:lnTo>
                    <a:lnTo>
                      <a:pt x="76" y="90"/>
                    </a:lnTo>
                    <a:lnTo>
                      <a:pt x="82" y="94"/>
                    </a:lnTo>
                    <a:lnTo>
                      <a:pt x="90" y="96"/>
                    </a:lnTo>
                    <a:lnTo>
                      <a:pt x="90" y="102"/>
                    </a:lnTo>
                    <a:lnTo>
                      <a:pt x="90" y="108"/>
                    </a:lnTo>
                    <a:lnTo>
                      <a:pt x="88" y="112"/>
                    </a:lnTo>
                    <a:lnTo>
                      <a:pt x="84" y="118"/>
                    </a:lnTo>
                    <a:lnTo>
                      <a:pt x="82" y="128"/>
                    </a:lnTo>
                    <a:lnTo>
                      <a:pt x="78" y="140"/>
                    </a:lnTo>
                    <a:lnTo>
                      <a:pt x="74" y="138"/>
                    </a:lnTo>
                    <a:lnTo>
                      <a:pt x="78" y="134"/>
                    </a:lnTo>
                    <a:lnTo>
                      <a:pt x="78" y="128"/>
                    </a:lnTo>
                    <a:lnTo>
                      <a:pt x="74" y="122"/>
                    </a:lnTo>
                    <a:lnTo>
                      <a:pt x="68" y="118"/>
                    </a:lnTo>
                    <a:lnTo>
                      <a:pt x="58" y="112"/>
                    </a:lnTo>
                    <a:lnTo>
                      <a:pt x="38" y="102"/>
                    </a:lnTo>
                    <a:lnTo>
                      <a:pt x="28" y="96"/>
                    </a:lnTo>
                    <a:lnTo>
                      <a:pt x="22" y="90"/>
                    </a:lnTo>
                    <a:lnTo>
                      <a:pt x="14" y="82"/>
                    </a:lnTo>
                    <a:lnTo>
                      <a:pt x="8" y="76"/>
                    </a:lnTo>
                    <a:lnTo>
                      <a:pt x="6" y="48"/>
                    </a:lnTo>
                    <a:lnTo>
                      <a:pt x="4" y="28"/>
                    </a:lnTo>
                    <a:lnTo>
                      <a:pt x="0" y="14"/>
                    </a:lnTo>
                    <a:lnTo>
                      <a:pt x="4" y="10"/>
                    </a:lnTo>
                    <a:lnTo>
                      <a:pt x="8" y="2"/>
                    </a:lnTo>
                    <a:lnTo>
                      <a:pt x="10" y="0"/>
                    </a:lnTo>
                    <a:lnTo>
                      <a:pt x="12" y="2"/>
                    </a:lnTo>
                    <a:lnTo>
                      <a:pt x="20" y="6"/>
                    </a:lnTo>
                    <a:lnTo>
                      <a:pt x="44" y="22"/>
                    </a:lnTo>
                    <a:lnTo>
                      <a:pt x="78" y="4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dirty="0">
                  <a:latin typeface="+mn-lt"/>
                  <a:ea typeface="+mn-ea"/>
                </a:endParaRPr>
              </a:p>
            </p:txBody>
          </p:sp>
        </p:grpSp>
        <p:sp>
          <p:nvSpPr>
            <p:cNvPr id="44" name="Freeform 5"/>
            <p:cNvSpPr>
              <a:spLocks noEditPoints="1"/>
            </p:cNvSpPr>
            <p:nvPr/>
          </p:nvSpPr>
          <p:spPr bwMode="auto">
            <a:xfrm>
              <a:off x="3157092" y="1956693"/>
              <a:ext cx="239301" cy="617925"/>
            </a:xfrm>
            <a:custGeom>
              <a:avLst/>
              <a:gdLst>
                <a:gd name="T0" fmla="*/ 2147483647 w 600"/>
                <a:gd name="T1" fmla="*/ 1302100615 h 1727"/>
                <a:gd name="T2" fmla="*/ 2132965708 w 600"/>
                <a:gd name="T3" fmla="*/ 1014817518 h 1727"/>
                <a:gd name="T4" fmla="*/ 2114775135 w 600"/>
                <a:gd name="T5" fmla="*/ 861847602 h 1727"/>
                <a:gd name="T6" fmla="*/ 1982886016 w 600"/>
                <a:gd name="T7" fmla="*/ 936466814 h 1727"/>
                <a:gd name="T8" fmla="*/ 1791874337 w 600"/>
                <a:gd name="T9" fmla="*/ 179084624 h 1727"/>
                <a:gd name="T10" fmla="*/ 1664531796 w 600"/>
                <a:gd name="T11" fmla="*/ 41039906 h 1727"/>
                <a:gd name="T12" fmla="*/ 1459878253 w 600"/>
                <a:gd name="T13" fmla="*/ 22385578 h 1727"/>
                <a:gd name="T14" fmla="*/ 1064208499 w 600"/>
                <a:gd name="T15" fmla="*/ 813345211 h 1727"/>
                <a:gd name="T16" fmla="*/ 1059661922 w 600"/>
                <a:gd name="T17" fmla="*/ 820807712 h 1727"/>
                <a:gd name="T18" fmla="*/ 786788399 w 600"/>
                <a:gd name="T19" fmla="*/ 1085705480 h 1727"/>
                <a:gd name="T20" fmla="*/ 650350571 w 600"/>
                <a:gd name="T21" fmla="*/ 1078242979 h 1727"/>
                <a:gd name="T22" fmla="*/ 659445858 w 600"/>
                <a:gd name="T23" fmla="*/ 1227481403 h 1727"/>
                <a:gd name="T24" fmla="*/ 418406771 w 600"/>
                <a:gd name="T25" fmla="*/ 1652809174 h 1727"/>
                <a:gd name="T26" fmla="*/ 18190581 w 600"/>
                <a:gd name="T27" fmla="*/ 2147483647 h 1727"/>
                <a:gd name="T28" fmla="*/ 841362251 w 600"/>
                <a:gd name="T29" fmla="*/ 2147483647 h 1727"/>
                <a:gd name="T30" fmla="*/ 768595694 w 600"/>
                <a:gd name="T31" fmla="*/ 2147483647 h 1727"/>
                <a:gd name="T32" fmla="*/ 463885336 w 600"/>
                <a:gd name="T33" fmla="*/ 2147483647 h 1727"/>
                <a:gd name="T34" fmla="*/ 836813541 w 600"/>
                <a:gd name="T35" fmla="*/ 1757274526 h 1727"/>
                <a:gd name="T36" fmla="*/ 941416800 w 600"/>
                <a:gd name="T37" fmla="*/ 2089329247 h 1727"/>
                <a:gd name="T38" fmla="*/ 809527682 w 600"/>
                <a:gd name="T39" fmla="*/ 2147483647 h 1727"/>
                <a:gd name="T40" fmla="*/ 845910960 w 600"/>
                <a:gd name="T41" fmla="*/ 2147483647 h 1727"/>
                <a:gd name="T42" fmla="*/ 668541144 w 600"/>
                <a:gd name="T43" fmla="*/ 2147483647 h 1727"/>
                <a:gd name="T44" fmla="*/ 886840816 w 600"/>
                <a:gd name="T45" fmla="*/ 2147483647 h 1727"/>
                <a:gd name="T46" fmla="*/ 968702659 w 600"/>
                <a:gd name="T47" fmla="*/ 2147483647 h 1727"/>
                <a:gd name="T48" fmla="*/ 1296152433 w 600"/>
                <a:gd name="T49" fmla="*/ 2147483647 h 1727"/>
                <a:gd name="T50" fmla="*/ 1368918990 w 600"/>
                <a:gd name="T51" fmla="*/ 2147483647 h 1727"/>
                <a:gd name="T52" fmla="*/ 1878284890 w 600"/>
                <a:gd name="T53" fmla="*/ 2147483647 h 1727"/>
                <a:gd name="T54" fmla="*/ 1987434726 w 600"/>
                <a:gd name="T55" fmla="*/ 2147483647 h 1727"/>
                <a:gd name="T56" fmla="*/ 2147483647 w 600"/>
                <a:gd name="T57" fmla="*/ 2147483647 h 1727"/>
                <a:gd name="T58" fmla="*/ 2147483647 w 600"/>
                <a:gd name="T59" fmla="*/ 2147483647 h 1727"/>
                <a:gd name="T60" fmla="*/ 2147483647 w 600"/>
                <a:gd name="T61" fmla="*/ 2147483647 h 1727"/>
                <a:gd name="T62" fmla="*/ 1700915074 w 600"/>
                <a:gd name="T63" fmla="*/ 2147483647 h 1727"/>
                <a:gd name="T64" fmla="*/ 1891928886 w 600"/>
                <a:gd name="T65" fmla="*/ 2147483647 h 1727"/>
                <a:gd name="T66" fmla="*/ 1650889932 w 600"/>
                <a:gd name="T67" fmla="*/ 2147483647 h 1727"/>
                <a:gd name="T68" fmla="*/ 1578123375 w 600"/>
                <a:gd name="T69" fmla="*/ 2147483647 h 1727"/>
                <a:gd name="T70" fmla="*/ 1455329543 w 600"/>
                <a:gd name="T71" fmla="*/ 2147483647 h 1727"/>
                <a:gd name="T72" fmla="*/ 1432590261 w 600"/>
                <a:gd name="T73" fmla="*/ 2147483647 h 1727"/>
                <a:gd name="T74" fmla="*/ 1964693311 w 600"/>
                <a:gd name="T75" fmla="*/ 2147483647 h 1727"/>
                <a:gd name="T76" fmla="*/ 1782779051 w 600"/>
                <a:gd name="T77" fmla="*/ 1962477842 h 1727"/>
                <a:gd name="T78" fmla="*/ 1105140487 w 600"/>
                <a:gd name="T79" fmla="*/ 1414028468 h 1727"/>
                <a:gd name="T80" fmla="*/ 1332535712 w 600"/>
                <a:gd name="T81" fmla="*/ 1201364583 h 1727"/>
                <a:gd name="T82" fmla="*/ 1896475463 w 600"/>
                <a:gd name="T83" fmla="*/ 1354332326 h 1727"/>
                <a:gd name="T84" fmla="*/ 1937407451 w 600"/>
                <a:gd name="T85" fmla="*/ 1078242979 h 1727"/>
                <a:gd name="T86" fmla="*/ 2147483647 w 600"/>
                <a:gd name="T87" fmla="*/ 2147483647 h 1727"/>
                <a:gd name="T88" fmla="*/ 2147483647 w 600"/>
                <a:gd name="T89" fmla="*/ 2147483647 h 1727"/>
                <a:gd name="T90" fmla="*/ 2147483647 w 600"/>
                <a:gd name="T91" fmla="*/ 1839356238 h 1727"/>
                <a:gd name="T92" fmla="*/ 2147483647 w 600"/>
                <a:gd name="T93" fmla="*/ 2147483647 h 172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00"/>
                <a:gd name="T142" fmla="*/ 0 h 1727"/>
                <a:gd name="T143" fmla="*/ 600 w 600"/>
                <a:gd name="T144" fmla="*/ 1727 h 172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00" h="1727">
                  <a:moveTo>
                    <a:pt x="588" y="660"/>
                  </a:moveTo>
                  <a:cubicBezTo>
                    <a:pt x="584" y="609"/>
                    <a:pt x="581" y="557"/>
                    <a:pt x="581" y="506"/>
                  </a:cubicBezTo>
                  <a:cubicBezTo>
                    <a:pt x="580" y="455"/>
                    <a:pt x="582" y="399"/>
                    <a:pt x="567" y="349"/>
                  </a:cubicBezTo>
                  <a:cubicBezTo>
                    <a:pt x="562" y="333"/>
                    <a:pt x="560" y="307"/>
                    <a:pt x="545" y="296"/>
                  </a:cubicBezTo>
                  <a:cubicBezTo>
                    <a:pt x="535" y="288"/>
                    <a:pt x="517" y="285"/>
                    <a:pt x="504" y="281"/>
                  </a:cubicBezTo>
                  <a:cubicBezTo>
                    <a:pt x="493" y="277"/>
                    <a:pt x="481" y="274"/>
                    <a:pt x="469" y="272"/>
                  </a:cubicBezTo>
                  <a:cubicBezTo>
                    <a:pt x="477" y="267"/>
                    <a:pt x="490" y="260"/>
                    <a:pt x="486" y="250"/>
                  </a:cubicBezTo>
                  <a:cubicBezTo>
                    <a:pt x="478" y="255"/>
                    <a:pt x="472" y="262"/>
                    <a:pt x="461" y="259"/>
                  </a:cubicBezTo>
                  <a:cubicBezTo>
                    <a:pt x="464" y="250"/>
                    <a:pt x="469" y="241"/>
                    <a:pt x="465" y="231"/>
                  </a:cubicBezTo>
                  <a:cubicBezTo>
                    <a:pt x="463" y="239"/>
                    <a:pt x="461" y="251"/>
                    <a:pt x="452" y="254"/>
                  </a:cubicBezTo>
                  <a:cubicBezTo>
                    <a:pt x="450" y="248"/>
                    <a:pt x="449" y="240"/>
                    <a:pt x="448" y="233"/>
                  </a:cubicBezTo>
                  <a:cubicBezTo>
                    <a:pt x="448" y="244"/>
                    <a:pt x="443" y="255"/>
                    <a:pt x="436" y="251"/>
                  </a:cubicBezTo>
                  <a:cubicBezTo>
                    <a:pt x="433" y="237"/>
                    <a:pt x="431" y="222"/>
                    <a:pt x="427" y="208"/>
                  </a:cubicBezTo>
                  <a:cubicBezTo>
                    <a:pt x="420" y="176"/>
                    <a:pt x="418" y="143"/>
                    <a:pt x="413" y="110"/>
                  </a:cubicBezTo>
                  <a:cubicBezTo>
                    <a:pt x="409" y="91"/>
                    <a:pt x="404" y="67"/>
                    <a:pt x="394" y="48"/>
                  </a:cubicBezTo>
                  <a:cubicBezTo>
                    <a:pt x="392" y="41"/>
                    <a:pt x="389" y="35"/>
                    <a:pt x="386" y="29"/>
                  </a:cubicBezTo>
                  <a:cubicBezTo>
                    <a:pt x="384" y="26"/>
                    <a:pt x="381" y="22"/>
                    <a:pt x="378" y="19"/>
                  </a:cubicBezTo>
                  <a:cubicBezTo>
                    <a:pt x="374" y="14"/>
                    <a:pt x="370" y="11"/>
                    <a:pt x="366" y="11"/>
                  </a:cubicBezTo>
                  <a:cubicBezTo>
                    <a:pt x="356" y="4"/>
                    <a:pt x="344" y="0"/>
                    <a:pt x="334" y="2"/>
                  </a:cubicBezTo>
                  <a:cubicBezTo>
                    <a:pt x="328" y="4"/>
                    <a:pt x="326" y="7"/>
                    <a:pt x="319" y="5"/>
                  </a:cubicBezTo>
                  <a:cubicBezTo>
                    <a:pt x="321" y="6"/>
                    <a:pt x="321" y="6"/>
                    <a:pt x="321" y="6"/>
                  </a:cubicBezTo>
                  <a:cubicBezTo>
                    <a:pt x="211" y="11"/>
                    <a:pt x="239" y="136"/>
                    <a:pt x="235" y="208"/>
                  </a:cubicBezTo>
                  <a:cubicBezTo>
                    <a:pt x="233" y="220"/>
                    <a:pt x="233" y="220"/>
                    <a:pt x="233" y="220"/>
                  </a:cubicBezTo>
                  <a:cubicBezTo>
                    <a:pt x="233" y="219"/>
                    <a:pt x="234" y="219"/>
                    <a:pt x="234" y="218"/>
                  </a:cubicBezTo>
                  <a:cubicBezTo>
                    <a:pt x="234" y="219"/>
                    <a:pt x="234" y="219"/>
                    <a:pt x="234" y="219"/>
                  </a:cubicBezTo>
                  <a:cubicBezTo>
                    <a:pt x="233" y="226"/>
                    <a:pt x="232" y="234"/>
                    <a:pt x="230" y="242"/>
                  </a:cubicBezTo>
                  <a:cubicBezTo>
                    <a:pt x="233" y="220"/>
                    <a:pt x="233" y="220"/>
                    <a:pt x="233" y="220"/>
                  </a:cubicBezTo>
                  <a:cubicBezTo>
                    <a:pt x="233" y="221"/>
                    <a:pt x="232" y="223"/>
                    <a:pt x="232" y="224"/>
                  </a:cubicBezTo>
                  <a:cubicBezTo>
                    <a:pt x="226" y="238"/>
                    <a:pt x="221" y="253"/>
                    <a:pt x="212" y="265"/>
                  </a:cubicBezTo>
                  <a:cubicBezTo>
                    <a:pt x="203" y="278"/>
                    <a:pt x="191" y="292"/>
                    <a:pt x="173" y="291"/>
                  </a:cubicBezTo>
                  <a:cubicBezTo>
                    <a:pt x="165" y="291"/>
                    <a:pt x="156" y="287"/>
                    <a:pt x="153" y="280"/>
                  </a:cubicBezTo>
                  <a:cubicBezTo>
                    <a:pt x="155" y="292"/>
                    <a:pt x="155" y="300"/>
                    <a:pt x="171" y="306"/>
                  </a:cubicBezTo>
                  <a:cubicBezTo>
                    <a:pt x="157" y="307"/>
                    <a:pt x="151" y="297"/>
                    <a:pt x="143" y="289"/>
                  </a:cubicBezTo>
                  <a:cubicBezTo>
                    <a:pt x="144" y="297"/>
                    <a:pt x="151" y="307"/>
                    <a:pt x="158" y="312"/>
                  </a:cubicBezTo>
                  <a:cubicBezTo>
                    <a:pt x="162" y="314"/>
                    <a:pt x="166" y="317"/>
                    <a:pt x="170" y="318"/>
                  </a:cubicBezTo>
                  <a:cubicBezTo>
                    <a:pt x="161" y="321"/>
                    <a:pt x="152" y="324"/>
                    <a:pt x="145" y="329"/>
                  </a:cubicBezTo>
                  <a:cubicBezTo>
                    <a:pt x="135" y="335"/>
                    <a:pt x="138" y="340"/>
                    <a:pt x="135" y="349"/>
                  </a:cubicBezTo>
                  <a:cubicBezTo>
                    <a:pt x="133" y="354"/>
                    <a:pt x="124" y="368"/>
                    <a:pt x="126" y="375"/>
                  </a:cubicBezTo>
                  <a:cubicBezTo>
                    <a:pt x="118" y="398"/>
                    <a:pt x="102" y="421"/>
                    <a:pt x="92" y="443"/>
                  </a:cubicBezTo>
                  <a:cubicBezTo>
                    <a:pt x="85" y="460"/>
                    <a:pt x="77" y="476"/>
                    <a:pt x="68" y="492"/>
                  </a:cubicBezTo>
                  <a:cubicBezTo>
                    <a:pt x="57" y="512"/>
                    <a:pt x="44" y="534"/>
                    <a:pt x="30" y="551"/>
                  </a:cubicBezTo>
                  <a:cubicBezTo>
                    <a:pt x="16" y="568"/>
                    <a:pt x="0" y="578"/>
                    <a:pt x="4" y="599"/>
                  </a:cubicBezTo>
                  <a:cubicBezTo>
                    <a:pt x="16" y="669"/>
                    <a:pt x="113" y="687"/>
                    <a:pt x="157" y="739"/>
                  </a:cubicBezTo>
                  <a:cubicBezTo>
                    <a:pt x="161" y="728"/>
                    <a:pt x="171" y="731"/>
                    <a:pt x="178" y="724"/>
                  </a:cubicBezTo>
                  <a:cubicBezTo>
                    <a:pt x="182" y="720"/>
                    <a:pt x="184" y="712"/>
                    <a:pt x="185" y="706"/>
                  </a:cubicBezTo>
                  <a:cubicBezTo>
                    <a:pt x="183" y="709"/>
                    <a:pt x="179" y="713"/>
                    <a:pt x="171" y="716"/>
                  </a:cubicBezTo>
                  <a:cubicBezTo>
                    <a:pt x="142" y="725"/>
                    <a:pt x="137" y="650"/>
                    <a:pt x="160" y="655"/>
                  </a:cubicBezTo>
                  <a:cubicBezTo>
                    <a:pt x="163" y="655"/>
                    <a:pt x="166" y="655"/>
                    <a:pt x="169" y="655"/>
                  </a:cubicBezTo>
                  <a:cubicBezTo>
                    <a:pt x="143" y="640"/>
                    <a:pt x="121" y="619"/>
                    <a:pt x="100" y="599"/>
                  </a:cubicBezTo>
                  <a:cubicBezTo>
                    <a:pt x="103" y="598"/>
                    <a:pt x="106" y="597"/>
                    <a:pt x="109" y="596"/>
                  </a:cubicBezTo>
                  <a:cubicBezTo>
                    <a:pt x="105" y="592"/>
                    <a:pt x="102" y="586"/>
                    <a:pt x="102" y="580"/>
                  </a:cubicBezTo>
                  <a:cubicBezTo>
                    <a:pt x="121" y="557"/>
                    <a:pt x="132" y="526"/>
                    <a:pt x="152" y="501"/>
                  </a:cubicBezTo>
                  <a:cubicBezTo>
                    <a:pt x="158" y="493"/>
                    <a:pt x="167" y="482"/>
                    <a:pt x="176" y="476"/>
                  </a:cubicBezTo>
                  <a:cubicBezTo>
                    <a:pt x="179" y="474"/>
                    <a:pt x="181" y="473"/>
                    <a:pt x="184" y="471"/>
                  </a:cubicBezTo>
                  <a:cubicBezTo>
                    <a:pt x="185" y="474"/>
                    <a:pt x="186" y="477"/>
                    <a:pt x="187" y="479"/>
                  </a:cubicBezTo>
                  <a:cubicBezTo>
                    <a:pt x="193" y="492"/>
                    <a:pt x="200" y="506"/>
                    <a:pt x="204" y="519"/>
                  </a:cubicBezTo>
                  <a:cubicBezTo>
                    <a:pt x="209" y="535"/>
                    <a:pt x="206" y="546"/>
                    <a:pt x="207" y="560"/>
                  </a:cubicBezTo>
                  <a:cubicBezTo>
                    <a:pt x="209" y="574"/>
                    <a:pt x="219" y="589"/>
                    <a:pt x="221" y="603"/>
                  </a:cubicBezTo>
                  <a:cubicBezTo>
                    <a:pt x="222" y="608"/>
                    <a:pt x="222" y="613"/>
                    <a:pt x="222" y="617"/>
                  </a:cubicBezTo>
                  <a:cubicBezTo>
                    <a:pt x="199" y="623"/>
                    <a:pt x="198" y="646"/>
                    <a:pt x="178" y="659"/>
                  </a:cubicBezTo>
                  <a:cubicBezTo>
                    <a:pt x="178" y="659"/>
                    <a:pt x="177" y="659"/>
                    <a:pt x="177" y="658"/>
                  </a:cubicBezTo>
                  <a:cubicBezTo>
                    <a:pt x="163" y="687"/>
                    <a:pt x="181" y="700"/>
                    <a:pt x="186" y="702"/>
                  </a:cubicBezTo>
                  <a:cubicBezTo>
                    <a:pt x="186" y="702"/>
                    <a:pt x="186" y="702"/>
                    <a:pt x="186" y="701"/>
                  </a:cubicBezTo>
                  <a:cubicBezTo>
                    <a:pt x="190" y="702"/>
                    <a:pt x="194" y="702"/>
                    <a:pt x="198" y="703"/>
                  </a:cubicBezTo>
                  <a:cubicBezTo>
                    <a:pt x="197" y="705"/>
                    <a:pt x="196" y="708"/>
                    <a:pt x="195" y="710"/>
                  </a:cubicBezTo>
                  <a:cubicBezTo>
                    <a:pt x="176" y="749"/>
                    <a:pt x="158" y="791"/>
                    <a:pt x="147" y="832"/>
                  </a:cubicBezTo>
                  <a:cubicBezTo>
                    <a:pt x="154" y="833"/>
                    <a:pt x="195" y="837"/>
                    <a:pt x="202" y="842"/>
                  </a:cubicBezTo>
                  <a:cubicBezTo>
                    <a:pt x="201" y="863"/>
                    <a:pt x="197" y="891"/>
                    <a:pt x="196" y="915"/>
                  </a:cubicBezTo>
                  <a:cubicBezTo>
                    <a:pt x="194" y="963"/>
                    <a:pt x="190" y="990"/>
                    <a:pt x="195" y="1029"/>
                  </a:cubicBezTo>
                  <a:cubicBezTo>
                    <a:pt x="201" y="1081"/>
                    <a:pt x="197" y="1136"/>
                    <a:pt x="190" y="1187"/>
                  </a:cubicBezTo>
                  <a:cubicBezTo>
                    <a:pt x="200" y="1191"/>
                    <a:pt x="209" y="1191"/>
                    <a:pt x="218" y="1191"/>
                  </a:cubicBezTo>
                  <a:cubicBezTo>
                    <a:pt x="216" y="1206"/>
                    <a:pt x="213" y="1221"/>
                    <a:pt x="213" y="1237"/>
                  </a:cubicBezTo>
                  <a:cubicBezTo>
                    <a:pt x="212" y="1255"/>
                    <a:pt x="214" y="1273"/>
                    <a:pt x="217" y="1291"/>
                  </a:cubicBezTo>
                  <a:cubicBezTo>
                    <a:pt x="225" y="1341"/>
                    <a:pt x="240" y="1389"/>
                    <a:pt x="259" y="1436"/>
                  </a:cubicBezTo>
                  <a:cubicBezTo>
                    <a:pt x="274" y="1473"/>
                    <a:pt x="294" y="1521"/>
                    <a:pt x="285" y="1560"/>
                  </a:cubicBezTo>
                  <a:cubicBezTo>
                    <a:pt x="280" y="1583"/>
                    <a:pt x="279" y="1609"/>
                    <a:pt x="281" y="1632"/>
                  </a:cubicBezTo>
                  <a:cubicBezTo>
                    <a:pt x="283" y="1648"/>
                    <a:pt x="290" y="1663"/>
                    <a:pt x="292" y="1679"/>
                  </a:cubicBezTo>
                  <a:cubicBezTo>
                    <a:pt x="294" y="1691"/>
                    <a:pt x="287" y="1699"/>
                    <a:pt x="301" y="1706"/>
                  </a:cubicBezTo>
                  <a:cubicBezTo>
                    <a:pt x="317" y="1713"/>
                    <a:pt x="366" y="1727"/>
                    <a:pt x="383" y="1719"/>
                  </a:cubicBezTo>
                  <a:cubicBezTo>
                    <a:pt x="392" y="1714"/>
                    <a:pt x="396" y="1709"/>
                    <a:pt x="398" y="1703"/>
                  </a:cubicBezTo>
                  <a:cubicBezTo>
                    <a:pt x="401" y="1708"/>
                    <a:pt x="405" y="1711"/>
                    <a:pt x="413" y="1712"/>
                  </a:cubicBezTo>
                  <a:cubicBezTo>
                    <a:pt x="428" y="1715"/>
                    <a:pt x="442" y="1713"/>
                    <a:pt x="456" y="1709"/>
                  </a:cubicBezTo>
                  <a:cubicBezTo>
                    <a:pt x="500" y="1697"/>
                    <a:pt x="454" y="1666"/>
                    <a:pt x="443" y="1643"/>
                  </a:cubicBezTo>
                  <a:cubicBezTo>
                    <a:pt x="439" y="1634"/>
                    <a:pt x="438" y="1622"/>
                    <a:pt x="437" y="1610"/>
                  </a:cubicBezTo>
                  <a:cubicBezTo>
                    <a:pt x="437" y="1588"/>
                    <a:pt x="432" y="1578"/>
                    <a:pt x="433" y="1563"/>
                  </a:cubicBezTo>
                  <a:cubicBezTo>
                    <a:pt x="434" y="1546"/>
                    <a:pt x="475" y="1428"/>
                    <a:pt x="479" y="1417"/>
                  </a:cubicBezTo>
                  <a:cubicBezTo>
                    <a:pt x="482" y="1406"/>
                    <a:pt x="519" y="1310"/>
                    <a:pt x="522" y="1297"/>
                  </a:cubicBezTo>
                  <a:cubicBezTo>
                    <a:pt x="524" y="1287"/>
                    <a:pt x="538" y="1222"/>
                    <a:pt x="542" y="1204"/>
                  </a:cubicBezTo>
                  <a:cubicBezTo>
                    <a:pt x="550" y="1201"/>
                    <a:pt x="549" y="1016"/>
                    <a:pt x="561" y="923"/>
                  </a:cubicBezTo>
                  <a:cubicBezTo>
                    <a:pt x="569" y="860"/>
                    <a:pt x="568" y="859"/>
                    <a:pt x="582" y="855"/>
                  </a:cubicBezTo>
                  <a:cubicBezTo>
                    <a:pt x="587" y="849"/>
                    <a:pt x="591" y="840"/>
                    <a:pt x="594" y="830"/>
                  </a:cubicBezTo>
                  <a:cubicBezTo>
                    <a:pt x="596" y="821"/>
                    <a:pt x="598" y="808"/>
                    <a:pt x="598" y="795"/>
                  </a:cubicBezTo>
                  <a:cubicBezTo>
                    <a:pt x="600" y="750"/>
                    <a:pt x="591" y="706"/>
                    <a:pt x="588" y="660"/>
                  </a:cubicBezTo>
                  <a:close/>
                  <a:moveTo>
                    <a:pt x="376" y="1659"/>
                  </a:moveTo>
                  <a:cubicBezTo>
                    <a:pt x="366" y="1644"/>
                    <a:pt x="365" y="1625"/>
                    <a:pt x="362" y="1608"/>
                  </a:cubicBezTo>
                  <a:cubicBezTo>
                    <a:pt x="367" y="1612"/>
                    <a:pt x="372" y="1616"/>
                    <a:pt x="374" y="1623"/>
                  </a:cubicBezTo>
                  <a:cubicBezTo>
                    <a:pt x="378" y="1635"/>
                    <a:pt x="376" y="1647"/>
                    <a:pt x="376" y="1659"/>
                  </a:cubicBezTo>
                  <a:close/>
                  <a:moveTo>
                    <a:pt x="432" y="1268"/>
                  </a:moveTo>
                  <a:cubicBezTo>
                    <a:pt x="429" y="1284"/>
                    <a:pt x="421" y="1302"/>
                    <a:pt x="416" y="1317"/>
                  </a:cubicBezTo>
                  <a:cubicBezTo>
                    <a:pt x="409" y="1339"/>
                    <a:pt x="408" y="1361"/>
                    <a:pt x="406" y="1383"/>
                  </a:cubicBezTo>
                  <a:cubicBezTo>
                    <a:pt x="404" y="1425"/>
                    <a:pt x="404" y="1467"/>
                    <a:pt x="388" y="1507"/>
                  </a:cubicBezTo>
                  <a:cubicBezTo>
                    <a:pt x="382" y="1522"/>
                    <a:pt x="374" y="1535"/>
                    <a:pt x="363" y="1547"/>
                  </a:cubicBezTo>
                  <a:cubicBezTo>
                    <a:pt x="361" y="1550"/>
                    <a:pt x="357" y="1553"/>
                    <a:pt x="353" y="1557"/>
                  </a:cubicBezTo>
                  <a:cubicBezTo>
                    <a:pt x="353" y="1553"/>
                    <a:pt x="352" y="1549"/>
                    <a:pt x="350" y="1546"/>
                  </a:cubicBezTo>
                  <a:cubicBezTo>
                    <a:pt x="349" y="1543"/>
                    <a:pt x="348" y="1541"/>
                    <a:pt x="347" y="1538"/>
                  </a:cubicBezTo>
                  <a:cubicBezTo>
                    <a:pt x="340" y="1511"/>
                    <a:pt x="330" y="1467"/>
                    <a:pt x="329" y="1444"/>
                  </a:cubicBezTo>
                  <a:cubicBezTo>
                    <a:pt x="327" y="1417"/>
                    <a:pt x="320" y="1330"/>
                    <a:pt x="320" y="1330"/>
                  </a:cubicBezTo>
                  <a:cubicBezTo>
                    <a:pt x="320" y="1330"/>
                    <a:pt x="320" y="1330"/>
                    <a:pt x="320" y="1330"/>
                  </a:cubicBezTo>
                  <a:cubicBezTo>
                    <a:pt x="319" y="1315"/>
                    <a:pt x="317" y="1300"/>
                    <a:pt x="315" y="1285"/>
                  </a:cubicBezTo>
                  <a:cubicBezTo>
                    <a:pt x="312" y="1268"/>
                    <a:pt x="307" y="1252"/>
                    <a:pt x="308" y="1235"/>
                  </a:cubicBezTo>
                  <a:cubicBezTo>
                    <a:pt x="310" y="1221"/>
                    <a:pt x="313" y="1208"/>
                    <a:pt x="315" y="1195"/>
                  </a:cubicBezTo>
                  <a:cubicBezTo>
                    <a:pt x="317" y="1194"/>
                    <a:pt x="319" y="1194"/>
                    <a:pt x="322" y="1194"/>
                  </a:cubicBezTo>
                  <a:cubicBezTo>
                    <a:pt x="335" y="1193"/>
                    <a:pt x="347" y="1193"/>
                    <a:pt x="360" y="1194"/>
                  </a:cubicBezTo>
                  <a:cubicBezTo>
                    <a:pt x="372" y="1195"/>
                    <a:pt x="420" y="1196"/>
                    <a:pt x="432" y="1197"/>
                  </a:cubicBezTo>
                  <a:cubicBezTo>
                    <a:pt x="432" y="1210"/>
                    <a:pt x="440" y="1213"/>
                    <a:pt x="432" y="1268"/>
                  </a:cubicBezTo>
                  <a:close/>
                  <a:moveTo>
                    <a:pt x="426" y="371"/>
                  </a:moveTo>
                  <a:cubicBezTo>
                    <a:pt x="417" y="395"/>
                    <a:pt x="392" y="526"/>
                    <a:pt x="392" y="526"/>
                  </a:cubicBezTo>
                  <a:cubicBezTo>
                    <a:pt x="392" y="526"/>
                    <a:pt x="392" y="526"/>
                    <a:pt x="384" y="526"/>
                  </a:cubicBezTo>
                  <a:cubicBezTo>
                    <a:pt x="384" y="526"/>
                    <a:pt x="384" y="526"/>
                    <a:pt x="301" y="363"/>
                  </a:cubicBezTo>
                  <a:cubicBezTo>
                    <a:pt x="301" y="354"/>
                    <a:pt x="243" y="379"/>
                    <a:pt x="243" y="379"/>
                  </a:cubicBezTo>
                  <a:cubicBezTo>
                    <a:pt x="243" y="379"/>
                    <a:pt x="243" y="346"/>
                    <a:pt x="243" y="273"/>
                  </a:cubicBezTo>
                  <a:cubicBezTo>
                    <a:pt x="243" y="273"/>
                    <a:pt x="243" y="273"/>
                    <a:pt x="276" y="264"/>
                  </a:cubicBezTo>
                  <a:cubicBezTo>
                    <a:pt x="285" y="289"/>
                    <a:pt x="293" y="322"/>
                    <a:pt x="293" y="322"/>
                  </a:cubicBezTo>
                  <a:cubicBezTo>
                    <a:pt x="293" y="322"/>
                    <a:pt x="293" y="322"/>
                    <a:pt x="310" y="354"/>
                  </a:cubicBezTo>
                  <a:cubicBezTo>
                    <a:pt x="384" y="485"/>
                    <a:pt x="384" y="485"/>
                    <a:pt x="384" y="485"/>
                  </a:cubicBezTo>
                  <a:cubicBezTo>
                    <a:pt x="384" y="485"/>
                    <a:pt x="384" y="485"/>
                    <a:pt x="417" y="363"/>
                  </a:cubicBezTo>
                  <a:cubicBezTo>
                    <a:pt x="426" y="354"/>
                    <a:pt x="417" y="297"/>
                    <a:pt x="417" y="297"/>
                  </a:cubicBezTo>
                  <a:cubicBezTo>
                    <a:pt x="417" y="297"/>
                    <a:pt x="417" y="297"/>
                    <a:pt x="417" y="281"/>
                  </a:cubicBezTo>
                  <a:cubicBezTo>
                    <a:pt x="417" y="281"/>
                    <a:pt x="417" y="281"/>
                    <a:pt x="426" y="289"/>
                  </a:cubicBezTo>
                  <a:cubicBezTo>
                    <a:pt x="426" y="289"/>
                    <a:pt x="426" y="289"/>
                    <a:pt x="467" y="371"/>
                  </a:cubicBezTo>
                  <a:cubicBezTo>
                    <a:pt x="467" y="371"/>
                    <a:pt x="467" y="371"/>
                    <a:pt x="426" y="371"/>
                  </a:cubicBezTo>
                  <a:close/>
                  <a:moveTo>
                    <a:pt x="487" y="649"/>
                  </a:moveTo>
                  <a:cubicBezTo>
                    <a:pt x="483" y="649"/>
                    <a:pt x="483" y="649"/>
                    <a:pt x="483" y="649"/>
                  </a:cubicBezTo>
                  <a:cubicBezTo>
                    <a:pt x="483" y="644"/>
                    <a:pt x="475" y="632"/>
                    <a:pt x="474" y="622"/>
                  </a:cubicBezTo>
                  <a:cubicBezTo>
                    <a:pt x="472" y="613"/>
                    <a:pt x="474" y="599"/>
                    <a:pt x="474" y="588"/>
                  </a:cubicBezTo>
                  <a:cubicBezTo>
                    <a:pt x="476" y="556"/>
                    <a:pt x="487" y="525"/>
                    <a:pt x="487" y="493"/>
                  </a:cubicBezTo>
                  <a:cubicBezTo>
                    <a:pt x="487" y="490"/>
                    <a:pt x="487" y="488"/>
                    <a:pt x="487" y="486"/>
                  </a:cubicBezTo>
                  <a:cubicBezTo>
                    <a:pt x="487" y="488"/>
                    <a:pt x="487" y="490"/>
                    <a:pt x="487" y="493"/>
                  </a:cubicBezTo>
                  <a:cubicBezTo>
                    <a:pt x="488" y="525"/>
                    <a:pt x="493" y="556"/>
                    <a:pt x="481" y="587"/>
                  </a:cubicBezTo>
                  <a:cubicBezTo>
                    <a:pt x="484" y="586"/>
                    <a:pt x="487" y="587"/>
                    <a:pt x="489" y="587"/>
                  </a:cubicBezTo>
                  <a:cubicBezTo>
                    <a:pt x="484" y="599"/>
                    <a:pt x="492" y="605"/>
                    <a:pt x="492" y="616"/>
                  </a:cubicBezTo>
                  <a:cubicBezTo>
                    <a:pt x="492" y="627"/>
                    <a:pt x="488" y="638"/>
                    <a:pt x="487" y="64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ea typeface="+mn-ea"/>
              </a:endParaRPr>
            </a:p>
          </p:txBody>
        </p:sp>
        <p:grpSp>
          <p:nvGrpSpPr>
            <p:cNvPr id="45" name="Gruppe 51"/>
            <p:cNvGrpSpPr>
              <a:grpSpLocks/>
            </p:cNvGrpSpPr>
            <p:nvPr/>
          </p:nvGrpSpPr>
          <p:grpSpPr bwMode="auto">
            <a:xfrm>
              <a:off x="3037875" y="1930398"/>
              <a:ext cx="203761" cy="665291"/>
              <a:chOff x="2760698" y="1597101"/>
              <a:chExt cx="748816" cy="2442682"/>
            </a:xfrm>
            <a:grpFill/>
          </p:grpSpPr>
          <p:sp>
            <p:nvSpPr>
              <p:cNvPr id="47" name="Freeform 125"/>
              <p:cNvSpPr>
                <a:spLocks/>
              </p:cNvSpPr>
              <p:nvPr/>
            </p:nvSpPr>
            <p:spPr bwMode="auto">
              <a:xfrm>
                <a:off x="2759107" y="1597101"/>
                <a:ext cx="750728" cy="2440405"/>
              </a:xfrm>
              <a:custGeom>
                <a:avLst/>
                <a:gdLst>
                  <a:gd name="T0" fmla="*/ 2147483647 w 364"/>
                  <a:gd name="T1" fmla="*/ 2147483647 h 1186"/>
                  <a:gd name="T2" fmla="*/ 2147483647 w 364"/>
                  <a:gd name="T3" fmla="*/ 2147483647 h 1186"/>
                  <a:gd name="T4" fmla="*/ 2147483647 w 364"/>
                  <a:gd name="T5" fmla="*/ 2147483647 h 1186"/>
                  <a:gd name="T6" fmla="*/ 2147483647 w 364"/>
                  <a:gd name="T7" fmla="*/ 2147483647 h 1186"/>
                  <a:gd name="T8" fmla="*/ 2147483647 w 364"/>
                  <a:gd name="T9" fmla="*/ 2147483647 h 1186"/>
                  <a:gd name="T10" fmla="*/ 2147483647 w 364"/>
                  <a:gd name="T11" fmla="*/ 2147483647 h 1186"/>
                  <a:gd name="T12" fmla="*/ 2147483647 w 364"/>
                  <a:gd name="T13" fmla="*/ 2147483647 h 1186"/>
                  <a:gd name="T14" fmla="*/ 2147483647 w 364"/>
                  <a:gd name="T15" fmla="*/ 2147483647 h 1186"/>
                  <a:gd name="T16" fmla="*/ 2147483647 w 364"/>
                  <a:gd name="T17" fmla="*/ 0 h 1186"/>
                  <a:gd name="T18" fmla="*/ 2147483647 w 364"/>
                  <a:gd name="T19" fmla="*/ 2147483647 h 1186"/>
                  <a:gd name="T20" fmla="*/ 2147483647 w 364"/>
                  <a:gd name="T21" fmla="*/ 2147483647 h 1186"/>
                  <a:gd name="T22" fmla="*/ 2147483647 w 364"/>
                  <a:gd name="T23" fmla="*/ 2147483647 h 1186"/>
                  <a:gd name="T24" fmla="*/ 2147483647 w 364"/>
                  <a:gd name="T25" fmla="*/ 2147483647 h 1186"/>
                  <a:gd name="T26" fmla="*/ 2147483647 w 364"/>
                  <a:gd name="T27" fmla="*/ 2147483647 h 1186"/>
                  <a:gd name="T28" fmla="*/ 2147483647 w 364"/>
                  <a:gd name="T29" fmla="*/ 2147483647 h 1186"/>
                  <a:gd name="T30" fmla="*/ 2147483647 w 364"/>
                  <a:gd name="T31" fmla="*/ 2147483647 h 1186"/>
                  <a:gd name="T32" fmla="*/ 2147483647 w 364"/>
                  <a:gd name="T33" fmla="*/ 2147483647 h 1186"/>
                  <a:gd name="T34" fmla="*/ 2147483647 w 364"/>
                  <a:gd name="T35" fmla="*/ 2147483647 h 1186"/>
                  <a:gd name="T36" fmla="*/ 2147483647 w 364"/>
                  <a:gd name="T37" fmla="*/ 2147483647 h 1186"/>
                  <a:gd name="T38" fmla="*/ 2147483647 w 364"/>
                  <a:gd name="T39" fmla="*/ 2147483647 h 1186"/>
                  <a:gd name="T40" fmla="*/ 2147483647 w 364"/>
                  <a:gd name="T41" fmla="*/ 2147483647 h 1186"/>
                  <a:gd name="T42" fmla="*/ 0 w 364"/>
                  <a:gd name="T43" fmla="*/ 2147483647 h 1186"/>
                  <a:gd name="T44" fmla="*/ 2147483647 w 364"/>
                  <a:gd name="T45" fmla="*/ 2147483647 h 1186"/>
                  <a:gd name="T46" fmla="*/ 2147483647 w 364"/>
                  <a:gd name="T47" fmla="*/ 2147483647 h 1186"/>
                  <a:gd name="T48" fmla="*/ 2147483647 w 364"/>
                  <a:gd name="T49" fmla="*/ 2147483647 h 1186"/>
                  <a:gd name="T50" fmla="*/ 2147483647 w 364"/>
                  <a:gd name="T51" fmla="*/ 2147483647 h 1186"/>
                  <a:gd name="T52" fmla="*/ 2147483647 w 364"/>
                  <a:gd name="T53" fmla="*/ 2147483647 h 1186"/>
                  <a:gd name="T54" fmla="*/ 2147483647 w 364"/>
                  <a:gd name="T55" fmla="*/ 2147483647 h 1186"/>
                  <a:gd name="T56" fmla="*/ 2147483647 w 364"/>
                  <a:gd name="T57" fmla="*/ 2147483647 h 1186"/>
                  <a:gd name="T58" fmla="*/ 2147483647 w 364"/>
                  <a:gd name="T59" fmla="*/ 2147483647 h 1186"/>
                  <a:gd name="T60" fmla="*/ 2147483647 w 364"/>
                  <a:gd name="T61" fmla="*/ 2147483647 h 1186"/>
                  <a:gd name="T62" fmla="*/ 2147483647 w 364"/>
                  <a:gd name="T63" fmla="*/ 2147483647 h 1186"/>
                  <a:gd name="T64" fmla="*/ 2147483647 w 364"/>
                  <a:gd name="T65" fmla="*/ 2147483647 h 1186"/>
                  <a:gd name="T66" fmla="*/ 2147483647 w 364"/>
                  <a:gd name="T67" fmla="*/ 2147483647 h 1186"/>
                  <a:gd name="T68" fmla="*/ 2147483647 w 364"/>
                  <a:gd name="T69" fmla="*/ 2147483647 h 1186"/>
                  <a:gd name="T70" fmla="*/ 2147483647 w 364"/>
                  <a:gd name="T71" fmla="*/ 2147483647 h 1186"/>
                  <a:gd name="T72" fmla="*/ 2147483647 w 364"/>
                  <a:gd name="T73" fmla="*/ 2147483647 h 1186"/>
                  <a:gd name="T74" fmla="*/ 2147483647 w 364"/>
                  <a:gd name="T75" fmla="*/ 2147483647 h 1186"/>
                  <a:gd name="T76" fmla="*/ 2147483647 w 364"/>
                  <a:gd name="T77" fmla="*/ 2147483647 h 1186"/>
                  <a:gd name="T78" fmla="*/ 2147483647 w 364"/>
                  <a:gd name="T79" fmla="*/ 2147483647 h 1186"/>
                  <a:gd name="T80" fmla="*/ 2147483647 w 364"/>
                  <a:gd name="T81" fmla="*/ 2147483647 h 1186"/>
                  <a:gd name="T82" fmla="*/ 2147483647 w 364"/>
                  <a:gd name="T83" fmla="*/ 2147483647 h 1186"/>
                  <a:gd name="T84" fmla="*/ 2147483647 w 364"/>
                  <a:gd name="T85" fmla="*/ 2147483647 h 1186"/>
                  <a:gd name="T86" fmla="*/ 2147483647 w 364"/>
                  <a:gd name="T87" fmla="*/ 2147483647 h 1186"/>
                  <a:gd name="T88" fmla="*/ 2147483647 w 364"/>
                  <a:gd name="T89" fmla="*/ 2147483647 h 1186"/>
                  <a:gd name="T90" fmla="*/ 2147483647 w 364"/>
                  <a:gd name="T91" fmla="*/ 2147483647 h 1186"/>
                  <a:gd name="T92" fmla="*/ 2147483647 w 364"/>
                  <a:gd name="T93" fmla="*/ 2147483647 h 1186"/>
                  <a:gd name="T94" fmla="*/ 2147483647 w 364"/>
                  <a:gd name="T95" fmla="*/ 2147483647 h 1186"/>
                  <a:gd name="T96" fmla="*/ 2147483647 w 364"/>
                  <a:gd name="T97" fmla="*/ 2147483647 h 1186"/>
                  <a:gd name="T98" fmla="*/ 2147483647 w 364"/>
                  <a:gd name="T99" fmla="*/ 2147483647 h 1186"/>
                  <a:gd name="T100" fmla="*/ 2147483647 w 364"/>
                  <a:gd name="T101" fmla="*/ 2147483647 h 1186"/>
                  <a:gd name="T102" fmla="*/ 2147483647 w 364"/>
                  <a:gd name="T103" fmla="*/ 2147483647 h 1186"/>
                  <a:gd name="T104" fmla="*/ 2147483647 w 364"/>
                  <a:gd name="T105" fmla="*/ 2147483647 h 1186"/>
                  <a:gd name="T106" fmla="*/ 2147483647 w 364"/>
                  <a:gd name="T107" fmla="*/ 2147483647 h 1186"/>
                  <a:gd name="T108" fmla="*/ 2147483647 w 364"/>
                  <a:gd name="T109" fmla="*/ 2147483647 h 1186"/>
                  <a:gd name="T110" fmla="*/ 2147483647 w 364"/>
                  <a:gd name="T111" fmla="*/ 2147483647 h 1186"/>
                  <a:gd name="T112" fmla="*/ 2147483647 w 364"/>
                  <a:gd name="T113" fmla="*/ 2147483647 h 1186"/>
                  <a:gd name="T114" fmla="*/ 2147483647 w 364"/>
                  <a:gd name="T115" fmla="*/ 2147483647 h 1186"/>
                  <a:gd name="T116" fmla="*/ 2147483647 w 364"/>
                  <a:gd name="T117" fmla="*/ 2147483647 h 118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364"/>
                  <a:gd name="T178" fmla="*/ 0 h 1186"/>
                  <a:gd name="T179" fmla="*/ 364 w 364"/>
                  <a:gd name="T180" fmla="*/ 1186 h 118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364" h="1186">
                    <a:moveTo>
                      <a:pt x="350" y="338"/>
                    </a:moveTo>
                    <a:lnTo>
                      <a:pt x="350" y="338"/>
                    </a:lnTo>
                    <a:lnTo>
                      <a:pt x="342" y="314"/>
                    </a:lnTo>
                    <a:lnTo>
                      <a:pt x="336" y="286"/>
                    </a:lnTo>
                    <a:lnTo>
                      <a:pt x="326" y="232"/>
                    </a:lnTo>
                    <a:lnTo>
                      <a:pt x="322" y="224"/>
                    </a:lnTo>
                    <a:lnTo>
                      <a:pt x="318" y="216"/>
                    </a:lnTo>
                    <a:lnTo>
                      <a:pt x="312" y="212"/>
                    </a:lnTo>
                    <a:lnTo>
                      <a:pt x="306" y="210"/>
                    </a:lnTo>
                    <a:lnTo>
                      <a:pt x="278" y="200"/>
                    </a:lnTo>
                    <a:lnTo>
                      <a:pt x="258" y="192"/>
                    </a:lnTo>
                    <a:lnTo>
                      <a:pt x="246" y="186"/>
                    </a:lnTo>
                    <a:lnTo>
                      <a:pt x="240" y="180"/>
                    </a:lnTo>
                    <a:lnTo>
                      <a:pt x="234" y="174"/>
                    </a:lnTo>
                    <a:lnTo>
                      <a:pt x="230" y="168"/>
                    </a:lnTo>
                    <a:lnTo>
                      <a:pt x="224" y="162"/>
                    </a:lnTo>
                    <a:lnTo>
                      <a:pt x="220" y="158"/>
                    </a:lnTo>
                    <a:lnTo>
                      <a:pt x="216" y="156"/>
                    </a:lnTo>
                    <a:lnTo>
                      <a:pt x="216" y="146"/>
                    </a:lnTo>
                    <a:lnTo>
                      <a:pt x="218" y="140"/>
                    </a:lnTo>
                    <a:lnTo>
                      <a:pt x="222" y="136"/>
                    </a:lnTo>
                    <a:lnTo>
                      <a:pt x="228" y="126"/>
                    </a:lnTo>
                    <a:lnTo>
                      <a:pt x="236" y="110"/>
                    </a:lnTo>
                    <a:lnTo>
                      <a:pt x="238" y="102"/>
                    </a:lnTo>
                    <a:lnTo>
                      <a:pt x="238" y="96"/>
                    </a:lnTo>
                    <a:lnTo>
                      <a:pt x="238" y="90"/>
                    </a:lnTo>
                    <a:lnTo>
                      <a:pt x="234" y="88"/>
                    </a:lnTo>
                    <a:lnTo>
                      <a:pt x="236" y="76"/>
                    </a:lnTo>
                    <a:lnTo>
                      <a:pt x="236" y="68"/>
                    </a:lnTo>
                    <a:lnTo>
                      <a:pt x="236" y="56"/>
                    </a:lnTo>
                    <a:lnTo>
                      <a:pt x="232" y="42"/>
                    </a:lnTo>
                    <a:lnTo>
                      <a:pt x="230" y="32"/>
                    </a:lnTo>
                    <a:lnTo>
                      <a:pt x="226" y="24"/>
                    </a:lnTo>
                    <a:lnTo>
                      <a:pt x="222" y="16"/>
                    </a:lnTo>
                    <a:lnTo>
                      <a:pt x="214" y="10"/>
                    </a:lnTo>
                    <a:lnTo>
                      <a:pt x="204" y="4"/>
                    </a:lnTo>
                    <a:lnTo>
                      <a:pt x="192" y="0"/>
                    </a:lnTo>
                    <a:lnTo>
                      <a:pt x="174" y="0"/>
                    </a:lnTo>
                    <a:lnTo>
                      <a:pt x="158" y="2"/>
                    </a:lnTo>
                    <a:lnTo>
                      <a:pt x="146" y="6"/>
                    </a:lnTo>
                    <a:lnTo>
                      <a:pt x="136" y="14"/>
                    </a:lnTo>
                    <a:lnTo>
                      <a:pt x="128" y="20"/>
                    </a:lnTo>
                    <a:lnTo>
                      <a:pt x="124" y="28"/>
                    </a:lnTo>
                    <a:lnTo>
                      <a:pt x="120" y="36"/>
                    </a:lnTo>
                    <a:lnTo>
                      <a:pt x="118" y="44"/>
                    </a:lnTo>
                    <a:lnTo>
                      <a:pt x="116" y="60"/>
                    </a:lnTo>
                    <a:lnTo>
                      <a:pt x="118" y="72"/>
                    </a:lnTo>
                    <a:lnTo>
                      <a:pt x="120" y="82"/>
                    </a:lnTo>
                    <a:lnTo>
                      <a:pt x="118" y="84"/>
                    </a:lnTo>
                    <a:lnTo>
                      <a:pt x="116" y="92"/>
                    </a:lnTo>
                    <a:lnTo>
                      <a:pt x="116" y="98"/>
                    </a:lnTo>
                    <a:lnTo>
                      <a:pt x="118" y="106"/>
                    </a:lnTo>
                    <a:lnTo>
                      <a:pt x="122" y="116"/>
                    </a:lnTo>
                    <a:lnTo>
                      <a:pt x="130" y="126"/>
                    </a:lnTo>
                    <a:lnTo>
                      <a:pt x="132" y="128"/>
                    </a:lnTo>
                    <a:lnTo>
                      <a:pt x="134" y="130"/>
                    </a:lnTo>
                    <a:lnTo>
                      <a:pt x="136" y="136"/>
                    </a:lnTo>
                    <a:lnTo>
                      <a:pt x="138" y="152"/>
                    </a:lnTo>
                    <a:lnTo>
                      <a:pt x="140" y="158"/>
                    </a:lnTo>
                    <a:lnTo>
                      <a:pt x="138" y="164"/>
                    </a:lnTo>
                    <a:lnTo>
                      <a:pt x="134" y="168"/>
                    </a:lnTo>
                    <a:lnTo>
                      <a:pt x="126" y="174"/>
                    </a:lnTo>
                    <a:lnTo>
                      <a:pt x="112" y="186"/>
                    </a:lnTo>
                    <a:lnTo>
                      <a:pt x="102" y="192"/>
                    </a:lnTo>
                    <a:lnTo>
                      <a:pt x="90" y="198"/>
                    </a:lnTo>
                    <a:lnTo>
                      <a:pt x="70" y="204"/>
                    </a:lnTo>
                    <a:lnTo>
                      <a:pt x="62" y="208"/>
                    </a:lnTo>
                    <a:lnTo>
                      <a:pt x="52" y="212"/>
                    </a:lnTo>
                    <a:lnTo>
                      <a:pt x="46" y="216"/>
                    </a:lnTo>
                    <a:lnTo>
                      <a:pt x="42" y="222"/>
                    </a:lnTo>
                    <a:lnTo>
                      <a:pt x="38" y="228"/>
                    </a:lnTo>
                    <a:lnTo>
                      <a:pt x="36" y="236"/>
                    </a:lnTo>
                    <a:lnTo>
                      <a:pt x="32" y="274"/>
                    </a:lnTo>
                    <a:lnTo>
                      <a:pt x="30" y="302"/>
                    </a:lnTo>
                    <a:lnTo>
                      <a:pt x="24" y="392"/>
                    </a:lnTo>
                    <a:lnTo>
                      <a:pt x="18" y="448"/>
                    </a:lnTo>
                    <a:lnTo>
                      <a:pt x="14" y="482"/>
                    </a:lnTo>
                    <a:lnTo>
                      <a:pt x="10" y="514"/>
                    </a:lnTo>
                    <a:lnTo>
                      <a:pt x="8" y="540"/>
                    </a:lnTo>
                    <a:lnTo>
                      <a:pt x="6" y="566"/>
                    </a:lnTo>
                    <a:lnTo>
                      <a:pt x="4" y="588"/>
                    </a:lnTo>
                    <a:lnTo>
                      <a:pt x="6" y="594"/>
                    </a:lnTo>
                    <a:lnTo>
                      <a:pt x="8" y="598"/>
                    </a:lnTo>
                    <a:lnTo>
                      <a:pt x="12" y="598"/>
                    </a:lnTo>
                    <a:lnTo>
                      <a:pt x="4" y="616"/>
                    </a:lnTo>
                    <a:lnTo>
                      <a:pt x="2" y="626"/>
                    </a:lnTo>
                    <a:lnTo>
                      <a:pt x="0" y="638"/>
                    </a:lnTo>
                    <a:lnTo>
                      <a:pt x="2" y="650"/>
                    </a:lnTo>
                    <a:lnTo>
                      <a:pt x="6" y="660"/>
                    </a:lnTo>
                    <a:lnTo>
                      <a:pt x="14" y="670"/>
                    </a:lnTo>
                    <a:lnTo>
                      <a:pt x="26" y="676"/>
                    </a:lnTo>
                    <a:lnTo>
                      <a:pt x="36" y="680"/>
                    </a:lnTo>
                    <a:lnTo>
                      <a:pt x="40" y="680"/>
                    </a:lnTo>
                    <a:lnTo>
                      <a:pt x="42" y="678"/>
                    </a:lnTo>
                    <a:lnTo>
                      <a:pt x="42" y="674"/>
                    </a:lnTo>
                    <a:lnTo>
                      <a:pt x="38" y="670"/>
                    </a:lnTo>
                    <a:lnTo>
                      <a:pt x="36" y="664"/>
                    </a:lnTo>
                    <a:lnTo>
                      <a:pt x="34" y="660"/>
                    </a:lnTo>
                    <a:lnTo>
                      <a:pt x="34" y="654"/>
                    </a:lnTo>
                    <a:lnTo>
                      <a:pt x="36" y="650"/>
                    </a:lnTo>
                    <a:lnTo>
                      <a:pt x="34" y="644"/>
                    </a:lnTo>
                    <a:lnTo>
                      <a:pt x="34" y="636"/>
                    </a:lnTo>
                    <a:lnTo>
                      <a:pt x="38" y="628"/>
                    </a:lnTo>
                    <a:lnTo>
                      <a:pt x="40" y="622"/>
                    </a:lnTo>
                    <a:lnTo>
                      <a:pt x="38" y="616"/>
                    </a:lnTo>
                    <a:lnTo>
                      <a:pt x="38" y="612"/>
                    </a:lnTo>
                    <a:lnTo>
                      <a:pt x="38" y="608"/>
                    </a:lnTo>
                    <a:lnTo>
                      <a:pt x="40" y="606"/>
                    </a:lnTo>
                    <a:lnTo>
                      <a:pt x="42" y="604"/>
                    </a:lnTo>
                    <a:lnTo>
                      <a:pt x="44" y="604"/>
                    </a:lnTo>
                    <a:lnTo>
                      <a:pt x="48" y="602"/>
                    </a:lnTo>
                    <a:lnTo>
                      <a:pt x="50" y="596"/>
                    </a:lnTo>
                    <a:lnTo>
                      <a:pt x="50" y="594"/>
                    </a:lnTo>
                    <a:lnTo>
                      <a:pt x="58" y="534"/>
                    </a:lnTo>
                    <a:lnTo>
                      <a:pt x="56" y="568"/>
                    </a:lnTo>
                    <a:lnTo>
                      <a:pt x="56" y="578"/>
                    </a:lnTo>
                    <a:lnTo>
                      <a:pt x="56" y="586"/>
                    </a:lnTo>
                    <a:lnTo>
                      <a:pt x="60" y="598"/>
                    </a:lnTo>
                    <a:lnTo>
                      <a:pt x="62" y="612"/>
                    </a:lnTo>
                    <a:lnTo>
                      <a:pt x="62" y="644"/>
                    </a:lnTo>
                    <a:lnTo>
                      <a:pt x="64" y="686"/>
                    </a:lnTo>
                    <a:lnTo>
                      <a:pt x="70" y="758"/>
                    </a:lnTo>
                    <a:lnTo>
                      <a:pt x="76" y="832"/>
                    </a:lnTo>
                    <a:lnTo>
                      <a:pt x="78" y="876"/>
                    </a:lnTo>
                    <a:lnTo>
                      <a:pt x="80" y="948"/>
                    </a:lnTo>
                    <a:lnTo>
                      <a:pt x="80" y="990"/>
                    </a:lnTo>
                    <a:lnTo>
                      <a:pt x="76" y="1022"/>
                    </a:lnTo>
                    <a:lnTo>
                      <a:pt x="74" y="1044"/>
                    </a:lnTo>
                    <a:lnTo>
                      <a:pt x="72" y="1068"/>
                    </a:lnTo>
                    <a:lnTo>
                      <a:pt x="74" y="1088"/>
                    </a:lnTo>
                    <a:lnTo>
                      <a:pt x="76" y="1104"/>
                    </a:lnTo>
                    <a:lnTo>
                      <a:pt x="84" y="1124"/>
                    </a:lnTo>
                    <a:lnTo>
                      <a:pt x="86" y="1130"/>
                    </a:lnTo>
                    <a:lnTo>
                      <a:pt x="84" y="1134"/>
                    </a:lnTo>
                    <a:lnTo>
                      <a:pt x="66" y="1150"/>
                    </a:lnTo>
                    <a:lnTo>
                      <a:pt x="56" y="1162"/>
                    </a:lnTo>
                    <a:lnTo>
                      <a:pt x="54" y="1166"/>
                    </a:lnTo>
                    <a:lnTo>
                      <a:pt x="54" y="1170"/>
                    </a:lnTo>
                    <a:lnTo>
                      <a:pt x="56" y="1174"/>
                    </a:lnTo>
                    <a:lnTo>
                      <a:pt x="60" y="1176"/>
                    </a:lnTo>
                    <a:lnTo>
                      <a:pt x="72" y="1180"/>
                    </a:lnTo>
                    <a:lnTo>
                      <a:pt x="86" y="1180"/>
                    </a:lnTo>
                    <a:lnTo>
                      <a:pt x="102" y="1174"/>
                    </a:lnTo>
                    <a:lnTo>
                      <a:pt x="118" y="1168"/>
                    </a:lnTo>
                    <a:lnTo>
                      <a:pt x="134" y="1164"/>
                    </a:lnTo>
                    <a:lnTo>
                      <a:pt x="146" y="1160"/>
                    </a:lnTo>
                    <a:lnTo>
                      <a:pt x="150" y="1158"/>
                    </a:lnTo>
                    <a:lnTo>
                      <a:pt x="152" y="1156"/>
                    </a:lnTo>
                    <a:lnTo>
                      <a:pt x="152" y="1152"/>
                    </a:lnTo>
                    <a:lnTo>
                      <a:pt x="150" y="1146"/>
                    </a:lnTo>
                    <a:lnTo>
                      <a:pt x="148" y="1138"/>
                    </a:lnTo>
                    <a:lnTo>
                      <a:pt x="150" y="1130"/>
                    </a:lnTo>
                    <a:lnTo>
                      <a:pt x="154" y="1116"/>
                    </a:lnTo>
                    <a:lnTo>
                      <a:pt x="156" y="1106"/>
                    </a:lnTo>
                    <a:lnTo>
                      <a:pt x="156" y="1090"/>
                    </a:lnTo>
                    <a:lnTo>
                      <a:pt x="156" y="1052"/>
                    </a:lnTo>
                    <a:lnTo>
                      <a:pt x="156" y="984"/>
                    </a:lnTo>
                    <a:lnTo>
                      <a:pt x="158" y="920"/>
                    </a:lnTo>
                    <a:lnTo>
                      <a:pt x="162" y="886"/>
                    </a:lnTo>
                    <a:lnTo>
                      <a:pt x="164" y="868"/>
                    </a:lnTo>
                    <a:lnTo>
                      <a:pt x="168" y="840"/>
                    </a:lnTo>
                    <a:lnTo>
                      <a:pt x="174" y="772"/>
                    </a:lnTo>
                    <a:lnTo>
                      <a:pt x="178" y="706"/>
                    </a:lnTo>
                    <a:lnTo>
                      <a:pt x="178" y="666"/>
                    </a:lnTo>
                    <a:lnTo>
                      <a:pt x="178" y="624"/>
                    </a:lnTo>
                    <a:lnTo>
                      <a:pt x="182" y="650"/>
                    </a:lnTo>
                    <a:lnTo>
                      <a:pt x="190" y="714"/>
                    </a:lnTo>
                    <a:lnTo>
                      <a:pt x="194" y="756"/>
                    </a:lnTo>
                    <a:lnTo>
                      <a:pt x="196" y="800"/>
                    </a:lnTo>
                    <a:lnTo>
                      <a:pt x="200" y="840"/>
                    </a:lnTo>
                    <a:lnTo>
                      <a:pt x="204" y="878"/>
                    </a:lnTo>
                    <a:lnTo>
                      <a:pt x="206" y="914"/>
                    </a:lnTo>
                    <a:lnTo>
                      <a:pt x="208" y="954"/>
                    </a:lnTo>
                    <a:lnTo>
                      <a:pt x="206" y="1012"/>
                    </a:lnTo>
                    <a:lnTo>
                      <a:pt x="206" y="1040"/>
                    </a:lnTo>
                    <a:lnTo>
                      <a:pt x="206" y="1078"/>
                    </a:lnTo>
                    <a:lnTo>
                      <a:pt x="208" y="1096"/>
                    </a:lnTo>
                    <a:lnTo>
                      <a:pt x="208" y="1112"/>
                    </a:lnTo>
                    <a:lnTo>
                      <a:pt x="212" y="1124"/>
                    </a:lnTo>
                    <a:lnTo>
                      <a:pt x="214" y="1126"/>
                    </a:lnTo>
                    <a:lnTo>
                      <a:pt x="216" y="1128"/>
                    </a:lnTo>
                    <a:lnTo>
                      <a:pt x="218" y="1142"/>
                    </a:lnTo>
                    <a:lnTo>
                      <a:pt x="220" y="1154"/>
                    </a:lnTo>
                    <a:lnTo>
                      <a:pt x="222" y="1162"/>
                    </a:lnTo>
                    <a:lnTo>
                      <a:pt x="226" y="1172"/>
                    </a:lnTo>
                    <a:lnTo>
                      <a:pt x="234" y="1178"/>
                    </a:lnTo>
                    <a:lnTo>
                      <a:pt x="246" y="1184"/>
                    </a:lnTo>
                    <a:lnTo>
                      <a:pt x="252" y="1186"/>
                    </a:lnTo>
                    <a:lnTo>
                      <a:pt x="262" y="1186"/>
                    </a:lnTo>
                    <a:lnTo>
                      <a:pt x="282" y="1182"/>
                    </a:lnTo>
                    <a:lnTo>
                      <a:pt x="290" y="1178"/>
                    </a:lnTo>
                    <a:lnTo>
                      <a:pt x="292" y="1176"/>
                    </a:lnTo>
                    <a:lnTo>
                      <a:pt x="294" y="1174"/>
                    </a:lnTo>
                    <a:lnTo>
                      <a:pt x="292" y="1168"/>
                    </a:lnTo>
                    <a:lnTo>
                      <a:pt x="288" y="1162"/>
                    </a:lnTo>
                    <a:lnTo>
                      <a:pt x="276" y="1148"/>
                    </a:lnTo>
                    <a:lnTo>
                      <a:pt x="274" y="1142"/>
                    </a:lnTo>
                    <a:lnTo>
                      <a:pt x="274" y="1140"/>
                    </a:lnTo>
                    <a:lnTo>
                      <a:pt x="274" y="1138"/>
                    </a:lnTo>
                    <a:lnTo>
                      <a:pt x="280" y="1132"/>
                    </a:lnTo>
                    <a:lnTo>
                      <a:pt x="284" y="1130"/>
                    </a:lnTo>
                    <a:lnTo>
                      <a:pt x="288" y="1128"/>
                    </a:lnTo>
                    <a:lnTo>
                      <a:pt x="288" y="1122"/>
                    </a:lnTo>
                    <a:lnTo>
                      <a:pt x="286" y="936"/>
                    </a:lnTo>
                    <a:lnTo>
                      <a:pt x="288" y="864"/>
                    </a:lnTo>
                    <a:lnTo>
                      <a:pt x="288" y="834"/>
                    </a:lnTo>
                    <a:lnTo>
                      <a:pt x="286" y="810"/>
                    </a:lnTo>
                    <a:lnTo>
                      <a:pt x="286" y="780"/>
                    </a:lnTo>
                    <a:lnTo>
                      <a:pt x="288" y="738"/>
                    </a:lnTo>
                    <a:lnTo>
                      <a:pt x="290" y="660"/>
                    </a:lnTo>
                    <a:lnTo>
                      <a:pt x="290" y="602"/>
                    </a:lnTo>
                    <a:lnTo>
                      <a:pt x="304" y="598"/>
                    </a:lnTo>
                    <a:lnTo>
                      <a:pt x="314" y="590"/>
                    </a:lnTo>
                    <a:lnTo>
                      <a:pt x="322" y="582"/>
                    </a:lnTo>
                    <a:lnTo>
                      <a:pt x="326" y="572"/>
                    </a:lnTo>
                    <a:lnTo>
                      <a:pt x="330" y="564"/>
                    </a:lnTo>
                    <a:lnTo>
                      <a:pt x="330" y="556"/>
                    </a:lnTo>
                    <a:lnTo>
                      <a:pt x="330" y="544"/>
                    </a:lnTo>
                    <a:lnTo>
                      <a:pt x="332" y="536"/>
                    </a:lnTo>
                    <a:lnTo>
                      <a:pt x="334" y="530"/>
                    </a:lnTo>
                    <a:lnTo>
                      <a:pt x="338" y="526"/>
                    </a:lnTo>
                    <a:lnTo>
                      <a:pt x="340" y="526"/>
                    </a:lnTo>
                    <a:lnTo>
                      <a:pt x="344" y="526"/>
                    </a:lnTo>
                    <a:lnTo>
                      <a:pt x="346" y="526"/>
                    </a:lnTo>
                    <a:lnTo>
                      <a:pt x="348" y="524"/>
                    </a:lnTo>
                    <a:lnTo>
                      <a:pt x="352" y="514"/>
                    </a:lnTo>
                    <a:lnTo>
                      <a:pt x="354" y="502"/>
                    </a:lnTo>
                    <a:lnTo>
                      <a:pt x="356" y="492"/>
                    </a:lnTo>
                    <a:lnTo>
                      <a:pt x="358" y="454"/>
                    </a:lnTo>
                    <a:lnTo>
                      <a:pt x="362" y="416"/>
                    </a:lnTo>
                    <a:lnTo>
                      <a:pt x="364" y="396"/>
                    </a:lnTo>
                    <a:lnTo>
                      <a:pt x="362" y="382"/>
                    </a:lnTo>
                    <a:lnTo>
                      <a:pt x="356" y="362"/>
                    </a:lnTo>
                    <a:lnTo>
                      <a:pt x="350" y="33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>
                  <a:latin typeface="+mn-lt"/>
                  <a:ea typeface="+mn-ea"/>
                </a:endParaRPr>
              </a:p>
            </p:txBody>
          </p:sp>
          <p:sp>
            <p:nvSpPr>
              <p:cNvPr id="48" name="Freeform 127"/>
              <p:cNvSpPr>
                <a:spLocks/>
              </p:cNvSpPr>
              <p:nvPr/>
            </p:nvSpPr>
            <p:spPr bwMode="auto">
              <a:xfrm>
                <a:off x="3016156" y="1924561"/>
                <a:ext cx="209678" cy="353852"/>
              </a:xfrm>
              <a:custGeom>
                <a:avLst/>
                <a:gdLst>
                  <a:gd name="T0" fmla="*/ 0 w 102"/>
                  <a:gd name="T1" fmla="*/ 2147483647 h 172"/>
                  <a:gd name="T2" fmla="*/ 0 w 102"/>
                  <a:gd name="T3" fmla="*/ 2147483647 h 172"/>
                  <a:gd name="T4" fmla="*/ 2147483647 w 102"/>
                  <a:gd name="T5" fmla="*/ 2147483647 h 172"/>
                  <a:gd name="T6" fmla="*/ 2147483647 w 102"/>
                  <a:gd name="T7" fmla="*/ 2147483647 h 172"/>
                  <a:gd name="T8" fmla="*/ 2147483647 w 102"/>
                  <a:gd name="T9" fmla="*/ 2147483647 h 172"/>
                  <a:gd name="T10" fmla="*/ 2147483647 w 102"/>
                  <a:gd name="T11" fmla="*/ 2147483647 h 172"/>
                  <a:gd name="T12" fmla="*/ 2147483647 w 102"/>
                  <a:gd name="T13" fmla="*/ 2147483647 h 172"/>
                  <a:gd name="T14" fmla="*/ 2147483647 w 102"/>
                  <a:gd name="T15" fmla="*/ 2147483647 h 172"/>
                  <a:gd name="T16" fmla="*/ 2147483647 w 102"/>
                  <a:gd name="T17" fmla="*/ 2147483647 h 172"/>
                  <a:gd name="T18" fmla="*/ 2147483647 w 102"/>
                  <a:gd name="T19" fmla="*/ 2147483647 h 172"/>
                  <a:gd name="T20" fmla="*/ 2147483647 w 102"/>
                  <a:gd name="T21" fmla="*/ 2147483647 h 172"/>
                  <a:gd name="T22" fmla="*/ 2147483647 w 102"/>
                  <a:gd name="T23" fmla="*/ 2147483647 h 172"/>
                  <a:gd name="T24" fmla="*/ 2147483647 w 102"/>
                  <a:gd name="T25" fmla="*/ 2147483647 h 172"/>
                  <a:gd name="T26" fmla="*/ 2147483647 w 102"/>
                  <a:gd name="T27" fmla="*/ 2147483647 h 172"/>
                  <a:gd name="T28" fmla="*/ 2147483647 w 102"/>
                  <a:gd name="T29" fmla="*/ 2147483647 h 172"/>
                  <a:gd name="T30" fmla="*/ 2147483647 w 102"/>
                  <a:gd name="T31" fmla="*/ 2147483647 h 172"/>
                  <a:gd name="T32" fmla="*/ 2147483647 w 102"/>
                  <a:gd name="T33" fmla="*/ 2147483647 h 172"/>
                  <a:gd name="T34" fmla="*/ 2147483647 w 102"/>
                  <a:gd name="T35" fmla="*/ 2147483647 h 172"/>
                  <a:gd name="T36" fmla="*/ 2147483647 w 102"/>
                  <a:gd name="T37" fmla="*/ 2147483647 h 172"/>
                  <a:gd name="T38" fmla="*/ 2147483647 w 102"/>
                  <a:gd name="T39" fmla="*/ 2147483647 h 172"/>
                  <a:gd name="T40" fmla="*/ 2147483647 w 102"/>
                  <a:gd name="T41" fmla="*/ 2147483647 h 172"/>
                  <a:gd name="T42" fmla="*/ 2147483647 w 102"/>
                  <a:gd name="T43" fmla="*/ 2147483647 h 172"/>
                  <a:gd name="T44" fmla="*/ 2147483647 w 102"/>
                  <a:gd name="T45" fmla="*/ 2147483647 h 172"/>
                  <a:gd name="T46" fmla="*/ 2147483647 w 102"/>
                  <a:gd name="T47" fmla="*/ 2147483647 h 172"/>
                  <a:gd name="T48" fmla="*/ 2147483647 w 102"/>
                  <a:gd name="T49" fmla="*/ 2147483647 h 172"/>
                  <a:gd name="T50" fmla="*/ 2147483647 w 102"/>
                  <a:gd name="T51" fmla="*/ 0 h 172"/>
                  <a:gd name="T52" fmla="*/ 2147483647 w 102"/>
                  <a:gd name="T53" fmla="*/ 0 h 172"/>
                  <a:gd name="T54" fmla="*/ 2147483647 w 102"/>
                  <a:gd name="T55" fmla="*/ 0 h 172"/>
                  <a:gd name="T56" fmla="*/ 2147483647 w 102"/>
                  <a:gd name="T57" fmla="*/ 2147483647 h 172"/>
                  <a:gd name="T58" fmla="*/ 2147483647 w 102"/>
                  <a:gd name="T59" fmla="*/ 2147483647 h 172"/>
                  <a:gd name="T60" fmla="*/ 2147483647 w 102"/>
                  <a:gd name="T61" fmla="*/ 2147483647 h 172"/>
                  <a:gd name="T62" fmla="*/ 2147483647 w 102"/>
                  <a:gd name="T63" fmla="*/ 2147483647 h 172"/>
                  <a:gd name="T64" fmla="*/ 2147483647 w 102"/>
                  <a:gd name="T65" fmla="*/ 2147483647 h 172"/>
                  <a:gd name="T66" fmla="*/ 2147483647 w 102"/>
                  <a:gd name="T67" fmla="*/ 2147483647 h 172"/>
                  <a:gd name="T68" fmla="*/ 2147483647 w 102"/>
                  <a:gd name="T69" fmla="*/ 2147483647 h 172"/>
                  <a:gd name="T70" fmla="*/ 2147483647 w 102"/>
                  <a:gd name="T71" fmla="*/ 2147483647 h 172"/>
                  <a:gd name="T72" fmla="*/ 2147483647 w 102"/>
                  <a:gd name="T73" fmla="*/ 2147483647 h 172"/>
                  <a:gd name="T74" fmla="*/ 2147483647 w 102"/>
                  <a:gd name="T75" fmla="*/ 2147483647 h 172"/>
                  <a:gd name="T76" fmla="*/ 2147483647 w 102"/>
                  <a:gd name="T77" fmla="*/ 2147483647 h 172"/>
                  <a:gd name="T78" fmla="*/ 2147483647 w 102"/>
                  <a:gd name="T79" fmla="*/ 2147483647 h 172"/>
                  <a:gd name="T80" fmla="*/ 2147483647 w 102"/>
                  <a:gd name="T81" fmla="*/ 2147483647 h 172"/>
                  <a:gd name="T82" fmla="*/ 2147483647 w 102"/>
                  <a:gd name="T83" fmla="*/ 2147483647 h 172"/>
                  <a:gd name="T84" fmla="*/ 0 w 102"/>
                  <a:gd name="T85" fmla="*/ 2147483647 h 17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02"/>
                  <a:gd name="T130" fmla="*/ 0 h 172"/>
                  <a:gd name="T131" fmla="*/ 102 w 102"/>
                  <a:gd name="T132" fmla="*/ 172 h 17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02" h="172">
                    <a:moveTo>
                      <a:pt x="0" y="14"/>
                    </a:moveTo>
                    <a:lnTo>
                      <a:pt x="0" y="14"/>
                    </a:lnTo>
                    <a:lnTo>
                      <a:pt x="2" y="22"/>
                    </a:lnTo>
                    <a:lnTo>
                      <a:pt x="4" y="32"/>
                    </a:lnTo>
                    <a:lnTo>
                      <a:pt x="8" y="42"/>
                    </a:lnTo>
                    <a:lnTo>
                      <a:pt x="12" y="66"/>
                    </a:lnTo>
                    <a:lnTo>
                      <a:pt x="18" y="106"/>
                    </a:lnTo>
                    <a:lnTo>
                      <a:pt x="24" y="126"/>
                    </a:lnTo>
                    <a:lnTo>
                      <a:pt x="30" y="146"/>
                    </a:lnTo>
                    <a:lnTo>
                      <a:pt x="38" y="162"/>
                    </a:lnTo>
                    <a:lnTo>
                      <a:pt x="42" y="168"/>
                    </a:lnTo>
                    <a:lnTo>
                      <a:pt x="46" y="172"/>
                    </a:lnTo>
                    <a:lnTo>
                      <a:pt x="64" y="144"/>
                    </a:lnTo>
                    <a:lnTo>
                      <a:pt x="78" y="118"/>
                    </a:lnTo>
                    <a:lnTo>
                      <a:pt x="90" y="94"/>
                    </a:lnTo>
                    <a:lnTo>
                      <a:pt x="98" y="72"/>
                    </a:lnTo>
                    <a:lnTo>
                      <a:pt x="102" y="52"/>
                    </a:lnTo>
                    <a:lnTo>
                      <a:pt x="102" y="34"/>
                    </a:lnTo>
                    <a:lnTo>
                      <a:pt x="100" y="16"/>
                    </a:lnTo>
                    <a:lnTo>
                      <a:pt x="100" y="10"/>
                    </a:lnTo>
                    <a:lnTo>
                      <a:pt x="96" y="6"/>
                    </a:lnTo>
                    <a:lnTo>
                      <a:pt x="90" y="0"/>
                    </a:lnTo>
                    <a:lnTo>
                      <a:pt x="88" y="0"/>
                    </a:lnTo>
                    <a:lnTo>
                      <a:pt x="88" y="2"/>
                    </a:lnTo>
                    <a:lnTo>
                      <a:pt x="86" y="6"/>
                    </a:lnTo>
                    <a:lnTo>
                      <a:pt x="86" y="14"/>
                    </a:lnTo>
                    <a:lnTo>
                      <a:pt x="82" y="20"/>
                    </a:lnTo>
                    <a:lnTo>
                      <a:pt x="74" y="30"/>
                    </a:lnTo>
                    <a:lnTo>
                      <a:pt x="66" y="34"/>
                    </a:lnTo>
                    <a:lnTo>
                      <a:pt x="56" y="38"/>
                    </a:lnTo>
                    <a:lnTo>
                      <a:pt x="44" y="38"/>
                    </a:lnTo>
                    <a:lnTo>
                      <a:pt x="32" y="34"/>
                    </a:lnTo>
                    <a:lnTo>
                      <a:pt x="20" y="26"/>
                    </a:lnTo>
                    <a:lnTo>
                      <a:pt x="12" y="16"/>
                    </a:lnTo>
                    <a:lnTo>
                      <a:pt x="6" y="6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id-ID">
                  <a:latin typeface="+mn-lt"/>
                  <a:ea typeface="+mn-ea"/>
                </a:endParaRPr>
              </a:p>
            </p:txBody>
          </p:sp>
          <p:sp>
            <p:nvSpPr>
              <p:cNvPr id="49" name="Freeform 128"/>
              <p:cNvSpPr>
                <a:spLocks/>
              </p:cNvSpPr>
              <p:nvPr/>
            </p:nvSpPr>
            <p:spPr bwMode="auto">
              <a:xfrm>
                <a:off x="3086212" y="2004729"/>
                <a:ext cx="69709" cy="284265"/>
              </a:xfrm>
              <a:custGeom>
                <a:avLst/>
                <a:gdLst>
                  <a:gd name="T0" fmla="*/ 2147483647 w 30"/>
                  <a:gd name="T1" fmla="*/ 2147483647 h 136"/>
                  <a:gd name="T2" fmla="*/ 2147483647 w 30"/>
                  <a:gd name="T3" fmla="*/ 2147483647 h 136"/>
                  <a:gd name="T4" fmla="*/ 2147483647 w 30"/>
                  <a:gd name="T5" fmla="*/ 2147483647 h 136"/>
                  <a:gd name="T6" fmla="*/ 0 w 30"/>
                  <a:gd name="T7" fmla="*/ 2147483647 h 136"/>
                  <a:gd name="T8" fmla="*/ 2147483647 w 30"/>
                  <a:gd name="T9" fmla="*/ 2147483647 h 136"/>
                  <a:gd name="T10" fmla="*/ 2147483647 w 30"/>
                  <a:gd name="T11" fmla="*/ 2147483647 h 136"/>
                  <a:gd name="T12" fmla="*/ 2147483647 w 30"/>
                  <a:gd name="T13" fmla="*/ 2147483647 h 136"/>
                  <a:gd name="T14" fmla="*/ 2147483647 w 30"/>
                  <a:gd name="T15" fmla="*/ 2147483647 h 136"/>
                  <a:gd name="T16" fmla="*/ 2147483647 w 30"/>
                  <a:gd name="T17" fmla="*/ 2147483647 h 136"/>
                  <a:gd name="T18" fmla="*/ 2147483647 w 30"/>
                  <a:gd name="T19" fmla="*/ 2147483647 h 136"/>
                  <a:gd name="T20" fmla="*/ 2147483647 w 30"/>
                  <a:gd name="T21" fmla="*/ 2147483647 h 136"/>
                  <a:gd name="T22" fmla="*/ 2147483647 w 30"/>
                  <a:gd name="T23" fmla="*/ 2147483647 h 136"/>
                  <a:gd name="T24" fmla="*/ 0 w 30"/>
                  <a:gd name="T25" fmla="*/ 2147483647 h 136"/>
                  <a:gd name="T26" fmla="*/ 0 w 30"/>
                  <a:gd name="T27" fmla="*/ 2147483647 h 136"/>
                  <a:gd name="T28" fmla="*/ 0 w 30"/>
                  <a:gd name="T29" fmla="*/ 2147483647 h 136"/>
                  <a:gd name="T30" fmla="*/ 2147483647 w 30"/>
                  <a:gd name="T31" fmla="*/ 2147483647 h 136"/>
                  <a:gd name="T32" fmla="*/ 2147483647 w 30"/>
                  <a:gd name="T33" fmla="*/ 0 h 136"/>
                  <a:gd name="T34" fmla="*/ 2147483647 w 30"/>
                  <a:gd name="T35" fmla="*/ 0 h 136"/>
                  <a:gd name="T36" fmla="*/ 2147483647 w 30"/>
                  <a:gd name="T37" fmla="*/ 2147483647 h 136"/>
                  <a:gd name="T38" fmla="*/ 2147483647 w 30"/>
                  <a:gd name="T39" fmla="*/ 2147483647 h 136"/>
                  <a:gd name="T40" fmla="*/ 2147483647 w 30"/>
                  <a:gd name="T41" fmla="*/ 2147483647 h 136"/>
                  <a:gd name="T42" fmla="*/ 2147483647 w 30"/>
                  <a:gd name="T43" fmla="*/ 2147483647 h 136"/>
                  <a:gd name="T44" fmla="*/ 2147483647 w 30"/>
                  <a:gd name="T45" fmla="*/ 2147483647 h 136"/>
                  <a:gd name="T46" fmla="*/ 2147483647 w 30"/>
                  <a:gd name="T47" fmla="*/ 2147483647 h 136"/>
                  <a:gd name="T48" fmla="*/ 2147483647 w 30"/>
                  <a:gd name="T49" fmla="*/ 2147483647 h 136"/>
                  <a:gd name="T50" fmla="*/ 2147483647 w 30"/>
                  <a:gd name="T51" fmla="*/ 2147483647 h 136"/>
                  <a:gd name="T52" fmla="*/ 2147483647 w 30"/>
                  <a:gd name="T53" fmla="*/ 2147483647 h 136"/>
                  <a:gd name="T54" fmla="*/ 2147483647 w 30"/>
                  <a:gd name="T55" fmla="*/ 2147483647 h 136"/>
                  <a:gd name="T56" fmla="*/ 2147483647 w 30"/>
                  <a:gd name="T57" fmla="*/ 2147483647 h 136"/>
                  <a:gd name="T58" fmla="*/ 2147483647 w 30"/>
                  <a:gd name="T59" fmla="*/ 2147483647 h 136"/>
                  <a:gd name="T60" fmla="*/ 2147483647 w 30"/>
                  <a:gd name="T61" fmla="*/ 2147483647 h 136"/>
                  <a:gd name="T62" fmla="*/ 2147483647 w 30"/>
                  <a:gd name="T63" fmla="*/ 2147483647 h 136"/>
                  <a:gd name="T64" fmla="*/ 2147483647 w 30"/>
                  <a:gd name="T65" fmla="*/ 2147483647 h 136"/>
                  <a:gd name="T66" fmla="*/ 2147483647 w 30"/>
                  <a:gd name="T67" fmla="*/ 2147483647 h 136"/>
                  <a:gd name="T68" fmla="*/ 2147483647 w 30"/>
                  <a:gd name="T69" fmla="*/ 2147483647 h 136"/>
                  <a:gd name="T70" fmla="*/ 2147483647 w 30"/>
                  <a:gd name="T71" fmla="*/ 2147483647 h 136"/>
                  <a:gd name="T72" fmla="*/ 2147483647 w 30"/>
                  <a:gd name="T73" fmla="*/ 2147483647 h 1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30"/>
                  <a:gd name="T112" fmla="*/ 0 h 136"/>
                  <a:gd name="T113" fmla="*/ 30 w 30"/>
                  <a:gd name="T114" fmla="*/ 136 h 1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30" h="136">
                    <a:moveTo>
                      <a:pt x="4" y="134"/>
                    </a:moveTo>
                    <a:lnTo>
                      <a:pt x="4" y="134"/>
                    </a:lnTo>
                    <a:lnTo>
                      <a:pt x="2" y="124"/>
                    </a:lnTo>
                    <a:lnTo>
                      <a:pt x="0" y="104"/>
                    </a:lnTo>
                    <a:lnTo>
                      <a:pt x="2" y="62"/>
                    </a:lnTo>
                    <a:lnTo>
                      <a:pt x="2" y="50"/>
                    </a:lnTo>
                    <a:lnTo>
                      <a:pt x="6" y="40"/>
                    </a:lnTo>
                    <a:lnTo>
                      <a:pt x="10" y="28"/>
                    </a:lnTo>
                    <a:lnTo>
                      <a:pt x="8" y="24"/>
                    </a:lnTo>
                    <a:lnTo>
                      <a:pt x="6" y="1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14" y="0"/>
                    </a:lnTo>
                    <a:lnTo>
                      <a:pt x="18" y="2"/>
                    </a:lnTo>
                    <a:lnTo>
                      <a:pt x="22" y="4"/>
                    </a:lnTo>
                    <a:lnTo>
                      <a:pt x="26" y="8"/>
                    </a:lnTo>
                    <a:lnTo>
                      <a:pt x="24" y="14"/>
                    </a:lnTo>
                    <a:lnTo>
                      <a:pt x="20" y="20"/>
                    </a:lnTo>
                    <a:lnTo>
                      <a:pt x="20" y="24"/>
                    </a:lnTo>
                    <a:lnTo>
                      <a:pt x="20" y="28"/>
                    </a:lnTo>
                    <a:lnTo>
                      <a:pt x="26" y="66"/>
                    </a:lnTo>
                    <a:lnTo>
                      <a:pt x="30" y="104"/>
                    </a:lnTo>
                    <a:lnTo>
                      <a:pt x="28" y="114"/>
                    </a:lnTo>
                    <a:lnTo>
                      <a:pt x="22" y="126"/>
                    </a:lnTo>
                    <a:lnTo>
                      <a:pt x="18" y="132"/>
                    </a:lnTo>
                    <a:lnTo>
                      <a:pt x="14" y="134"/>
                    </a:lnTo>
                    <a:lnTo>
                      <a:pt x="8" y="136"/>
                    </a:lnTo>
                    <a:lnTo>
                      <a:pt x="4" y="1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>
                  <a:latin typeface="+mn-lt"/>
                  <a:ea typeface="+mn-ea"/>
                </a:endParaRPr>
              </a:p>
            </p:txBody>
          </p:sp>
        </p:grpSp>
        <p:sp>
          <p:nvSpPr>
            <p:cNvPr id="46" name="Freeform 5"/>
            <p:cNvSpPr>
              <a:spLocks noEditPoints="1"/>
            </p:cNvSpPr>
            <p:nvPr/>
          </p:nvSpPr>
          <p:spPr bwMode="auto">
            <a:xfrm>
              <a:off x="3362833" y="1943545"/>
              <a:ext cx="205740" cy="641299"/>
            </a:xfrm>
            <a:custGeom>
              <a:avLst/>
              <a:gdLst/>
              <a:ahLst/>
              <a:cxnLst>
                <a:cxn ang="0">
                  <a:pos x="463" y="788"/>
                </a:cxn>
                <a:cxn ang="0">
                  <a:pos x="470" y="944"/>
                </a:cxn>
                <a:cxn ang="0">
                  <a:pos x="497" y="1404"/>
                </a:cxn>
                <a:cxn ang="0">
                  <a:pos x="485" y="1473"/>
                </a:cxn>
                <a:cxn ang="0">
                  <a:pos x="509" y="1592"/>
                </a:cxn>
                <a:cxn ang="0">
                  <a:pos x="386" y="1521"/>
                </a:cxn>
                <a:cxn ang="0">
                  <a:pos x="349" y="1293"/>
                </a:cxn>
                <a:cxn ang="0">
                  <a:pos x="354" y="1113"/>
                </a:cxn>
                <a:cxn ang="0">
                  <a:pos x="301" y="973"/>
                </a:cxn>
                <a:cxn ang="0">
                  <a:pos x="279" y="1144"/>
                </a:cxn>
                <a:cxn ang="0">
                  <a:pos x="283" y="1349"/>
                </a:cxn>
                <a:cxn ang="0">
                  <a:pos x="308" y="1501"/>
                </a:cxn>
                <a:cxn ang="0">
                  <a:pos x="290" y="1540"/>
                </a:cxn>
                <a:cxn ang="0">
                  <a:pos x="270" y="1579"/>
                </a:cxn>
                <a:cxn ang="0">
                  <a:pos x="196" y="1603"/>
                </a:cxn>
                <a:cxn ang="0">
                  <a:pos x="192" y="1541"/>
                </a:cxn>
                <a:cxn ang="0">
                  <a:pos x="176" y="1433"/>
                </a:cxn>
                <a:cxn ang="0">
                  <a:pos x="171" y="1303"/>
                </a:cxn>
                <a:cxn ang="0">
                  <a:pos x="138" y="1082"/>
                </a:cxn>
                <a:cxn ang="0">
                  <a:pos x="115" y="941"/>
                </a:cxn>
                <a:cxn ang="0">
                  <a:pos x="24" y="874"/>
                </a:cxn>
                <a:cxn ang="0">
                  <a:pos x="14" y="848"/>
                </a:cxn>
                <a:cxn ang="0">
                  <a:pos x="11" y="479"/>
                </a:cxn>
                <a:cxn ang="0">
                  <a:pos x="108" y="264"/>
                </a:cxn>
                <a:cxn ang="0">
                  <a:pos x="176" y="217"/>
                </a:cxn>
                <a:cxn ang="0">
                  <a:pos x="159" y="156"/>
                </a:cxn>
                <a:cxn ang="0">
                  <a:pos x="146" y="92"/>
                </a:cxn>
                <a:cxn ang="0">
                  <a:pos x="295" y="92"/>
                </a:cxn>
                <a:cxn ang="0">
                  <a:pos x="293" y="144"/>
                </a:cxn>
                <a:cxn ang="0">
                  <a:pos x="283" y="172"/>
                </a:cxn>
                <a:cxn ang="0">
                  <a:pos x="304" y="231"/>
                </a:cxn>
                <a:cxn ang="0">
                  <a:pos x="409" y="260"/>
                </a:cxn>
                <a:cxn ang="0">
                  <a:pos x="457" y="306"/>
                </a:cxn>
                <a:cxn ang="0">
                  <a:pos x="472" y="389"/>
                </a:cxn>
                <a:cxn ang="0">
                  <a:pos x="494" y="532"/>
                </a:cxn>
                <a:cxn ang="0">
                  <a:pos x="500" y="582"/>
                </a:cxn>
                <a:cxn ang="0">
                  <a:pos x="498" y="634"/>
                </a:cxn>
                <a:cxn ang="0">
                  <a:pos x="475" y="785"/>
                </a:cxn>
                <a:cxn ang="0">
                  <a:pos x="193" y="359"/>
                </a:cxn>
                <a:cxn ang="0">
                  <a:pos x="383" y="694"/>
                </a:cxn>
                <a:cxn ang="0">
                  <a:pos x="324" y="529"/>
                </a:cxn>
                <a:cxn ang="0">
                  <a:pos x="299" y="423"/>
                </a:cxn>
                <a:cxn ang="0">
                  <a:pos x="281" y="220"/>
                </a:cxn>
                <a:cxn ang="0">
                  <a:pos x="244" y="305"/>
                </a:cxn>
                <a:cxn ang="0">
                  <a:pos x="201" y="258"/>
                </a:cxn>
                <a:cxn ang="0">
                  <a:pos x="179" y="220"/>
                </a:cxn>
              </a:cxnLst>
              <a:rect l="0" t="0" r="r" b="b"/>
              <a:pathLst>
                <a:path w="516" h="1608">
                  <a:moveTo>
                    <a:pt x="475" y="785"/>
                  </a:moveTo>
                  <a:cubicBezTo>
                    <a:pt x="474" y="788"/>
                    <a:pt x="466" y="786"/>
                    <a:pt x="463" y="788"/>
                  </a:cubicBezTo>
                  <a:cubicBezTo>
                    <a:pt x="468" y="818"/>
                    <a:pt x="460" y="848"/>
                    <a:pt x="460" y="873"/>
                  </a:cubicBezTo>
                  <a:cubicBezTo>
                    <a:pt x="459" y="895"/>
                    <a:pt x="466" y="920"/>
                    <a:pt x="470" y="944"/>
                  </a:cubicBezTo>
                  <a:cubicBezTo>
                    <a:pt x="481" y="1012"/>
                    <a:pt x="494" y="1085"/>
                    <a:pt x="496" y="1161"/>
                  </a:cubicBezTo>
                  <a:cubicBezTo>
                    <a:pt x="497" y="1241"/>
                    <a:pt x="497" y="1324"/>
                    <a:pt x="497" y="1404"/>
                  </a:cubicBezTo>
                  <a:cubicBezTo>
                    <a:pt x="497" y="1418"/>
                    <a:pt x="496" y="1430"/>
                    <a:pt x="494" y="1442"/>
                  </a:cubicBezTo>
                  <a:cubicBezTo>
                    <a:pt x="492" y="1453"/>
                    <a:pt x="486" y="1462"/>
                    <a:pt x="485" y="1473"/>
                  </a:cubicBezTo>
                  <a:cubicBezTo>
                    <a:pt x="482" y="1490"/>
                    <a:pt x="485" y="1509"/>
                    <a:pt x="473" y="1516"/>
                  </a:cubicBezTo>
                  <a:cubicBezTo>
                    <a:pt x="477" y="1549"/>
                    <a:pt x="516" y="1552"/>
                    <a:pt x="509" y="1592"/>
                  </a:cubicBezTo>
                  <a:cubicBezTo>
                    <a:pt x="483" y="1606"/>
                    <a:pt x="422" y="1608"/>
                    <a:pt x="417" y="1575"/>
                  </a:cubicBezTo>
                  <a:cubicBezTo>
                    <a:pt x="383" y="1580"/>
                    <a:pt x="386" y="1549"/>
                    <a:pt x="386" y="1521"/>
                  </a:cubicBezTo>
                  <a:cubicBezTo>
                    <a:pt x="387" y="1516"/>
                    <a:pt x="377" y="1520"/>
                    <a:pt x="376" y="1516"/>
                  </a:cubicBezTo>
                  <a:cubicBezTo>
                    <a:pt x="352" y="1460"/>
                    <a:pt x="350" y="1375"/>
                    <a:pt x="349" y="1293"/>
                  </a:cubicBezTo>
                  <a:cubicBezTo>
                    <a:pt x="349" y="1248"/>
                    <a:pt x="349" y="1201"/>
                    <a:pt x="351" y="1156"/>
                  </a:cubicBezTo>
                  <a:cubicBezTo>
                    <a:pt x="352" y="1142"/>
                    <a:pt x="355" y="1126"/>
                    <a:pt x="354" y="1113"/>
                  </a:cubicBezTo>
                  <a:cubicBezTo>
                    <a:pt x="353" y="1107"/>
                    <a:pt x="349" y="1097"/>
                    <a:pt x="346" y="1089"/>
                  </a:cubicBezTo>
                  <a:cubicBezTo>
                    <a:pt x="331" y="1049"/>
                    <a:pt x="316" y="1011"/>
                    <a:pt x="301" y="973"/>
                  </a:cubicBezTo>
                  <a:cubicBezTo>
                    <a:pt x="295" y="958"/>
                    <a:pt x="292" y="940"/>
                    <a:pt x="278" y="932"/>
                  </a:cubicBezTo>
                  <a:cubicBezTo>
                    <a:pt x="281" y="1000"/>
                    <a:pt x="279" y="1072"/>
                    <a:pt x="279" y="1144"/>
                  </a:cubicBezTo>
                  <a:cubicBezTo>
                    <a:pt x="279" y="1179"/>
                    <a:pt x="275" y="1213"/>
                    <a:pt x="277" y="1247"/>
                  </a:cubicBezTo>
                  <a:cubicBezTo>
                    <a:pt x="279" y="1282"/>
                    <a:pt x="278" y="1317"/>
                    <a:pt x="283" y="1349"/>
                  </a:cubicBezTo>
                  <a:cubicBezTo>
                    <a:pt x="287" y="1370"/>
                    <a:pt x="293" y="1391"/>
                    <a:pt x="298" y="1412"/>
                  </a:cubicBezTo>
                  <a:cubicBezTo>
                    <a:pt x="305" y="1442"/>
                    <a:pt x="312" y="1467"/>
                    <a:pt x="308" y="1501"/>
                  </a:cubicBezTo>
                  <a:cubicBezTo>
                    <a:pt x="307" y="1508"/>
                    <a:pt x="306" y="1518"/>
                    <a:pt x="304" y="1523"/>
                  </a:cubicBezTo>
                  <a:cubicBezTo>
                    <a:pt x="301" y="1530"/>
                    <a:pt x="292" y="1533"/>
                    <a:pt x="290" y="1540"/>
                  </a:cubicBezTo>
                  <a:cubicBezTo>
                    <a:pt x="287" y="1550"/>
                    <a:pt x="292" y="1563"/>
                    <a:pt x="287" y="1572"/>
                  </a:cubicBezTo>
                  <a:cubicBezTo>
                    <a:pt x="283" y="1577"/>
                    <a:pt x="277" y="1577"/>
                    <a:pt x="270" y="1579"/>
                  </a:cubicBezTo>
                  <a:cubicBezTo>
                    <a:pt x="256" y="1586"/>
                    <a:pt x="238" y="1602"/>
                    <a:pt x="224" y="1605"/>
                  </a:cubicBezTo>
                  <a:cubicBezTo>
                    <a:pt x="216" y="1606"/>
                    <a:pt x="206" y="1603"/>
                    <a:pt x="196" y="1603"/>
                  </a:cubicBezTo>
                  <a:cubicBezTo>
                    <a:pt x="178" y="1601"/>
                    <a:pt x="164" y="1602"/>
                    <a:pt x="166" y="1580"/>
                  </a:cubicBezTo>
                  <a:cubicBezTo>
                    <a:pt x="167" y="1564"/>
                    <a:pt x="186" y="1552"/>
                    <a:pt x="192" y="1541"/>
                  </a:cubicBezTo>
                  <a:cubicBezTo>
                    <a:pt x="201" y="1522"/>
                    <a:pt x="199" y="1480"/>
                    <a:pt x="191" y="1458"/>
                  </a:cubicBezTo>
                  <a:cubicBezTo>
                    <a:pt x="187" y="1449"/>
                    <a:pt x="178" y="1442"/>
                    <a:pt x="176" y="1433"/>
                  </a:cubicBezTo>
                  <a:cubicBezTo>
                    <a:pt x="171" y="1415"/>
                    <a:pt x="172" y="1388"/>
                    <a:pt x="173" y="1366"/>
                  </a:cubicBezTo>
                  <a:cubicBezTo>
                    <a:pt x="174" y="1344"/>
                    <a:pt x="173" y="1323"/>
                    <a:pt x="171" y="1303"/>
                  </a:cubicBezTo>
                  <a:cubicBezTo>
                    <a:pt x="167" y="1261"/>
                    <a:pt x="165" y="1218"/>
                    <a:pt x="161" y="1176"/>
                  </a:cubicBezTo>
                  <a:cubicBezTo>
                    <a:pt x="158" y="1143"/>
                    <a:pt x="145" y="1112"/>
                    <a:pt x="138" y="1082"/>
                  </a:cubicBezTo>
                  <a:cubicBezTo>
                    <a:pt x="134" y="1067"/>
                    <a:pt x="130" y="1050"/>
                    <a:pt x="127" y="1035"/>
                  </a:cubicBezTo>
                  <a:cubicBezTo>
                    <a:pt x="120" y="1006"/>
                    <a:pt x="112" y="977"/>
                    <a:pt x="115" y="941"/>
                  </a:cubicBezTo>
                  <a:cubicBezTo>
                    <a:pt x="89" y="937"/>
                    <a:pt x="66" y="941"/>
                    <a:pt x="51" y="927"/>
                  </a:cubicBezTo>
                  <a:cubicBezTo>
                    <a:pt x="39" y="918"/>
                    <a:pt x="26" y="891"/>
                    <a:pt x="24" y="874"/>
                  </a:cubicBezTo>
                  <a:cubicBezTo>
                    <a:pt x="23" y="866"/>
                    <a:pt x="23" y="859"/>
                    <a:pt x="25" y="852"/>
                  </a:cubicBezTo>
                  <a:cubicBezTo>
                    <a:pt x="25" y="847"/>
                    <a:pt x="15" y="852"/>
                    <a:pt x="14" y="848"/>
                  </a:cubicBezTo>
                  <a:cubicBezTo>
                    <a:pt x="10" y="782"/>
                    <a:pt x="0" y="717"/>
                    <a:pt x="0" y="647"/>
                  </a:cubicBezTo>
                  <a:cubicBezTo>
                    <a:pt x="1" y="592"/>
                    <a:pt x="9" y="536"/>
                    <a:pt x="11" y="479"/>
                  </a:cubicBezTo>
                  <a:cubicBezTo>
                    <a:pt x="12" y="422"/>
                    <a:pt x="15" y="364"/>
                    <a:pt x="24" y="310"/>
                  </a:cubicBezTo>
                  <a:cubicBezTo>
                    <a:pt x="50" y="295"/>
                    <a:pt x="77" y="277"/>
                    <a:pt x="108" y="264"/>
                  </a:cubicBezTo>
                  <a:cubicBezTo>
                    <a:pt x="120" y="259"/>
                    <a:pt x="135" y="256"/>
                    <a:pt x="144" y="249"/>
                  </a:cubicBezTo>
                  <a:cubicBezTo>
                    <a:pt x="154" y="242"/>
                    <a:pt x="174" y="227"/>
                    <a:pt x="176" y="217"/>
                  </a:cubicBezTo>
                  <a:cubicBezTo>
                    <a:pt x="179" y="199"/>
                    <a:pt x="171" y="184"/>
                    <a:pt x="167" y="172"/>
                  </a:cubicBezTo>
                  <a:cubicBezTo>
                    <a:pt x="164" y="166"/>
                    <a:pt x="162" y="159"/>
                    <a:pt x="159" y="156"/>
                  </a:cubicBezTo>
                  <a:cubicBezTo>
                    <a:pt x="154" y="149"/>
                    <a:pt x="146" y="148"/>
                    <a:pt x="142" y="142"/>
                  </a:cubicBezTo>
                  <a:cubicBezTo>
                    <a:pt x="135" y="129"/>
                    <a:pt x="132" y="97"/>
                    <a:pt x="146" y="92"/>
                  </a:cubicBezTo>
                  <a:cubicBezTo>
                    <a:pt x="148" y="42"/>
                    <a:pt x="164" y="7"/>
                    <a:pt x="213" y="3"/>
                  </a:cubicBezTo>
                  <a:cubicBezTo>
                    <a:pt x="269" y="0"/>
                    <a:pt x="302" y="30"/>
                    <a:pt x="295" y="92"/>
                  </a:cubicBezTo>
                  <a:cubicBezTo>
                    <a:pt x="297" y="99"/>
                    <a:pt x="302" y="98"/>
                    <a:pt x="304" y="105"/>
                  </a:cubicBezTo>
                  <a:cubicBezTo>
                    <a:pt x="307" y="119"/>
                    <a:pt x="300" y="137"/>
                    <a:pt x="293" y="144"/>
                  </a:cubicBezTo>
                  <a:cubicBezTo>
                    <a:pt x="290" y="147"/>
                    <a:pt x="287" y="148"/>
                    <a:pt x="285" y="152"/>
                  </a:cubicBezTo>
                  <a:cubicBezTo>
                    <a:pt x="284" y="156"/>
                    <a:pt x="285" y="165"/>
                    <a:pt x="283" y="172"/>
                  </a:cubicBezTo>
                  <a:cubicBezTo>
                    <a:pt x="282" y="181"/>
                    <a:pt x="277" y="197"/>
                    <a:pt x="281" y="210"/>
                  </a:cubicBezTo>
                  <a:cubicBezTo>
                    <a:pt x="282" y="216"/>
                    <a:pt x="296" y="227"/>
                    <a:pt x="304" y="231"/>
                  </a:cubicBezTo>
                  <a:cubicBezTo>
                    <a:pt x="314" y="235"/>
                    <a:pt x="328" y="236"/>
                    <a:pt x="340" y="240"/>
                  </a:cubicBezTo>
                  <a:cubicBezTo>
                    <a:pt x="363" y="247"/>
                    <a:pt x="384" y="253"/>
                    <a:pt x="409" y="260"/>
                  </a:cubicBezTo>
                  <a:cubicBezTo>
                    <a:pt x="423" y="265"/>
                    <a:pt x="437" y="267"/>
                    <a:pt x="444" y="275"/>
                  </a:cubicBezTo>
                  <a:cubicBezTo>
                    <a:pt x="449" y="281"/>
                    <a:pt x="453" y="295"/>
                    <a:pt x="457" y="306"/>
                  </a:cubicBezTo>
                  <a:cubicBezTo>
                    <a:pt x="461" y="317"/>
                    <a:pt x="465" y="329"/>
                    <a:pt x="467" y="338"/>
                  </a:cubicBezTo>
                  <a:cubicBezTo>
                    <a:pt x="470" y="355"/>
                    <a:pt x="469" y="372"/>
                    <a:pt x="472" y="389"/>
                  </a:cubicBezTo>
                  <a:cubicBezTo>
                    <a:pt x="477" y="421"/>
                    <a:pt x="482" y="452"/>
                    <a:pt x="487" y="485"/>
                  </a:cubicBezTo>
                  <a:cubicBezTo>
                    <a:pt x="489" y="501"/>
                    <a:pt x="490" y="518"/>
                    <a:pt x="494" y="532"/>
                  </a:cubicBezTo>
                  <a:cubicBezTo>
                    <a:pt x="497" y="542"/>
                    <a:pt x="507" y="551"/>
                    <a:pt x="507" y="563"/>
                  </a:cubicBezTo>
                  <a:cubicBezTo>
                    <a:pt x="507" y="570"/>
                    <a:pt x="501" y="576"/>
                    <a:pt x="500" y="582"/>
                  </a:cubicBezTo>
                  <a:cubicBezTo>
                    <a:pt x="500" y="588"/>
                    <a:pt x="505" y="593"/>
                    <a:pt x="505" y="599"/>
                  </a:cubicBezTo>
                  <a:cubicBezTo>
                    <a:pt x="506" y="613"/>
                    <a:pt x="500" y="624"/>
                    <a:pt x="498" y="634"/>
                  </a:cubicBezTo>
                  <a:cubicBezTo>
                    <a:pt x="495" y="646"/>
                    <a:pt x="495" y="660"/>
                    <a:pt x="493" y="673"/>
                  </a:cubicBezTo>
                  <a:cubicBezTo>
                    <a:pt x="488" y="708"/>
                    <a:pt x="480" y="750"/>
                    <a:pt x="475" y="785"/>
                  </a:cubicBezTo>
                  <a:close/>
                  <a:moveTo>
                    <a:pt x="177" y="222"/>
                  </a:moveTo>
                  <a:cubicBezTo>
                    <a:pt x="171" y="267"/>
                    <a:pt x="183" y="313"/>
                    <a:pt x="193" y="359"/>
                  </a:cubicBezTo>
                  <a:cubicBezTo>
                    <a:pt x="213" y="461"/>
                    <a:pt x="204" y="581"/>
                    <a:pt x="208" y="694"/>
                  </a:cubicBezTo>
                  <a:cubicBezTo>
                    <a:pt x="266" y="693"/>
                    <a:pt x="327" y="693"/>
                    <a:pt x="383" y="694"/>
                  </a:cubicBezTo>
                  <a:cubicBezTo>
                    <a:pt x="378" y="677"/>
                    <a:pt x="370" y="659"/>
                    <a:pt x="362" y="642"/>
                  </a:cubicBezTo>
                  <a:cubicBezTo>
                    <a:pt x="347" y="606"/>
                    <a:pt x="336" y="567"/>
                    <a:pt x="324" y="529"/>
                  </a:cubicBezTo>
                  <a:cubicBezTo>
                    <a:pt x="318" y="511"/>
                    <a:pt x="310" y="492"/>
                    <a:pt x="306" y="473"/>
                  </a:cubicBezTo>
                  <a:cubicBezTo>
                    <a:pt x="302" y="458"/>
                    <a:pt x="301" y="440"/>
                    <a:pt x="299" y="423"/>
                  </a:cubicBezTo>
                  <a:cubicBezTo>
                    <a:pt x="293" y="371"/>
                    <a:pt x="288" y="317"/>
                    <a:pt x="285" y="267"/>
                  </a:cubicBezTo>
                  <a:cubicBezTo>
                    <a:pt x="284" y="252"/>
                    <a:pt x="288" y="234"/>
                    <a:pt x="281" y="220"/>
                  </a:cubicBezTo>
                  <a:cubicBezTo>
                    <a:pt x="270" y="239"/>
                    <a:pt x="263" y="261"/>
                    <a:pt x="251" y="279"/>
                  </a:cubicBezTo>
                  <a:cubicBezTo>
                    <a:pt x="251" y="290"/>
                    <a:pt x="252" y="301"/>
                    <a:pt x="244" y="305"/>
                  </a:cubicBezTo>
                  <a:cubicBezTo>
                    <a:pt x="242" y="304"/>
                    <a:pt x="245" y="297"/>
                    <a:pt x="243" y="296"/>
                  </a:cubicBezTo>
                  <a:cubicBezTo>
                    <a:pt x="225" y="286"/>
                    <a:pt x="215" y="272"/>
                    <a:pt x="201" y="258"/>
                  </a:cubicBezTo>
                  <a:cubicBezTo>
                    <a:pt x="194" y="250"/>
                    <a:pt x="185" y="241"/>
                    <a:pt x="182" y="232"/>
                  </a:cubicBezTo>
                  <a:cubicBezTo>
                    <a:pt x="181" y="228"/>
                    <a:pt x="183" y="223"/>
                    <a:pt x="179" y="220"/>
                  </a:cubicBezTo>
                  <a:cubicBezTo>
                    <a:pt x="177" y="220"/>
                    <a:pt x="177" y="221"/>
                    <a:pt x="177" y="22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ea typeface="+mn-ea"/>
              </a:endParaRPr>
            </a:p>
          </p:txBody>
        </p:sp>
      </p:grpSp>
      <p:sp>
        <p:nvSpPr>
          <p:cNvPr id="59" name="Rounded Rectangle 181"/>
          <p:cNvSpPr>
            <a:spLocks noChangeArrowheads="1"/>
          </p:cNvSpPr>
          <p:nvPr/>
        </p:nvSpPr>
        <p:spPr bwMode="auto">
          <a:xfrm>
            <a:off x="6012160" y="2038040"/>
            <a:ext cx="3024336" cy="1039812"/>
          </a:xfrm>
          <a:prstGeom prst="roundRect">
            <a:avLst>
              <a:gd name="adj" fmla="val 9370"/>
            </a:avLst>
          </a:prstGeom>
          <a:gradFill>
            <a:gsLst>
              <a:gs pos="95000">
                <a:schemeClr val="tx1">
                  <a:lumMod val="60000"/>
                  <a:lumOff val="40000"/>
                </a:schemeClr>
              </a:gs>
              <a:gs pos="43000">
                <a:schemeClr val="bg1">
                  <a:lumMod val="95000"/>
                </a:schemeClr>
              </a:gs>
            </a:gsLst>
            <a:lin ang="5400000" scaled="0"/>
          </a:gradFill>
          <a:ln>
            <a:noFill/>
          </a:ln>
        </p:spPr>
        <p:txBody>
          <a:bodyPr anchor="ctr"/>
          <a:lstStyle/>
          <a:p>
            <a:pPr algn="ctr"/>
            <a:endParaRPr lang="ka-GE">
              <a:solidFill>
                <a:srgbClr val="FFFFFF"/>
              </a:solidFill>
              <a:latin typeface="Calibri" pitchFamily="34" charset="0"/>
            </a:endParaRPr>
          </a:p>
        </p:txBody>
      </p:sp>
      <p:grpSp>
        <p:nvGrpSpPr>
          <p:cNvPr id="60" name="Group 184"/>
          <p:cNvGrpSpPr>
            <a:grpSpLocks/>
          </p:cNvGrpSpPr>
          <p:nvPr/>
        </p:nvGrpSpPr>
        <p:grpSpPr bwMode="auto">
          <a:xfrm>
            <a:off x="7089216" y="4293877"/>
            <a:ext cx="1115057" cy="768350"/>
            <a:chOff x="462873" y="4336087"/>
            <a:chExt cx="2378821" cy="1634064"/>
          </a:xfrm>
          <a:effectLst>
            <a:outerShdw blurRad="50800" dist="50800" dir="5400000" algn="ctr" rotWithShape="0">
              <a:schemeClr val="bg1"/>
            </a:outerShdw>
          </a:effectLst>
        </p:grpSpPr>
        <p:grpSp>
          <p:nvGrpSpPr>
            <p:cNvPr id="61" name="Gruppe 90"/>
            <p:cNvGrpSpPr/>
            <p:nvPr/>
          </p:nvGrpSpPr>
          <p:grpSpPr bwMode="auto">
            <a:xfrm>
              <a:off x="462873" y="4832869"/>
              <a:ext cx="1209157" cy="1035041"/>
              <a:chOff x="2673350" y="3352800"/>
              <a:chExt cx="2036763" cy="1743075"/>
            </a:xfrm>
            <a:solidFill>
              <a:schemeClr val="bg1">
                <a:lumMod val="65000"/>
              </a:schemeClr>
            </a:solidFill>
          </p:grpSpPr>
          <p:sp>
            <p:nvSpPr>
              <p:cNvPr id="105" name="Freeform 47"/>
              <p:cNvSpPr>
                <a:spLocks/>
              </p:cNvSpPr>
              <p:nvPr/>
            </p:nvSpPr>
            <p:spPr bwMode="auto">
              <a:xfrm>
                <a:off x="2701925" y="3352800"/>
                <a:ext cx="1630363" cy="1541462"/>
              </a:xfrm>
              <a:custGeom>
                <a:avLst/>
                <a:gdLst/>
                <a:ahLst/>
                <a:cxnLst>
                  <a:cxn ang="0">
                    <a:pos x="478" y="31"/>
                  </a:cxn>
                  <a:cxn ang="0">
                    <a:pos x="461" y="48"/>
                  </a:cxn>
                  <a:cxn ang="0">
                    <a:pos x="364" y="84"/>
                  </a:cxn>
                  <a:cxn ang="0">
                    <a:pos x="285" y="106"/>
                  </a:cxn>
                  <a:cxn ang="0">
                    <a:pos x="197" y="141"/>
                  </a:cxn>
                  <a:cxn ang="0">
                    <a:pos x="101" y="189"/>
                  </a:cxn>
                  <a:cxn ang="0">
                    <a:pos x="0" y="259"/>
                  </a:cxn>
                  <a:cxn ang="0">
                    <a:pos x="17" y="347"/>
                  </a:cxn>
                  <a:cxn ang="0">
                    <a:pos x="61" y="540"/>
                  </a:cxn>
                  <a:cxn ang="0">
                    <a:pos x="118" y="703"/>
                  </a:cxn>
                  <a:cxn ang="0">
                    <a:pos x="171" y="800"/>
                  </a:cxn>
                  <a:cxn ang="0">
                    <a:pos x="233" y="870"/>
                  </a:cxn>
                  <a:cxn ang="0">
                    <a:pos x="268" y="892"/>
                  </a:cxn>
                  <a:cxn ang="0">
                    <a:pos x="342" y="923"/>
                  </a:cxn>
                  <a:cxn ang="0">
                    <a:pos x="496" y="958"/>
                  </a:cxn>
                  <a:cxn ang="0">
                    <a:pos x="637" y="971"/>
                  </a:cxn>
                  <a:cxn ang="0">
                    <a:pos x="760" y="967"/>
                  </a:cxn>
                  <a:cxn ang="0">
                    <a:pos x="808" y="953"/>
                  </a:cxn>
                  <a:cxn ang="0">
                    <a:pos x="922" y="896"/>
                  </a:cxn>
                  <a:cxn ang="0">
                    <a:pos x="948" y="866"/>
                  </a:cxn>
                  <a:cxn ang="0">
                    <a:pos x="966" y="764"/>
                  </a:cxn>
                  <a:cxn ang="0">
                    <a:pos x="1019" y="347"/>
                  </a:cxn>
                  <a:cxn ang="0">
                    <a:pos x="1027" y="198"/>
                  </a:cxn>
                  <a:cxn ang="0">
                    <a:pos x="966" y="167"/>
                  </a:cxn>
                  <a:cxn ang="0">
                    <a:pos x="852" y="119"/>
                  </a:cxn>
                  <a:cxn ang="0">
                    <a:pos x="760" y="92"/>
                  </a:cxn>
                  <a:cxn ang="0">
                    <a:pos x="724" y="79"/>
                  </a:cxn>
                  <a:cxn ang="0">
                    <a:pos x="716" y="70"/>
                  </a:cxn>
                  <a:cxn ang="0">
                    <a:pos x="685" y="48"/>
                  </a:cxn>
                  <a:cxn ang="0">
                    <a:pos x="584" y="9"/>
                  </a:cxn>
                  <a:cxn ang="0">
                    <a:pos x="549" y="0"/>
                  </a:cxn>
                  <a:cxn ang="0">
                    <a:pos x="505" y="13"/>
                  </a:cxn>
                  <a:cxn ang="0">
                    <a:pos x="478" y="31"/>
                  </a:cxn>
                </a:cxnLst>
                <a:rect l="0" t="0" r="r" b="b"/>
                <a:pathLst>
                  <a:path w="1027" h="971">
                    <a:moveTo>
                      <a:pt x="478" y="31"/>
                    </a:moveTo>
                    <a:lnTo>
                      <a:pt x="478" y="31"/>
                    </a:lnTo>
                    <a:lnTo>
                      <a:pt x="474" y="35"/>
                    </a:lnTo>
                    <a:lnTo>
                      <a:pt x="461" y="48"/>
                    </a:lnTo>
                    <a:lnTo>
                      <a:pt x="426" y="66"/>
                    </a:lnTo>
                    <a:lnTo>
                      <a:pt x="364" y="84"/>
                    </a:lnTo>
                    <a:lnTo>
                      <a:pt x="364" y="84"/>
                    </a:lnTo>
                    <a:lnTo>
                      <a:pt x="285" y="106"/>
                    </a:lnTo>
                    <a:lnTo>
                      <a:pt x="241" y="123"/>
                    </a:lnTo>
                    <a:lnTo>
                      <a:pt x="197" y="141"/>
                    </a:lnTo>
                    <a:lnTo>
                      <a:pt x="149" y="163"/>
                    </a:lnTo>
                    <a:lnTo>
                      <a:pt x="101" y="189"/>
                    </a:lnTo>
                    <a:lnTo>
                      <a:pt x="52" y="224"/>
                    </a:lnTo>
                    <a:lnTo>
                      <a:pt x="0" y="259"/>
                    </a:lnTo>
                    <a:lnTo>
                      <a:pt x="0" y="259"/>
                    </a:lnTo>
                    <a:lnTo>
                      <a:pt x="17" y="347"/>
                    </a:lnTo>
                    <a:lnTo>
                      <a:pt x="35" y="435"/>
                    </a:lnTo>
                    <a:lnTo>
                      <a:pt x="61" y="540"/>
                    </a:lnTo>
                    <a:lnTo>
                      <a:pt x="96" y="650"/>
                    </a:lnTo>
                    <a:lnTo>
                      <a:pt x="118" y="703"/>
                    </a:lnTo>
                    <a:lnTo>
                      <a:pt x="145" y="756"/>
                    </a:lnTo>
                    <a:lnTo>
                      <a:pt x="171" y="800"/>
                    </a:lnTo>
                    <a:lnTo>
                      <a:pt x="202" y="839"/>
                    </a:lnTo>
                    <a:lnTo>
                      <a:pt x="233" y="870"/>
                    </a:lnTo>
                    <a:lnTo>
                      <a:pt x="268" y="892"/>
                    </a:lnTo>
                    <a:lnTo>
                      <a:pt x="268" y="892"/>
                    </a:lnTo>
                    <a:lnTo>
                      <a:pt x="303" y="909"/>
                    </a:lnTo>
                    <a:lnTo>
                      <a:pt x="342" y="923"/>
                    </a:lnTo>
                    <a:lnTo>
                      <a:pt x="417" y="945"/>
                    </a:lnTo>
                    <a:lnTo>
                      <a:pt x="496" y="958"/>
                    </a:lnTo>
                    <a:lnTo>
                      <a:pt x="571" y="967"/>
                    </a:lnTo>
                    <a:lnTo>
                      <a:pt x="637" y="971"/>
                    </a:lnTo>
                    <a:lnTo>
                      <a:pt x="689" y="971"/>
                    </a:lnTo>
                    <a:lnTo>
                      <a:pt x="760" y="967"/>
                    </a:lnTo>
                    <a:lnTo>
                      <a:pt x="760" y="967"/>
                    </a:lnTo>
                    <a:lnTo>
                      <a:pt x="808" y="953"/>
                    </a:lnTo>
                    <a:lnTo>
                      <a:pt x="865" y="927"/>
                    </a:lnTo>
                    <a:lnTo>
                      <a:pt x="922" y="896"/>
                    </a:lnTo>
                    <a:lnTo>
                      <a:pt x="940" y="883"/>
                    </a:lnTo>
                    <a:lnTo>
                      <a:pt x="948" y="866"/>
                    </a:lnTo>
                    <a:lnTo>
                      <a:pt x="948" y="866"/>
                    </a:lnTo>
                    <a:lnTo>
                      <a:pt x="966" y="764"/>
                    </a:lnTo>
                    <a:lnTo>
                      <a:pt x="992" y="567"/>
                    </a:lnTo>
                    <a:lnTo>
                      <a:pt x="1019" y="347"/>
                    </a:lnTo>
                    <a:lnTo>
                      <a:pt x="1027" y="259"/>
                    </a:lnTo>
                    <a:lnTo>
                      <a:pt x="1027" y="198"/>
                    </a:lnTo>
                    <a:lnTo>
                      <a:pt x="1027" y="198"/>
                    </a:lnTo>
                    <a:lnTo>
                      <a:pt x="966" y="167"/>
                    </a:lnTo>
                    <a:lnTo>
                      <a:pt x="909" y="141"/>
                    </a:lnTo>
                    <a:lnTo>
                      <a:pt x="852" y="119"/>
                    </a:lnTo>
                    <a:lnTo>
                      <a:pt x="852" y="119"/>
                    </a:lnTo>
                    <a:lnTo>
                      <a:pt x="760" y="92"/>
                    </a:lnTo>
                    <a:lnTo>
                      <a:pt x="733" y="84"/>
                    </a:lnTo>
                    <a:lnTo>
                      <a:pt x="724" y="79"/>
                    </a:lnTo>
                    <a:lnTo>
                      <a:pt x="716" y="70"/>
                    </a:lnTo>
                    <a:lnTo>
                      <a:pt x="716" y="70"/>
                    </a:lnTo>
                    <a:lnTo>
                      <a:pt x="707" y="57"/>
                    </a:lnTo>
                    <a:lnTo>
                      <a:pt x="685" y="48"/>
                    </a:lnTo>
                    <a:lnTo>
                      <a:pt x="637" y="26"/>
                    </a:lnTo>
                    <a:lnTo>
                      <a:pt x="584" y="9"/>
                    </a:lnTo>
                    <a:lnTo>
                      <a:pt x="549" y="0"/>
                    </a:lnTo>
                    <a:lnTo>
                      <a:pt x="549" y="0"/>
                    </a:lnTo>
                    <a:lnTo>
                      <a:pt x="527" y="5"/>
                    </a:lnTo>
                    <a:lnTo>
                      <a:pt x="505" y="13"/>
                    </a:lnTo>
                    <a:lnTo>
                      <a:pt x="478" y="31"/>
                    </a:lnTo>
                    <a:lnTo>
                      <a:pt x="478" y="31"/>
                    </a:lnTo>
                    <a:close/>
                  </a:path>
                </a:pathLst>
              </a:custGeom>
              <a:gradFill>
                <a:gsLst>
                  <a:gs pos="88000">
                    <a:schemeClr val="accent4">
                      <a:lumMod val="75000"/>
                    </a:schemeClr>
                  </a:gs>
                  <a:gs pos="100000">
                    <a:schemeClr val="tx2">
                      <a:lumMod val="0"/>
                      <a:lumOff val="100000"/>
                      <a:alpha val="0"/>
                    </a:schemeClr>
                  </a:gs>
                </a:gsLst>
                <a:lin ang="162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06" name="Freeform 53"/>
              <p:cNvSpPr>
                <a:spLocks/>
              </p:cNvSpPr>
              <p:nvPr/>
            </p:nvSpPr>
            <p:spPr bwMode="auto">
              <a:xfrm>
                <a:off x="4235450" y="3652838"/>
                <a:ext cx="474663" cy="1108075"/>
              </a:xfrm>
              <a:custGeom>
                <a:avLst/>
                <a:gdLst/>
                <a:ahLst/>
                <a:cxnLst>
                  <a:cxn ang="0">
                    <a:pos x="26" y="4"/>
                  </a:cxn>
                  <a:cxn ang="0">
                    <a:pos x="26" y="4"/>
                  </a:cxn>
                  <a:cxn ang="0">
                    <a:pos x="35" y="0"/>
                  </a:cxn>
                  <a:cxn ang="0">
                    <a:pos x="44" y="0"/>
                  </a:cxn>
                  <a:cxn ang="0">
                    <a:pos x="53" y="0"/>
                  </a:cxn>
                  <a:cxn ang="0">
                    <a:pos x="66" y="4"/>
                  </a:cxn>
                  <a:cxn ang="0">
                    <a:pos x="75" y="18"/>
                  </a:cxn>
                  <a:cxn ang="0">
                    <a:pos x="88" y="31"/>
                  </a:cxn>
                  <a:cxn ang="0">
                    <a:pos x="97" y="57"/>
                  </a:cxn>
                  <a:cxn ang="0">
                    <a:pos x="97" y="57"/>
                  </a:cxn>
                  <a:cxn ang="0">
                    <a:pos x="123" y="171"/>
                  </a:cxn>
                  <a:cxn ang="0">
                    <a:pos x="171" y="356"/>
                  </a:cxn>
                  <a:cxn ang="0">
                    <a:pos x="202" y="457"/>
                  </a:cxn>
                  <a:cxn ang="0">
                    <a:pos x="233" y="549"/>
                  </a:cxn>
                  <a:cxn ang="0">
                    <a:pos x="268" y="633"/>
                  </a:cxn>
                  <a:cxn ang="0">
                    <a:pos x="299" y="698"/>
                  </a:cxn>
                  <a:cxn ang="0">
                    <a:pos x="0" y="694"/>
                  </a:cxn>
                  <a:cxn ang="0">
                    <a:pos x="0" y="694"/>
                  </a:cxn>
                  <a:cxn ang="0">
                    <a:pos x="9" y="562"/>
                  </a:cxn>
                  <a:cxn ang="0">
                    <a:pos x="13" y="461"/>
                  </a:cxn>
                  <a:cxn ang="0">
                    <a:pos x="9" y="417"/>
                  </a:cxn>
                  <a:cxn ang="0">
                    <a:pos x="4" y="387"/>
                  </a:cxn>
                  <a:cxn ang="0">
                    <a:pos x="4" y="387"/>
                  </a:cxn>
                  <a:cxn ang="0">
                    <a:pos x="4" y="351"/>
                  </a:cxn>
                  <a:cxn ang="0">
                    <a:pos x="4" y="299"/>
                  </a:cxn>
                  <a:cxn ang="0">
                    <a:pos x="9" y="171"/>
                  </a:cxn>
                  <a:cxn ang="0">
                    <a:pos x="26" y="4"/>
                  </a:cxn>
                  <a:cxn ang="0">
                    <a:pos x="26" y="4"/>
                  </a:cxn>
                </a:cxnLst>
                <a:rect l="0" t="0" r="r" b="b"/>
                <a:pathLst>
                  <a:path w="299" h="698">
                    <a:moveTo>
                      <a:pt x="26" y="4"/>
                    </a:moveTo>
                    <a:lnTo>
                      <a:pt x="26" y="4"/>
                    </a:lnTo>
                    <a:lnTo>
                      <a:pt x="35" y="0"/>
                    </a:lnTo>
                    <a:lnTo>
                      <a:pt x="44" y="0"/>
                    </a:lnTo>
                    <a:lnTo>
                      <a:pt x="53" y="0"/>
                    </a:lnTo>
                    <a:lnTo>
                      <a:pt x="66" y="4"/>
                    </a:lnTo>
                    <a:lnTo>
                      <a:pt x="75" y="18"/>
                    </a:lnTo>
                    <a:lnTo>
                      <a:pt x="88" y="31"/>
                    </a:lnTo>
                    <a:lnTo>
                      <a:pt x="97" y="57"/>
                    </a:lnTo>
                    <a:lnTo>
                      <a:pt x="97" y="57"/>
                    </a:lnTo>
                    <a:lnTo>
                      <a:pt x="123" y="171"/>
                    </a:lnTo>
                    <a:lnTo>
                      <a:pt x="171" y="356"/>
                    </a:lnTo>
                    <a:lnTo>
                      <a:pt x="202" y="457"/>
                    </a:lnTo>
                    <a:lnTo>
                      <a:pt x="233" y="549"/>
                    </a:lnTo>
                    <a:lnTo>
                      <a:pt x="268" y="633"/>
                    </a:lnTo>
                    <a:lnTo>
                      <a:pt x="299" y="698"/>
                    </a:lnTo>
                    <a:lnTo>
                      <a:pt x="0" y="694"/>
                    </a:lnTo>
                    <a:lnTo>
                      <a:pt x="0" y="694"/>
                    </a:lnTo>
                    <a:lnTo>
                      <a:pt x="9" y="562"/>
                    </a:lnTo>
                    <a:lnTo>
                      <a:pt x="13" y="461"/>
                    </a:lnTo>
                    <a:lnTo>
                      <a:pt x="9" y="417"/>
                    </a:lnTo>
                    <a:lnTo>
                      <a:pt x="4" y="387"/>
                    </a:lnTo>
                    <a:lnTo>
                      <a:pt x="4" y="387"/>
                    </a:lnTo>
                    <a:lnTo>
                      <a:pt x="4" y="351"/>
                    </a:lnTo>
                    <a:lnTo>
                      <a:pt x="4" y="299"/>
                    </a:lnTo>
                    <a:lnTo>
                      <a:pt x="9" y="171"/>
                    </a:lnTo>
                    <a:lnTo>
                      <a:pt x="26" y="4"/>
                    </a:lnTo>
                    <a:lnTo>
                      <a:pt x="26" y="4"/>
                    </a:ln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07" name="Freeform 74"/>
              <p:cNvSpPr>
                <a:spLocks/>
              </p:cNvSpPr>
              <p:nvPr/>
            </p:nvSpPr>
            <p:spPr bwMode="auto">
              <a:xfrm>
                <a:off x="2673350" y="3751263"/>
                <a:ext cx="982663" cy="1344612"/>
              </a:xfrm>
              <a:custGeom>
                <a:avLst/>
                <a:gdLst/>
                <a:ahLst/>
                <a:cxnLst>
                  <a:cxn ang="0">
                    <a:pos x="18" y="8"/>
                  </a:cxn>
                  <a:cxn ang="0">
                    <a:pos x="5" y="70"/>
                  </a:cxn>
                  <a:cxn ang="0">
                    <a:pos x="0" y="188"/>
                  </a:cxn>
                  <a:cxn ang="0">
                    <a:pos x="5" y="298"/>
                  </a:cxn>
                  <a:cxn ang="0">
                    <a:pos x="22" y="426"/>
                  </a:cxn>
                  <a:cxn ang="0">
                    <a:pos x="66" y="571"/>
                  </a:cxn>
                  <a:cxn ang="0">
                    <a:pos x="132" y="733"/>
                  </a:cxn>
                  <a:cxn ang="0">
                    <a:pos x="176" y="817"/>
                  </a:cxn>
                  <a:cxn ang="0">
                    <a:pos x="255" y="839"/>
                  </a:cxn>
                  <a:cxn ang="0">
                    <a:pos x="373" y="847"/>
                  </a:cxn>
                  <a:cxn ang="0">
                    <a:pos x="527" y="839"/>
                  </a:cxn>
                  <a:cxn ang="0">
                    <a:pos x="615" y="817"/>
                  </a:cxn>
                  <a:cxn ang="0">
                    <a:pos x="611" y="803"/>
                  </a:cxn>
                  <a:cxn ang="0">
                    <a:pos x="597" y="733"/>
                  </a:cxn>
                  <a:cxn ang="0">
                    <a:pos x="606" y="672"/>
                  </a:cxn>
                  <a:cxn ang="0">
                    <a:pos x="619" y="641"/>
                  </a:cxn>
                  <a:cxn ang="0">
                    <a:pos x="554" y="632"/>
                  </a:cxn>
                  <a:cxn ang="0">
                    <a:pos x="466" y="606"/>
                  </a:cxn>
                  <a:cxn ang="0">
                    <a:pos x="439" y="593"/>
                  </a:cxn>
                  <a:cxn ang="0">
                    <a:pos x="360" y="557"/>
                  </a:cxn>
                  <a:cxn ang="0">
                    <a:pos x="334" y="553"/>
                  </a:cxn>
                  <a:cxn ang="0">
                    <a:pos x="343" y="549"/>
                  </a:cxn>
                  <a:cxn ang="0">
                    <a:pos x="356" y="535"/>
                  </a:cxn>
                  <a:cxn ang="0">
                    <a:pos x="347" y="513"/>
                  </a:cxn>
                  <a:cxn ang="0">
                    <a:pos x="334" y="505"/>
                  </a:cxn>
                  <a:cxn ang="0">
                    <a:pos x="347" y="434"/>
                  </a:cxn>
                  <a:cxn ang="0">
                    <a:pos x="347" y="333"/>
                  </a:cxn>
                  <a:cxn ang="0">
                    <a:pos x="325" y="246"/>
                  </a:cxn>
                  <a:cxn ang="0">
                    <a:pos x="299" y="184"/>
                  </a:cxn>
                  <a:cxn ang="0">
                    <a:pos x="281" y="153"/>
                  </a:cxn>
                  <a:cxn ang="0">
                    <a:pos x="198" y="61"/>
                  </a:cxn>
                  <a:cxn ang="0">
                    <a:pos x="114" y="13"/>
                  </a:cxn>
                  <a:cxn ang="0">
                    <a:pos x="53" y="0"/>
                  </a:cxn>
                  <a:cxn ang="0">
                    <a:pos x="18" y="8"/>
                  </a:cxn>
                </a:cxnLst>
                <a:rect l="0" t="0" r="r" b="b"/>
                <a:pathLst>
                  <a:path w="619" h="847">
                    <a:moveTo>
                      <a:pt x="18" y="8"/>
                    </a:moveTo>
                    <a:lnTo>
                      <a:pt x="18" y="8"/>
                    </a:lnTo>
                    <a:lnTo>
                      <a:pt x="13" y="26"/>
                    </a:lnTo>
                    <a:lnTo>
                      <a:pt x="5" y="70"/>
                    </a:lnTo>
                    <a:lnTo>
                      <a:pt x="0" y="144"/>
                    </a:lnTo>
                    <a:lnTo>
                      <a:pt x="0" y="188"/>
                    </a:lnTo>
                    <a:lnTo>
                      <a:pt x="0" y="241"/>
                    </a:lnTo>
                    <a:lnTo>
                      <a:pt x="5" y="298"/>
                    </a:lnTo>
                    <a:lnTo>
                      <a:pt x="9" y="360"/>
                    </a:lnTo>
                    <a:lnTo>
                      <a:pt x="22" y="426"/>
                    </a:lnTo>
                    <a:lnTo>
                      <a:pt x="40" y="496"/>
                    </a:lnTo>
                    <a:lnTo>
                      <a:pt x="66" y="571"/>
                    </a:lnTo>
                    <a:lnTo>
                      <a:pt x="92" y="650"/>
                    </a:lnTo>
                    <a:lnTo>
                      <a:pt x="132" y="733"/>
                    </a:lnTo>
                    <a:lnTo>
                      <a:pt x="176" y="817"/>
                    </a:lnTo>
                    <a:lnTo>
                      <a:pt x="176" y="817"/>
                    </a:lnTo>
                    <a:lnTo>
                      <a:pt x="211" y="830"/>
                    </a:lnTo>
                    <a:lnTo>
                      <a:pt x="255" y="839"/>
                    </a:lnTo>
                    <a:lnTo>
                      <a:pt x="308" y="843"/>
                    </a:lnTo>
                    <a:lnTo>
                      <a:pt x="373" y="847"/>
                    </a:lnTo>
                    <a:lnTo>
                      <a:pt x="448" y="847"/>
                    </a:lnTo>
                    <a:lnTo>
                      <a:pt x="527" y="839"/>
                    </a:lnTo>
                    <a:lnTo>
                      <a:pt x="571" y="830"/>
                    </a:lnTo>
                    <a:lnTo>
                      <a:pt x="615" y="817"/>
                    </a:lnTo>
                    <a:lnTo>
                      <a:pt x="615" y="817"/>
                    </a:lnTo>
                    <a:lnTo>
                      <a:pt x="611" y="803"/>
                    </a:lnTo>
                    <a:lnTo>
                      <a:pt x="602" y="759"/>
                    </a:lnTo>
                    <a:lnTo>
                      <a:pt x="597" y="733"/>
                    </a:lnTo>
                    <a:lnTo>
                      <a:pt x="602" y="702"/>
                    </a:lnTo>
                    <a:lnTo>
                      <a:pt x="606" y="672"/>
                    </a:lnTo>
                    <a:lnTo>
                      <a:pt x="619" y="641"/>
                    </a:lnTo>
                    <a:lnTo>
                      <a:pt x="619" y="641"/>
                    </a:lnTo>
                    <a:lnTo>
                      <a:pt x="602" y="641"/>
                    </a:lnTo>
                    <a:lnTo>
                      <a:pt x="554" y="632"/>
                    </a:lnTo>
                    <a:lnTo>
                      <a:pt x="492" y="619"/>
                    </a:lnTo>
                    <a:lnTo>
                      <a:pt x="466" y="606"/>
                    </a:lnTo>
                    <a:lnTo>
                      <a:pt x="439" y="593"/>
                    </a:lnTo>
                    <a:lnTo>
                      <a:pt x="439" y="593"/>
                    </a:lnTo>
                    <a:lnTo>
                      <a:pt x="395" y="566"/>
                    </a:lnTo>
                    <a:lnTo>
                      <a:pt x="360" y="557"/>
                    </a:lnTo>
                    <a:lnTo>
                      <a:pt x="343" y="553"/>
                    </a:lnTo>
                    <a:lnTo>
                      <a:pt x="334" y="553"/>
                    </a:lnTo>
                    <a:lnTo>
                      <a:pt x="334" y="553"/>
                    </a:lnTo>
                    <a:lnTo>
                      <a:pt x="343" y="549"/>
                    </a:lnTo>
                    <a:lnTo>
                      <a:pt x="352" y="540"/>
                    </a:lnTo>
                    <a:lnTo>
                      <a:pt x="356" y="535"/>
                    </a:lnTo>
                    <a:lnTo>
                      <a:pt x="356" y="527"/>
                    </a:lnTo>
                    <a:lnTo>
                      <a:pt x="347" y="513"/>
                    </a:lnTo>
                    <a:lnTo>
                      <a:pt x="334" y="505"/>
                    </a:lnTo>
                    <a:lnTo>
                      <a:pt x="334" y="505"/>
                    </a:lnTo>
                    <a:lnTo>
                      <a:pt x="343" y="470"/>
                    </a:lnTo>
                    <a:lnTo>
                      <a:pt x="347" y="434"/>
                    </a:lnTo>
                    <a:lnTo>
                      <a:pt x="347" y="386"/>
                    </a:lnTo>
                    <a:lnTo>
                      <a:pt x="347" y="333"/>
                    </a:lnTo>
                    <a:lnTo>
                      <a:pt x="334" y="276"/>
                    </a:lnTo>
                    <a:lnTo>
                      <a:pt x="325" y="246"/>
                    </a:lnTo>
                    <a:lnTo>
                      <a:pt x="312" y="215"/>
                    </a:lnTo>
                    <a:lnTo>
                      <a:pt x="299" y="184"/>
                    </a:lnTo>
                    <a:lnTo>
                      <a:pt x="281" y="153"/>
                    </a:lnTo>
                    <a:lnTo>
                      <a:pt x="281" y="153"/>
                    </a:lnTo>
                    <a:lnTo>
                      <a:pt x="237" y="101"/>
                    </a:lnTo>
                    <a:lnTo>
                      <a:pt x="198" y="61"/>
                    </a:lnTo>
                    <a:lnTo>
                      <a:pt x="154" y="30"/>
                    </a:lnTo>
                    <a:lnTo>
                      <a:pt x="114" y="13"/>
                    </a:lnTo>
                    <a:lnTo>
                      <a:pt x="79" y="0"/>
                    </a:lnTo>
                    <a:lnTo>
                      <a:pt x="53" y="0"/>
                    </a:lnTo>
                    <a:lnTo>
                      <a:pt x="31" y="0"/>
                    </a:lnTo>
                    <a:lnTo>
                      <a:pt x="18" y="8"/>
                    </a:lnTo>
                    <a:lnTo>
                      <a:pt x="18" y="8"/>
                    </a:ln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63" name="Freeform 9"/>
            <p:cNvSpPr>
              <a:spLocks/>
            </p:cNvSpPr>
            <p:nvPr/>
          </p:nvSpPr>
          <p:spPr bwMode="auto">
            <a:xfrm>
              <a:off x="1608931" y="4778366"/>
              <a:ext cx="1005854" cy="1046611"/>
            </a:xfrm>
            <a:custGeom>
              <a:avLst/>
              <a:gdLst/>
              <a:ahLst/>
              <a:cxnLst>
                <a:cxn ang="0">
                  <a:pos x="531" y="26"/>
                </a:cxn>
                <a:cxn ang="0">
                  <a:pos x="558" y="52"/>
                </a:cxn>
                <a:cxn ang="0">
                  <a:pos x="602" y="74"/>
                </a:cxn>
                <a:cxn ang="0">
                  <a:pos x="672" y="87"/>
                </a:cxn>
                <a:cxn ang="0">
                  <a:pos x="760" y="109"/>
                </a:cxn>
                <a:cxn ang="0">
                  <a:pos x="940" y="167"/>
                </a:cxn>
                <a:cxn ang="0">
                  <a:pos x="1006" y="197"/>
                </a:cxn>
                <a:cxn ang="0">
                  <a:pos x="1019" y="250"/>
                </a:cxn>
                <a:cxn ang="0">
                  <a:pos x="1050" y="465"/>
                </a:cxn>
                <a:cxn ang="0">
                  <a:pos x="1058" y="650"/>
                </a:cxn>
                <a:cxn ang="0">
                  <a:pos x="1054" y="742"/>
                </a:cxn>
                <a:cxn ang="0">
                  <a:pos x="1010" y="1014"/>
                </a:cxn>
                <a:cxn ang="0">
                  <a:pos x="993" y="1102"/>
                </a:cxn>
                <a:cxn ang="0">
                  <a:pos x="993" y="1115"/>
                </a:cxn>
                <a:cxn ang="0">
                  <a:pos x="953" y="1115"/>
                </a:cxn>
                <a:cxn ang="0">
                  <a:pos x="549" y="1089"/>
                </a:cxn>
                <a:cxn ang="0">
                  <a:pos x="101" y="1054"/>
                </a:cxn>
                <a:cxn ang="0">
                  <a:pos x="83" y="821"/>
                </a:cxn>
                <a:cxn ang="0">
                  <a:pos x="66" y="702"/>
                </a:cxn>
                <a:cxn ang="0">
                  <a:pos x="4" y="377"/>
                </a:cxn>
                <a:cxn ang="0">
                  <a:pos x="0" y="307"/>
                </a:cxn>
                <a:cxn ang="0">
                  <a:pos x="9" y="215"/>
                </a:cxn>
                <a:cxn ang="0">
                  <a:pos x="22" y="171"/>
                </a:cxn>
                <a:cxn ang="0">
                  <a:pos x="48" y="131"/>
                </a:cxn>
                <a:cxn ang="0">
                  <a:pos x="66" y="114"/>
                </a:cxn>
                <a:cxn ang="0">
                  <a:pos x="105" y="92"/>
                </a:cxn>
                <a:cxn ang="0">
                  <a:pos x="171" y="83"/>
                </a:cxn>
                <a:cxn ang="0">
                  <a:pos x="224" y="79"/>
                </a:cxn>
                <a:cxn ang="0">
                  <a:pos x="290" y="57"/>
                </a:cxn>
                <a:cxn ang="0">
                  <a:pos x="408" y="4"/>
                </a:cxn>
                <a:cxn ang="0">
                  <a:pos x="470" y="0"/>
                </a:cxn>
                <a:cxn ang="0">
                  <a:pos x="509" y="13"/>
                </a:cxn>
                <a:cxn ang="0">
                  <a:pos x="531" y="26"/>
                </a:cxn>
              </a:cxnLst>
              <a:rect l="0" t="0" r="r" b="b"/>
              <a:pathLst>
                <a:path w="1058" h="1115">
                  <a:moveTo>
                    <a:pt x="531" y="26"/>
                  </a:moveTo>
                  <a:lnTo>
                    <a:pt x="531" y="26"/>
                  </a:lnTo>
                  <a:lnTo>
                    <a:pt x="536" y="35"/>
                  </a:lnTo>
                  <a:lnTo>
                    <a:pt x="558" y="52"/>
                  </a:lnTo>
                  <a:lnTo>
                    <a:pt x="580" y="61"/>
                  </a:lnTo>
                  <a:lnTo>
                    <a:pt x="602" y="74"/>
                  </a:lnTo>
                  <a:lnTo>
                    <a:pt x="637" y="83"/>
                  </a:lnTo>
                  <a:lnTo>
                    <a:pt x="672" y="87"/>
                  </a:lnTo>
                  <a:lnTo>
                    <a:pt x="672" y="87"/>
                  </a:lnTo>
                  <a:lnTo>
                    <a:pt x="760" y="109"/>
                  </a:lnTo>
                  <a:lnTo>
                    <a:pt x="856" y="136"/>
                  </a:lnTo>
                  <a:lnTo>
                    <a:pt x="940" y="167"/>
                  </a:lnTo>
                  <a:lnTo>
                    <a:pt x="975" y="180"/>
                  </a:lnTo>
                  <a:lnTo>
                    <a:pt x="1006" y="197"/>
                  </a:lnTo>
                  <a:lnTo>
                    <a:pt x="1006" y="197"/>
                  </a:lnTo>
                  <a:lnTo>
                    <a:pt x="1019" y="250"/>
                  </a:lnTo>
                  <a:lnTo>
                    <a:pt x="1041" y="377"/>
                  </a:lnTo>
                  <a:lnTo>
                    <a:pt x="1050" y="465"/>
                  </a:lnTo>
                  <a:lnTo>
                    <a:pt x="1058" y="553"/>
                  </a:lnTo>
                  <a:lnTo>
                    <a:pt x="1058" y="650"/>
                  </a:lnTo>
                  <a:lnTo>
                    <a:pt x="1054" y="742"/>
                  </a:lnTo>
                  <a:lnTo>
                    <a:pt x="1054" y="742"/>
                  </a:lnTo>
                  <a:lnTo>
                    <a:pt x="1032" y="900"/>
                  </a:lnTo>
                  <a:lnTo>
                    <a:pt x="1010" y="1014"/>
                  </a:lnTo>
                  <a:lnTo>
                    <a:pt x="997" y="1085"/>
                  </a:lnTo>
                  <a:lnTo>
                    <a:pt x="993" y="1102"/>
                  </a:lnTo>
                  <a:lnTo>
                    <a:pt x="993" y="1115"/>
                  </a:lnTo>
                  <a:lnTo>
                    <a:pt x="993" y="1115"/>
                  </a:lnTo>
                  <a:lnTo>
                    <a:pt x="984" y="1115"/>
                  </a:lnTo>
                  <a:lnTo>
                    <a:pt x="953" y="1115"/>
                  </a:lnTo>
                  <a:lnTo>
                    <a:pt x="856" y="1111"/>
                  </a:lnTo>
                  <a:lnTo>
                    <a:pt x="549" y="1089"/>
                  </a:lnTo>
                  <a:lnTo>
                    <a:pt x="101" y="1054"/>
                  </a:lnTo>
                  <a:lnTo>
                    <a:pt x="101" y="1054"/>
                  </a:lnTo>
                  <a:lnTo>
                    <a:pt x="92" y="935"/>
                  </a:lnTo>
                  <a:lnTo>
                    <a:pt x="83" y="821"/>
                  </a:lnTo>
                  <a:lnTo>
                    <a:pt x="66" y="702"/>
                  </a:lnTo>
                  <a:lnTo>
                    <a:pt x="66" y="702"/>
                  </a:lnTo>
                  <a:lnTo>
                    <a:pt x="22" y="474"/>
                  </a:lnTo>
                  <a:lnTo>
                    <a:pt x="4" y="377"/>
                  </a:lnTo>
                  <a:lnTo>
                    <a:pt x="0" y="307"/>
                  </a:lnTo>
                  <a:lnTo>
                    <a:pt x="0" y="307"/>
                  </a:lnTo>
                  <a:lnTo>
                    <a:pt x="0" y="259"/>
                  </a:lnTo>
                  <a:lnTo>
                    <a:pt x="9" y="215"/>
                  </a:lnTo>
                  <a:lnTo>
                    <a:pt x="13" y="193"/>
                  </a:lnTo>
                  <a:lnTo>
                    <a:pt x="22" y="171"/>
                  </a:lnTo>
                  <a:lnTo>
                    <a:pt x="35" y="149"/>
                  </a:lnTo>
                  <a:lnTo>
                    <a:pt x="48" y="131"/>
                  </a:lnTo>
                  <a:lnTo>
                    <a:pt x="48" y="131"/>
                  </a:lnTo>
                  <a:lnTo>
                    <a:pt x="66" y="114"/>
                  </a:lnTo>
                  <a:lnTo>
                    <a:pt x="88" y="101"/>
                  </a:lnTo>
                  <a:lnTo>
                    <a:pt x="105" y="92"/>
                  </a:lnTo>
                  <a:lnTo>
                    <a:pt x="127" y="87"/>
                  </a:lnTo>
                  <a:lnTo>
                    <a:pt x="171" y="83"/>
                  </a:lnTo>
                  <a:lnTo>
                    <a:pt x="224" y="79"/>
                  </a:lnTo>
                  <a:lnTo>
                    <a:pt x="224" y="79"/>
                  </a:lnTo>
                  <a:lnTo>
                    <a:pt x="255" y="70"/>
                  </a:lnTo>
                  <a:lnTo>
                    <a:pt x="290" y="57"/>
                  </a:lnTo>
                  <a:lnTo>
                    <a:pt x="365" y="17"/>
                  </a:lnTo>
                  <a:lnTo>
                    <a:pt x="408" y="4"/>
                  </a:lnTo>
                  <a:lnTo>
                    <a:pt x="448" y="0"/>
                  </a:lnTo>
                  <a:lnTo>
                    <a:pt x="470" y="0"/>
                  </a:lnTo>
                  <a:lnTo>
                    <a:pt x="487" y="8"/>
                  </a:lnTo>
                  <a:lnTo>
                    <a:pt x="509" y="13"/>
                  </a:lnTo>
                  <a:lnTo>
                    <a:pt x="531" y="26"/>
                  </a:lnTo>
                  <a:lnTo>
                    <a:pt x="531" y="26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64" name="Freeform 10"/>
            <p:cNvSpPr>
              <a:spLocks/>
            </p:cNvSpPr>
            <p:nvPr/>
          </p:nvSpPr>
          <p:spPr bwMode="auto">
            <a:xfrm>
              <a:off x="1642798" y="5082221"/>
              <a:ext cx="213364" cy="742756"/>
            </a:xfrm>
            <a:custGeom>
              <a:avLst/>
              <a:gdLst>
                <a:gd name="T0" fmla="*/ 76200 w 228"/>
                <a:gd name="T1" fmla="*/ 0 h 790"/>
                <a:gd name="T2" fmla="*/ 76200 w 228"/>
                <a:gd name="T3" fmla="*/ 0 h 790"/>
                <a:gd name="T4" fmla="*/ 76200 w 228"/>
                <a:gd name="T5" fmla="*/ 61913 h 790"/>
                <a:gd name="T6" fmla="*/ 96837 w 228"/>
                <a:gd name="T7" fmla="*/ 207963 h 790"/>
                <a:gd name="T8" fmla="*/ 111125 w 228"/>
                <a:gd name="T9" fmla="*/ 306388 h 790"/>
                <a:gd name="T10" fmla="*/ 131763 w 228"/>
                <a:gd name="T11" fmla="*/ 417513 h 790"/>
                <a:gd name="T12" fmla="*/ 160338 w 228"/>
                <a:gd name="T13" fmla="*/ 522288 h 790"/>
                <a:gd name="T14" fmla="*/ 201612 w 228"/>
                <a:gd name="T15" fmla="*/ 633412 h 790"/>
                <a:gd name="T16" fmla="*/ 201612 w 228"/>
                <a:gd name="T17" fmla="*/ 633412 h 790"/>
                <a:gd name="T18" fmla="*/ 236538 w 228"/>
                <a:gd name="T19" fmla="*/ 738187 h 790"/>
                <a:gd name="T20" fmla="*/ 271463 w 228"/>
                <a:gd name="T21" fmla="*/ 842963 h 790"/>
                <a:gd name="T22" fmla="*/ 320675 w 228"/>
                <a:gd name="T23" fmla="*/ 1017588 h 790"/>
                <a:gd name="T24" fmla="*/ 347663 w 228"/>
                <a:gd name="T25" fmla="*/ 1163638 h 790"/>
                <a:gd name="T26" fmla="*/ 361950 w 228"/>
                <a:gd name="T27" fmla="*/ 1254125 h 790"/>
                <a:gd name="T28" fmla="*/ 6350 w 228"/>
                <a:gd name="T29" fmla="*/ 1241425 h 790"/>
                <a:gd name="T30" fmla="*/ 6350 w 228"/>
                <a:gd name="T31" fmla="*/ 1241425 h 790"/>
                <a:gd name="T32" fmla="*/ 14288 w 228"/>
                <a:gd name="T33" fmla="*/ 1031875 h 790"/>
                <a:gd name="T34" fmla="*/ 20638 w 228"/>
                <a:gd name="T35" fmla="*/ 850900 h 790"/>
                <a:gd name="T36" fmla="*/ 14288 w 228"/>
                <a:gd name="T37" fmla="*/ 682625 h 790"/>
                <a:gd name="T38" fmla="*/ 14288 w 228"/>
                <a:gd name="T39" fmla="*/ 682625 h 790"/>
                <a:gd name="T40" fmla="*/ 6350 w 228"/>
                <a:gd name="T41" fmla="*/ 530225 h 790"/>
                <a:gd name="T42" fmla="*/ 0 w 228"/>
                <a:gd name="T43" fmla="*/ 452438 h 790"/>
                <a:gd name="T44" fmla="*/ 0 w 228"/>
                <a:gd name="T45" fmla="*/ 369887 h 790"/>
                <a:gd name="T46" fmla="*/ 6350 w 228"/>
                <a:gd name="T47" fmla="*/ 277813 h 790"/>
                <a:gd name="T48" fmla="*/ 20638 w 228"/>
                <a:gd name="T49" fmla="*/ 187325 h 790"/>
                <a:gd name="T50" fmla="*/ 41275 w 228"/>
                <a:gd name="T51" fmla="*/ 96837 h 790"/>
                <a:gd name="T52" fmla="*/ 76200 w 228"/>
                <a:gd name="T53" fmla="*/ 0 h 790"/>
                <a:gd name="T54" fmla="*/ 76200 w 228"/>
                <a:gd name="T55" fmla="*/ 0 h 79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28"/>
                <a:gd name="T85" fmla="*/ 0 h 790"/>
                <a:gd name="T86" fmla="*/ 228 w 228"/>
                <a:gd name="T87" fmla="*/ 790 h 79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28" h="790">
                  <a:moveTo>
                    <a:pt x="48" y="0"/>
                  </a:moveTo>
                  <a:lnTo>
                    <a:pt x="48" y="0"/>
                  </a:lnTo>
                  <a:lnTo>
                    <a:pt x="48" y="39"/>
                  </a:lnTo>
                  <a:lnTo>
                    <a:pt x="61" y="131"/>
                  </a:lnTo>
                  <a:lnTo>
                    <a:pt x="70" y="193"/>
                  </a:lnTo>
                  <a:lnTo>
                    <a:pt x="83" y="263"/>
                  </a:lnTo>
                  <a:lnTo>
                    <a:pt x="101" y="329"/>
                  </a:lnTo>
                  <a:lnTo>
                    <a:pt x="127" y="399"/>
                  </a:lnTo>
                  <a:lnTo>
                    <a:pt x="149" y="465"/>
                  </a:lnTo>
                  <a:lnTo>
                    <a:pt x="171" y="531"/>
                  </a:lnTo>
                  <a:lnTo>
                    <a:pt x="202" y="641"/>
                  </a:lnTo>
                  <a:lnTo>
                    <a:pt x="219" y="733"/>
                  </a:lnTo>
                  <a:lnTo>
                    <a:pt x="228" y="790"/>
                  </a:lnTo>
                  <a:lnTo>
                    <a:pt x="4" y="782"/>
                  </a:lnTo>
                  <a:lnTo>
                    <a:pt x="9" y="650"/>
                  </a:lnTo>
                  <a:lnTo>
                    <a:pt x="13" y="536"/>
                  </a:lnTo>
                  <a:lnTo>
                    <a:pt x="9" y="430"/>
                  </a:lnTo>
                  <a:lnTo>
                    <a:pt x="4" y="334"/>
                  </a:lnTo>
                  <a:lnTo>
                    <a:pt x="0" y="285"/>
                  </a:lnTo>
                  <a:lnTo>
                    <a:pt x="0" y="233"/>
                  </a:lnTo>
                  <a:lnTo>
                    <a:pt x="4" y="175"/>
                  </a:lnTo>
                  <a:lnTo>
                    <a:pt x="13" y="118"/>
                  </a:lnTo>
                  <a:lnTo>
                    <a:pt x="26" y="61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Freeform 11"/>
            <p:cNvSpPr>
              <a:spLocks/>
            </p:cNvSpPr>
            <p:nvPr/>
          </p:nvSpPr>
          <p:spPr bwMode="auto">
            <a:xfrm>
              <a:off x="1737626" y="4916787"/>
              <a:ext cx="182882" cy="249836"/>
            </a:xfrm>
            <a:custGeom>
              <a:avLst/>
              <a:gdLst>
                <a:gd name="T0" fmla="*/ 76200 w 193"/>
                <a:gd name="T1" fmla="*/ 6350 h 268"/>
                <a:gd name="T2" fmla="*/ 76200 w 193"/>
                <a:gd name="T3" fmla="*/ 6350 h 268"/>
                <a:gd name="T4" fmla="*/ 34925 w 193"/>
                <a:gd name="T5" fmla="*/ 125412 h 268"/>
                <a:gd name="T6" fmla="*/ 14288 w 193"/>
                <a:gd name="T7" fmla="*/ 230187 h 268"/>
                <a:gd name="T8" fmla="*/ 6350 w 193"/>
                <a:gd name="T9" fmla="*/ 285750 h 268"/>
                <a:gd name="T10" fmla="*/ 0 w 193"/>
                <a:gd name="T11" fmla="*/ 334962 h 268"/>
                <a:gd name="T12" fmla="*/ 0 w 193"/>
                <a:gd name="T13" fmla="*/ 334962 h 268"/>
                <a:gd name="T14" fmla="*/ 26988 w 193"/>
                <a:gd name="T15" fmla="*/ 327025 h 268"/>
                <a:gd name="T16" fmla="*/ 104775 w 193"/>
                <a:gd name="T17" fmla="*/ 314325 h 268"/>
                <a:gd name="T18" fmla="*/ 104775 w 193"/>
                <a:gd name="T19" fmla="*/ 314325 h 268"/>
                <a:gd name="T20" fmla="*/ 125413 w 193"/>
                <a:gd name="T21" fmla="*/ 320675 h 268"/>
                <a:gd name="T22" fmla="*/ 152400 w 193"/>
                <a:gd name="T23" fmla="*/ 327025 h 268"/>
                <a:gd name="T24" fmla="*/ 222250 w 193"/>
                <a:gd name="T25" fmla="*/ 369887 h 268"/>
                <a:gd name="T26" fmla="*/ 306388 w 193"/>
                <a:gd name="T27" fmla="*/ 425450 h 268"/>
                <a:gd name="T28" fmla="*/ 306388 w 193"/>
                <a:gd name="T29" fmla="*/ 425450 h 268"/>
                <a:gd name="T30" fmla="*/ 292100 w 193"/>
                <a:gd name="T31" fmla="*/ 384175 h 268"/>
                <a:gd name="T32" fmla="*/ 271463 w 193"/>
                <a:gd name="T33" fmla="*/ 341312 h 268"/>
                <a:gd name="T34" fmla="*/ 236538 w 193"/>
                <a:gd name="T35" fmla="*/ 292100 h 268"/>
                <a:gd name="T36" fmla="*/ 236538 w 193"/>
                <a:gd name="T37" fmla="*/ 292100 h 268"/>
                <a:gd name="T38" fmla="*/ 201613 w 193"/>
                <a:gd name="T39" fmla="*/ 236537 h 268"/>
                <a:gd name="T40" fmla="*/ 174625 w 193"/>
                <a:gd name="T41" fmla="*/ 195262 h 268"/>
                <a:gd name="T42" fmla="*/ 160338 w 193"/>
                <a:gd name="T43" fmla="*/ 153987 h 268"/>
                <a:gd name="T44" fmla="*/ 152400 w 193"/>
                <a:gd name="T45" fmla="*/ 111125 h 268"/>
                <a:gd name="T46" fmla="*/ 152400 w 193"/>
                <a:gd name="T47" fmla="*/ 111125 h 268"/>
                <a:gd name="T48" fmla="*/ 139700 w 193"/>
                <a:gd name="T49" fmla="*/ 69850 h 268"/>
                <a:gd name="T50" fmla="*/ 117475 w 193"/>
                <a:gd name="T51" fmla="*/ 28575 h 268"/>
                <a:gd name="T52" fmla="*/ 90488 w 193"/>
                <a:gd name="T53" fmla="*/ 6350 h 268"/>
                <a:gd name="T54" fmla="*/ 82550 w 193"/>
                <a:gd name="T55" fmla="*/ 0 h 268"/>
                <a:gd name="T56" fmla="*/ 76200 w 193"/>
                <a:gd name="T57" fmla="*/ 6350 h 268"/>
                <a:gd name="T58" fmla="*/ 76200 w 193"/>
                <a:gd name="T59" fmla="*/ 6350 h 26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93"/>
                <a:gd name="T91" fmla="*/ 0 h 268"/>
                <a:gd name="T92" fmla="*/ 193 w 193"/>
                <a:gd name="T93" fmla="*/ 268 h 26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93" h="268">
                  <a:moveTo>
                    <a:pt x="48" y="4"/>
                  </a:moveTo>
                  <a:lnTo>
                    <a:pt x="48" y="4"/>
                  </a:lnTo>
                  <a:lnTo>
                    <a:pt x="22" y="79"/>
                  </a:lnTo>
                  <a:lnTo>
                    <a:pt x="9" y="145"/>
                  </a:lnTo>
                  <a:lnTo>
                    <a:pt x="4" y="180"/>
                  </a:lnTo>
                  <a:lnTo>
                    <a:pt x="0" y="211"/>
                  </a:lnTo>
                  <a:lnTo>
                    <a:pt x="17" y="206"/>
                  </a:lnTo>
                  <a:lnTo>
                    <a:pt x="66" y="198"/>
                  </a:lnTo>
                  <a:lnTo>
                    <a:pt x="79" y="202"/>
                  </a:lnTo>
                  <a:lnTo>
                    <a:pt x="96" y="206"/>
                  </a:lnTo>
                  <a:lnTo>
                    <a:pt x="140" y="233"/>
                  </a:lnTo>
                  <a:lnTo>
                    <a:pt x="193" y="268"/>
                  </a:lnTo>
                  <a:lnTo>
                    <a:pt x="184" y="242"/>
                  </a:lnTo>
                  <a:lnTo>
                    <a:pt x="171" y="215"/>
                  </a:lnTo>
                  <a:lnTo>
                    <a:pt x="149" y="184"/>
                  </a:lnTo>
                  <a:lnTo>
                    <a:pt x="127" y="149"/>
                  </a:lnTo>
                  <a:lnTo>
                    <a:pt x="110" y="123"/>
                  </a:lnTo>
                  <a:lnTo>
                    <a:pt x="101" y="97"/>
                  </a:lnTo>
                  <a:lnTo>
                    <a:pt x="96" y="70"/>
                  </a:lnTo>
                  <a:lnTo>
                    <a:pt x="88" y="44"/>
                  </a:lnTo>
                  <a:lnTo>
                    <a:pt x="74" y="18"/>
                  </a:lnTo>
                  <a:lnTo>
                    <a:pt x="57" y="4"/>
                  </a:lnTo>
                  <a:lnTo>
                    <a:pt x="52" y="0"/>
                  </a:lnTo>
                  <a:lnTo>
                    <a:pt x="48" y="4"/>
                  </a:lnTo>
                  <a:close/>
                </a:path>
              </a:pathLst>
            </a:custGeom>
            <a:solidFill>
              <a:srgbClr val="E9E5E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Freeform 13"/>
            <p:cNvSpPr>
              <a:spLocks/>
            </p:cNvSpPr>
            <p:nvPr/>
          </p:nvSpPr>
          <p:spPr bwMode="auto">
            <a:xfrm>
              <a:off x="1683439" y="4525152"/>
              <a:ext cx="30481" cy="168808"/>
            </a:xfrm>
            <a:custGeom>
              <a:avLst/>
              <a:gdLst>
                <a:gd name="T0" fmla="*/ 42863 w 35"/>
                <a:gd name="T1" fmla="*/ 0 h 184"/>
                <a:gd name="T2" fmla="*/ 42863 w 35"/>
                <a:gd name="T3" fmla="*/ 0 h 184"/>
                <a:gd name="T4" fmla="*/ 20638 w 35"/>
                <a:gd name="T5" fmla="*/ 41275 h 184"/>
                <a:gd name="T6" fmla="*/ 7938 w 35"/>
                <a:gd name="T7" fmla="*/ 90487 h 184"/>
                <a:gd name="T8" fmla="*/ 0 w 35"/>
                <a:gd name="T9" fmla="*/ 139700 h 184"/>
                <a:gd name="T10" fmla="*/ 0 w 35"/>
                <a:gd name="T11" fmla="*/ 139700 h 184"/>
                <a:gd name="T12" fmla="*/ 7938 w 35"/>
                <a:gd name="T13" fmla="*/ 195262 h 184"/>
                <a:gd name="T14" fmla="*/ 28575 w 35"/>
                <a:gd name="T15" fmla="*/ 242888 h 184"/>
                <a:gd name="T16" fmla="*/ 49213 w 35"/>
                <a:gd name="T17" fmla="*/ 292100 h 184"/>
                <a:gd name="T18" fmla="*/ 49213 w 35"/>
                <a:gd name="T19" fmla="*/ 292100 h 184"/>
                <a:gd name="T20" fmla="*/ 55563 w 35"/>
                <a:gd name="T21" fmla="*/ 152400 h 184"/>
                <a:gd name="T22" fmla="*/ 55563 w 35"/>
                <a:gd name="T23" fmla="*/ 47625 h 184"/>
                <a:gd name="T24" fmla="*/ 49213 w 35"/>
                <a:gd name="T25" fmla="*/ 12700 h 184"/>
                <a:gd name="T26" fmla="*/ 42863 w 35"/>
                <a:gd name="T27" fmla="*/ 0 h 184"/>
                <a:gd name="T28" fmla="*/ 42863 w 35"/>
                <a:gd name="T29" fmla="*/ 0 h 18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5"/>
                <a:gd name="T46" fmla="*/ 0 h 184"/>
                <a:gd name="T47" fmla="*/ 35 w 35"/>
                <a:gd name="T48" fmla="*/ 184 h 18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5" h="184">
                  <a:moveTo>
                    <a:pt x="27" y="0"/>
                  </a:moveTo>
                  <a:lnTo>
                    <a:pt x="27" y="0"/>
                  </a:lnTo>
                  <a:lnTo>
                    <a:pt x="13" y="26"/>
                  </a:lnTo>
                  <a:lnTo>
                    <a:pt x="5" y="57"/>
                  </a:lnTo>
                  <a:lnTo>
                    <a:pt x="0" y="88"/>
                  </a:lnTo>
                  <a:lnTo>
                    <a:pt x="5" y="123"/>
                  </a:lnTo>
                  <a:lnTo>
                    <a:pt x="18" y="153"/>
                  </a:lnTo>
                  <a:lnTo>
                    <a:pt x="31" y="184"/>
                  </a:lnTo>
                  <a:lnTo>
                    <a:pt x="35" y="96"/>
                  </a:lnTo>
                  <a:lnTo>
                    <a:pt x="35" y="30"/>
                  </a:lnTo>
                  <a:lnTo>
                    <a:pt x="31" y="8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B9783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Freeform 19"/>
            <p:cNvSpPr>
              <a:spLocks/>
            </p:cNvSpPr>
            <p:nvPr/>
          </p:nvSpPr>
          <p:spPr bwMode="auto">
            <a:xfrm>
              <a:off x="1927282" y="4842512"/>
              <a:ext cx="23708" cy="23634"/>
            </a:xfrm>
            <a:custGeom>
              <a:avLst/>
              <a:gdLst>
                <a:gd name="T0" fmla="*/ 0 w 22"/>
                <a:gd name="T1" fmla="*/ 0 h 31"/>
                <a:gd name="T2" fmla="*/ 0 w 22"/>
                <a:gd name="T3" fmla="*/ 0 h 31"/>
                <a:gd name="T4" fmla="*/ 14288 w 22"/>
                <a:gd name="T5" fmla="*/ 14287 h 31"/>
                <a:gd name="T6" fmla="*/ 20637 w 22"/>
                <a:gd name="T7" fmla="*/ 26987 h 31"/>
                <a:gd name="T8" fmla="*/ 20637 w 22"/>
                <a:gd name="T9" fmla="*/ 49212 h 31"/>
                <a:gd name="T10" fmla="*/ 20637 w 22"/>
                <a:gd name="T11" fmla="*/ 49212 h 31"/>
                <a:gd name="T12" fmla="*/ 26988 w 22"/>
                <a:gd name="T13" fmla="*/ 41275 h 31"/>
                <a:gd name="T14" fmla="*/ 34925 w 22"/>
                <a:gd name="T15" fmla="*/ 26987 h 31"/>
                <a:gd name="T16" fmla="*/ 34925 w 22"/>
                <a:gd name="T17" fmla="*/ 14287 h 31"/>
                <a:gd name="T18" fmla="*/ 26988 w 22"/>
                <a:gd name="T19" fmla="*/ 6350 h 31"/>
                <a:gd name="T20" fmla="*/ 20637 w 22"/>
                <a:gd name="T21" fmla="*/ 0 h 31"/>
                <a:gd name="T22" fmla="*/ 0 w 22"/>
                <a:gd name="T23" fmla="*/ 0 h 31"/>
                <a:gd name="T24" fmla="*/ 0 w 22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"/>
                <a:gd name="T40" fmla="*/ 0 h 31"/>
                <a:gd name="T41" fmla="*/ 22 w 22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" h="31">
                  <a:moveTo>
                    <a:pt x="0" y="0"/>
                  </a:moveTo>
                  <a:lnTo>
                    <a:pt x="0" y="0"/>
                  </a:lnTo>
                  <a:lnTo>
                    <a:pt x="9" y="9"/>
                  </a:lnTo>
                  <a:lnTo>
                    <a:pt x="13" y="17"/>
                  </a:lnTo>
                  <a:lnTo>
                    <a:pt x="13" y="31"/>
                  </a:lnTo>
                  <a:lnTo>
                    <a:pt x="17" y="26"/>
                  </a:lnTo>
                  <a:lnTo>
                    <a:pt x="22" y="17"/>
                  </a:lnTo>
                  <a:lnTo>
                    <a:pt x="22" y="9"/>
                  </a:lnTo>
                  <a:lnTo>
                    <a:pt x="17" y="4"/>
                  </a:lnTo>
                  <a:lnTo>
                    <a:pt x="1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E976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Freeform 24"/>
            <p:cNvSpPr>
              <a:spLocks/>
            </p:cNvSpPr>
            <p:nvPr/>
          </p:nvSpPr>
          <p:spPr bwMode="auto">
            <a:xfrm>
              <a:off x="1893415" y="4697338"/>
              <a:ext cx="118536" cy="33762"/>
            </a:xfrm>
            <a:custGeom>
              <a:avLst/>
              <a:gdLst>
                <a:gd name="T0" fmla="*/ 0 w 123"/>
                <a:gd name="T1" fmla="*/ 0 h 35"/>
                <a:gd name="T2" fmla="*/ 0 w 123"/>
                <a:gd name="T3" fmla="*/ 0 h 35"/>
                <a:gd name="T4" fmla="*/ 20638 w 123"/>
                <a:gd name="T5" fmla="*/ 12700 h 35"/>
                <a:gd name="T6" fmla="*/ 55563 w 123"/>
                <a:gd name="T7" fmla="*/ 26987 h 35"/>
                <a:gd name="T8" fmla="*/ 82550 w 123"/>
                <a:gd name="T9" fmla="*/ 34925 h 35"/>
                <a:gd name="T10" fmla="*/ 117475 w 123"/>
                <a:gd name="T11" fmla="*/ 34925 h 35"/>
                <a:gd name="T12" fmla="*/ 152400 w 123"/>
                <a:gd name="T13" fmla="*/ 20637 h 35"/>
                <a:gd name="T14" fmla="*/ 195263 w 123"/>
                <a:gd name="T15" fmla="*/ 0 h 35"/>
                <a:gd name="T16" fmla="*/ 195263 w 123"/>
                <a:gd name="T17" fmla="*/ 0 h 35"/>
                <a:gd name="T18" fmla="*/ 180975 w 123"/>
                <a:gd name="T19" fmla="*/ 12700 h 35"/>
                <a:gd name="T20" fmla="*/ 160338 w 123"/>
                <a:gd name="T21" fmla="*/ 34925 h 35"/>
                <a:gd name="T22" fmla="*/ 138113 w 123"/>
                <a:gd name="T23" fmla="*/ 47625 h 35"/>
                <a:gd name="T24" fmla="*/ 104775 w 123"/>
                <a:gd name="T25" fmla="*/ 55562 h 35"/>
                <a:gd name="T26" fmla="*/ 76200 w 123"/>
                <a:gd name="T27" fmla="*/ 55562 h 35"/>
                <a:gd name="T28" fmla="*/ 41275 w 123"/>
                <a:gd name="T29" fmla="*/ 34925 h 35"/>
                <a:gd name="T30" fmla="*/ 0 w 123"/>
                <a:gd name="T31" fmla="*/ 0 h 35"/>
                <a:gd name="T32" fmla="*/ 0 w 123"/>
                <a:gd name="T33" fmla="*/ 0 h 3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23"/>
                <a:gd name="T52" fmla="*/ 0 h 35"/>
                <a:gd name="T53" fmla="*/ 123 w 123"/>
                <a:gd name="T54" fmla="*/ 35 h 3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23" h="35">
                  <a:moveTo>
                    <a:pt x="0" y="0"/>
                  </a:moveTo>
                  <a:lnTo>
                    <a:pt x="0" y="0"/>
                  </a:lnTo>
                  <a:lnTo>
                    <a:pt x="13" y="8"/>
                  </a:lnTo>
                  <a:lnTo>
                    <a:pt x="35" y="17"/>
                  </a:lnTo>
                  <a:lnTo>
                    <a:pt x="52" y="22"/>
                  </a:lnTo>
                  <a:lnTo>
                    <a:pt x="74" y="22"/>
                  </a:lnTo>
                  <a:lnTo>
                    <a:pt x="96" y="13"/>
                  </a:lnTo>
                  <a:lnTo>
                    <a:pt x="123" y="0"/>
                  </a:lnTo>
                  <a:lnTo>
                    <a:pt x="114" y="8"/>
                  </a:lnTo>
                  <a:lnTo>
                    <a:pt x="101" y="22"/>
                  </a:lnTo>
                  <a:lnTo>
                    <a:pt x="87" y="30"/>
                  </a:lnTo>
                  <a:lnTo>
                    <a:pt x="66" y="35"/>
                  </a:lnTo>
                  <a:lnTo>
                    <a:pt x="48" y="35"/>
                  </a:lnTo>
                  <a:lnTo>
                    <a:pt x="26" y="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grpSp>
          <p:nvGrpSpPr>
            <p:cNvPr id="69" name="Gruppe 88"/>
            <p:cNvGrpSpPr/>
            <p:nvPr/>
          </p:nvGrpSpPr>
          <p:grpSpPr bwMode="auto">
            <a:xfrm>
              <a:off x="1663548" y="4336087"/>
              <a:ext cx="471222" cy="849336"/>
              <a:chOff x="4695825" y="2516188"/>
              <a:chExt cx="793750" cy="1430337"/>
            </a:xfrm>
            <a:solidFill>
              <a:schemeClr val="bg1">
                <a:lumMod val="65000"/>
              </a:schemeClr>
            </a:solidFill>
          </p:grpSpPr>
          <p:sp>
            <p:nvSpPr>
              <p:cNvPr id="99" name="Freeform 12"/>
              <p:cNvSpPr>
                <a:spLocks/>
              </p:cNvSpPr>
              <p:nvPr/>
            </p:nvSpPr>
            <p:spPr bwMode="auto">
              <a:xfrm>
                <a:off x="4695825" y="2544763"/>
                <a:ext cx="320675" cy="746125"/>
              </a:xfrm>
              <a:custGeom>
                <a:avLst/>
                <a:gdLst/>
                <a:ahLst/>
                <a:cxnLst>
                  <a:cxn ang="0">
                    <a:pos x="197" y="0"/>
                  </a:cxn>
                  <a:cxn ang="0">
                    <a:pos x="197" y="0"/>
                  </a:cxn>
                  <a:cxn ang="0">
                    <a:pos x="180" y="4"/>
                  </a:cxn>
                  <a:cxn ang="0">
                    <a:pos x="136" y="17"/>
                  </a:cxn>
                  <a:cxn ang="0">
                    <a:pos x="105" y="26"/>
                  </a:cxn>
                  <a:cxn ang="0">
                    <a:pos x="79" y="43"/>
                  </a:cxn>
                  <a:cxn ang="0">
                    <a:pos x="52" y="70"/>
                  </a:cxn>
                  <a:cxn ang="0">
                    <a:pos x="30" y="96"/>
                  </a:cxn>
                  <a:cxn ang="0">
                    <a:pos x="30" y="96"/>
                  </a:cxn>
                  <a:cxn ang="0">
                    <a:pos x="13" y="131"/>
                  </a:cxn>
                  <a:cxn ang="0">
                    <a:pos x="4" y="171"/>
                  </a:cxn>
                  <a:cxn ang="0">
                    <a:pos x="0" y="206"/>
                  </a:cxn>
                  <a:cxn ang="0">
                    <a:pos x="4" y="241"/>
                  </a:cxn>
                  <a:cxn ang="0">
                    <a:pos x="9" y="276"/>
                  </a:cxn>
                  <a:cxn ang="0">
                    <a:pos x="17" y="307"/>
                  </a:cxn>
                  <a:cxn ang="0">
                    <a:pos x="35" y="369"/>
                  </a:cxn>
                  <a:cxn ang="0">
                    <a:pos x="35" y="369"/>
                  </a:cxn>
                  <a:cxn ang="0">
                    <a:pos x="61" y="443"/>
                  </a:cxn>
                  <a:cxn ang="0">
                    <a:pos x="74" y="470"/>
                  </a:cxn>
                  <a:cxn ang="0">
                    <a:pos x="74" y="470"/>
                  </a:cxn>
                  <a:cxn ang="0">
                    <a:pos x="96" y="329"/>
                  </a:cxn>
                  <a:cxn ang="0">
                    <a:pos x="114" y="219"/>
                  </a:cxn>
                  <a:cxn ang="0">
                    <a:pos x="123" y="180"/>
                  </a:cxn>
                  <a:cxn ang="0">
                    <a:pos x="136" y="153"/>
                  </a:cxn>
                  <a:cxn ang="0">
                    <a:pos x="136" y="153"/>
                  </a:cxn>
                  <a:cxn ang="0">
                    <a:pos x="162" y="118"/>
                  </a:cxn>
                  <a:cxn ang="0">
                    <a:pos x="189" y="74"/>
                  </a:cxn>
                  <a:cxn ang="0">
                    <a:pos x="197" y="52"/>
                  </a:cxn>
                  <a:cxn ang="0">
                    <a:pos x="202" y="30"/>
                  </a:cxn>
                  <a:cxn ang="0">
                    <a:pos x="202" y="13"/>
                  </a:cxn>
                  <a:cxn ang="0">
                    <a:pos x="197" y="0"/>
                  </a:cxn>
                  <a:cxn ang="0">
                    <a:pos x="197" y="0"/>
                  </a:cxn>
                </a:cxnLst>
                <a:rect l="0" t="0" r="r" b="b"/>
                <a:pathLst>
                  <a:path w="202" h="470">
                    <a:moveTo>
                      <a:pt x="197" y="0"/>
                    </a:moveTo>
                    <a:lnTo>
                      <a:pt x="197" y="0"/>
                    </a:lnTo>
                    <a:lnTo>
                      <a:pt x="180" y="4"/>
                    </a:lnTo>
                    <a:lnTo>
                      <a:pt x="136" y="17"/>
                    </a:lnTo>
                    <a:lnTo>
                      <a:pt x="105" y="26"/>
                    </a:lnTo>
                    <a:lnTo>
                      <a:pt x="79" y="43"/>
                    </a:lnTo>
                    <a:lnTo>
                      <a:pt x="52" y="70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13" y="131"/>
                    </a:lnTo>
                    <a:lnTo>
                      <a:pt x="4" y="171"/>
                    </a:lnTo>
                    <a:lnTo>
                      <a:pt x="0" y="206"/>
                    </a:lnTo>
                    <a:lnTo>
                      <a:pt x="4" y="241"/>
                    </a:lnTo>
                    <a:lnTo>
                      <a:pt x="9" y="276"/>
                    </a:lnTo>
                    <a:lnTo>
                      <a:pt x="17" y="307"/>
                    </a:lnTo>
                    <a:lnTo>
                      <a:pt x="35" y="369"/>
                    </a:lnTo>
                    <a:lnTo>
                      <a:pt x="35" y="369"/>
                    </a:lnTo>
                    <a:lnTo>
                      <a:pt x="61" y="443"/>
                    </a:lnTo>
                    <a:lnTo>
                      <a:pt x="74" y="470"/>
                    </a:lnTo>
                    <a:lnTo>
                      <a:pt x="74" y="470"/>
                    </a:lnTo>
                    <a:lnTo>
                      <a:pt x="96" y="329"/>
                    </a:lnTo>
                    <a:lnTo>
                      <a:pt x="114" y="219"/>
                    </a:lnTo>
                    <a:lnTo>
                      <a:pt x="123" y="180"/>
                    </a:lnTo>
                    <a:lnTo>
                      <a:pt x="136" y="153"/>
                    </a:lnTo>
                    <a:lnTo>
                      <a:pt x="136" y="153"/>
                    </a:lnTo>
                    <a:lnTo>
                      <a:pt x="162" y="118"/>
                    </a:lnTo>
                    <a:lnTo>
                      <a:pt x="189" y="74"/>
                    </a:lnTo>
                    <a:lnTo>
                      <a:pt x="197" y="52"/>
                    </a:lnTo>
                    <a:lnTo>
                      <a:pt x="202" y="30"/>
                    </a:lnTo>
                    <a:lnTo>
                      <a:pt x="202" y="13"/>
                    </a:lnTo>
                    <a:lnTo>
                      <a:pt x="197" y="0"/>
                    </a:lnTo>
                    <a:lnTo>
                      <a:pt x="19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00" name="Freeform 14"/>
              <p:cNvSpPr>
                <a:spLocks/>
              </p:cNvSpPr>
              <p:nvPr/>
            </p:nvSpPr>
            <p:spPr bwMode="auto">
              <a:xfrm>
                <a:off x="4953000" y="3101975"/>
                <a:ext cx="536575" cy="844550"/>
              </a:xfrm>
              <a:custGeom>
                <a:avLst/>
                <a:gdLst/>
                <a:ahLst/>
                <a:cxnLst>
                  <a:cxn ang="0">
                    <a:pos x="5" y="294"/>
                  </a:cxn>
                  <a:cxn ang="0">
                    <a:pos x="5" y="294"/>
                  </a:cxn>
                  <a:cxn ang="0">
                    <a:pos x="13" y="334"/>
                  </a:cxn>
                  <a:cxn ang="0">
                    <a:pos x="31" y="369"/>
                  </a:cxn>
                  <a:cxn ang="0">
                    <a:pos x="53" y="409"/>
                  </a:cxn>
                  <a:cxn ang="0">
                    <a:pos x="53" y="409"/>
                  </a:cxn>
                  <a:cxn ang="0">
                    <a:pos x="79" y="448"/>
                  </a:cxn>
                  <a:cxn ang="0">
                    <a:pos x="101" y="492"/>
                  </a:cxn>
                  <a:cxn ang="0">
                    <a:pos x="119" y="532"/>
                  </a:cxn>
                  <a:cxn ang="0">
                    <a:pos x="119" y="532"/>
                  </a:cxn>
                  <a:cxn ang="0">
                    <a:pos x="171" y="492"/>
                  </a:cxn>
                  <a:cxn ang="0">
                    <a:pos x="220" y="452"/>
                  </a:cxn>
                  <a:cxn ang="0">
                    <a:pos x="264" y="413"/>
                  </a:cxn>
                  <a:cxn ang="0">
                    <a:pos x="264" y="413"/>
                  </a:cxn>
                  <a:cxn ang="0">
                    <a:pos x="281" y="387"/>
                  </a:cxn>
                  <a:cxn ang="0">
                    <a:pos x="299" y="360"/>
                  </a:cxn>
                  <a:cxn ang="0">
                    <a:pos x="321" y="299"/>
                  </a:cxn>
                  <a:cxn ang="0">
                    <a:pos x="338" y="242"/>
                  </a:cxn>
                  <a:cxn ang="0">
                    <a:pos x="338" y="220"/>
                  </a:cxn>
                  <a:cxn ang="0">
                    <a:pos x="338" y="202"/>
                  </a:cxn>
                  <a:cxn ang="0">
                    <a:pos x="338" y="202"/>
                  </a:cxn>
                  <a:cxn ang="0">
                    <a:pos x="330" y="176"/>
                  </a:cxn>
                  <a:cxn ang="0">
                    <a:pos x="312" y="141"/>
                  </a:cxn>
                  <a:cxn ang="0">
                    <a:pos x="294" y="101"/>
                  </a:cxn>
                  <a:cxn ang="0">
                    <a:pos x="290" y="79"/>
                  </a:cxn>
                  <a:cxn ang="0">
                    <a:pos x="286" y="61"/>
                  </a:cxn>
                  <a:cxn ang="0">
                    <a:pos x="286" y="61"/>
                  </a:cxn>
                  <a:cxn ang="0">
                    <a:pos x="281" y="44"/>
                  </a:cxn>
                  <a:cxn ang="0">
                    <a:pos x="272" y="26"/>
                  </a:cxn>
                  <a:cxn ang="0">
                    <a:pos x="255" y="18"/>
                  </a:cxn>
                  <a:cxn ang="0">
                    <a:pos x="237" y="9"/>
                  </a:cxn>
                  <a:cxn ang="0">
                    <a:pos x="220" y="0"/>
                  </a:cxn>
                  <a:cxn ang="0">
                    <a:pos x="202" y="0"/>
                  </a:cxn>
                  <a:cxn ang="0">
                    <a:pos x="185" y="0"/>
                  </a:cxn>
                  <a:cxn ang="0">
                    <a:pos x="176" y="4"/>
                  </a:cxn>
                  <a:cxn ang="0">
                    <a:pos x="176" y="4"/>
                  </a:cxn>
                  <a:cxn ang="0">
                    <a:pos x="158" y="18"/>
                  </a:cxn>
                  <a:cxn ang="0">
                    <a:pos x="136" y="44"/>
                  </a:cxn>
                  <a:cxn ang="0">
                    <a:pos x="106" y="83"/>
                  </a:cxn>
                  <a:cxn ang="0">
                    <a:pos x="70" y="127"/>
                  </a:cxn>
                  <a:cxn ang="0">
                    <a:pos x="40" y="176"/>
                  </a:cxn>
                  <a:cxn ang="0">
                    <a:pos x="18" y="224"/>
                  </a:cxn>
                  <a:cxn ang="0">
                    <a:pos x="9" y="242"/>
                  </a:cxn>
                  <a:cxn ang="0">
                    <a:pos x="5" y="264"/>
                  </a:cxn>
                  <a:cxn ang="0">
                    <a:pos x="0" y="281"/>
                  </a:cxn>
                  <a:cxn ang="0">
                    <a:pos x="5" y="294"/>
                  </a:cxn>
                  <a:cxn ang="0">
                    <a:pos x="5" y="294"/>
                  </a:cxn>
                </a:cxnLst>
                <a:rect l="0" t="0" r="r" b="b"/>
                <a:pathLst>
                  <a:path w="338" h="532">
                    <a:moveTo>
                      <a:pt x="5" y="294"/>
                    </a:moveTo>
                    <a:lnTo>
                      <a:pt x="5" y="294"/>
                    </a:lnTo>
                    <a:lnTo>
                      <a:pt x="13" y="334"/>
                    </a:lnTo>
                    <a:lnTo>
                      <a:pt x="31" y="369"/>
                    </a:lnTo>
                    <a:lnTo>
                      <a:pt x="53" y="409"/>
                    </a:lnTo>
                    <a:lnTo>
                      <a:pt x="53" y="409"/>
                    </a:lnTo>
                    <a:lnTo>
                      <a:pt x="79" y="448"/>
                    </a:lnTo>
                    <a:lnTo>
                      <a:pt x="101" y="492"/>
                    </a:lnTo>
                    <a:lnTo>
                      <a:pt x="119" y="532"/>
                    </a:lnTo>
                    <a:lnTo>
                      <a:pt x="119" y="532"/>
                    </a:lnTo>
                    <a:lnTo>
                      <a:pt x="171" y="492"/>
                    </a:lnTo>
                    <a:lnTo>
                      <a:pt x="220" y="452"/>
                    </a:lnTo>
                    <a:lnTo>
                      <a:pt x="264" y="413"/>
                    </a:lnTo>
                    <a:lnTo>
                      <a:pt x="264" y="413"/>
                    </a:lnTo>
                    <a:lnTo>
                      <a:pt x="281" y="387"/>
                    </a:lnTo>
                    <a:lnTo>
                      <a:pt x="299" y="360"/>
                    </a:lnTo>
                    <a:lnTo>
                      <a:pt x="321" y="299"/>
                    </a:lnTo>
                    <a:lnTo>
                      <a:pt x="338" y="242"/>
                    </a:lnTo>
                    <a:lnTo>
                      <a:pt x="338" y="220"/>
                    </a:lnTo>
                    <a:lnTo>
                      <a:pt x="338" y="202"/>
                    </a:lnTo>
                    <a:lnTo>
                      <a:pt x="338" y="202"/>
                    </a:lnTo>
                    <a:lnTo>
                      <a:pt x="330" y="176"/>
                    </a:lnTo>
                    <a:lnTo>
                      <a:pt x="312" y="141"/>
                    </a:lnTo>
                    <a:lnTo>
                      <a:pt x="294" y="101"/>
                    </a:lnTo>
                    <a:lnTo>
                      <a:pt x="290" y="79"/>
                    </a:lnTo>
                    <a:lnTo>
                      <a:pt x="286" y="61"/>
                    </a:lnTo>
                    <a:lnTo>
                      <a:pt x="286" y="61"/>
                    </a:lnTo>
                    <a:lnTo>
                      <a:pt x="281" y="44"/>
                    </a:lnTo>
                    <a:lnTo>
                      <a:pt x="272" y="26"/>
                    </a:lnTo>
                    <a:lnTo>
                      <a:pt x="255" y="18"/>
                    </a:lnTo>
                    <a:lnTo>
                      <a:pt x="237" y="9"/>
                    </a:lnTo>
                    <a:lnTo>
                      <a:pt x="220" y="0"/>
                    </a:lnTo>
                    <a:lnTo>
                      <a:pt x="202" y="0"/>
                    </a:lnTo>
                    <a:lnTo>
                      <a:pt x="185" y="0"/>
                    </a:lnTo>
                    <a:lnTo>
                      <a:pt x="176" y="4"/>
                    </a:lnTo>
                    <a:lnTo>
                      <a:pt x="176" y="4"/>
                    </a:lnTo>
                    <a:lnTo>
                      <a:pt x="158" y="18"/>
                    </a:lnTo>
                    <a:lnTo>
                      <a:pt x="136" y="44"/>
                    </a:lnTo>
                    <a:lnTo>
                      <a:pt x="106" y="83"/>
                    </a:lnTo>
                    <a:lnTo>
                      <a:pt x="70" y="127"/>
                    </a:lnTo>
                    <a:lnTo>
                      <a:pt x="40" y="176"/>
                    </a:lnTo>
                    <a:lnTo>
                      <a:pt x="18" y="224"/>
                    </a:lnTo>
                    <a:lnTo>
                      <a:pt x="9" y="242"/>
                    </a:lnTo>
                    <a:lnTo>
                      <a:pt x="5" y="264"/>
                    </a:lnTo>
                    <a:lnTo>
                      <a:pt x="0" y="281"/>
                    </a:lnTo>
                    <a:lnTo>
                      <a:pt x="5" y="294"/>
                    </a:lnTo>
                    <a:lnTo>
                      <a:pt x="5" y="29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01" name="Freeform 15"/>
              <p:cNvSpPr>
                <a:spLocks/>
              </p:cNvSpPr>
              <p:nvPr/>
            </p:nvSpPr>
            <p:spPr bwMode="auto">
              <a:xfrm>
                <a:off x="5384800" y="3003550"/>
                <a:ext cx="104775" cy="273050"/>
              </a:xfrm>
              <a:custGeom>
                <a:avLst/>
                <a:gdLst/>
                <a:ahLst/>
                <a:cxnLst>
                  <a:cxn ang="0">
                    <a:pos x="0" y="115"/>
                  </a:cxn>
                  <a:cxn ang="0">
                    <a:pos x="0" y="115"/>
                  </a:cxn>
                  <a:cxn ang="0">
                    <a:pos x="9" y="75"/>
                  </a:cxn>
                  <a:cxn ang="0">
                    <a:pos x="18" y="40"/>
                  </a:cxn>
                  <a:cxn ang="0">
                    <a:pos x="27" y="22"/>
                  </a:cxn>
                  <a:cxn ang="0">
                    <a:pos x="36" y="9"/>
                  </a:cxn>
                  <a:cxn ang="0">
                    <a:pos x="36" y="9"/>
                  </a:cxn>
                  <a:cxn ang="0">
                    <a:pos x="44" y="0"/>
                  </a:cxn>
                  <a:cxn ang="0">
                    <a:pos x="53" y="0"/>
                  </a:cxn>
                  <a:cxn ang="0">
                    <a:pos x="62" y="0"/>
                  </a:cxn>
                  <a:cxn ang="0">
                    <a:pos x="66" y="9"/>
                  </a:cxn>
                  <a:cxn ang="0">
                    <a:pos x="66" y="18"/>
                  </a:cxn>
                  <a:cxn ang="0">
                    <a:pos x="66" y="31"/>
                  </a:cxn>
                  <a:cxn ang="0">
                    <a:pos x="62" y="66"/>
                  </a:cxn>
                  <a:cxn ang="0">
                    <a:pos x="62" y="66"/>
                  </a:cxn>
                  <a:cxn ang="0">
                    <a:pos x="44" y="115"/>
                  </a:cxn>
                  <a:cxn ang="0">
                    <a:pos x="40" y="128"/>
                  </a:cxn>
                  <a:cxn ang="0">
                    <a:pos x="40" y="141"/>
                  </a:cxn>
                  <a:cxn ang="0">
                    <a:pos x="40" y="141"/>
                  </a:cxn>
                  <a:cxn ang="0">
                    <a:pos x="31" y="159"/>
                  </a:cxn>
                  <a:cxn ang="0">
                    <a:pos x="27" y="167"/>
                  </a:cxn>
                  <a:cxn ang="0">
                    <a:pos x="18" y="172"/>
                  </a:cxn>
                  <a:cxn ang="0">
                    <a:pos x="14" y="167"/>
                  </a:cxn>
                  <a:cxn ang="0">
                    <a:pos x="9" y="163"/>
                  </a:cxn>
                  <a:cxn ang="0">
                    <a:pos x="5" y="145"/>
                  </a:cxn>
                  <a:cxn ang="0">
                    <a:pos x="0" y="115"/>
                  </a:cxn>
                  <a:cxn ang="0">
                    <a:pos x="0" y="115"/>
                  </a:cxn>
                </a:cxnLst>
                <a:rect l="0" t="0" r="r" b="b"/>
                <a:pathLst>
                  <a:path w="66" h="172">
                    <a:moveTo>
                      <a:pt x="0" y="115"/>
                    </a:moveTo>
                    <a:lnTo>
                      <a:pt x="0" y="115"/>
                    </a:lnTo>
                    <a:lnTo>
                      <a:pt x="9" y="75"/>
                    </a:lnTo>
                    <a:lnTo>
                      <a:pt x="18" y="40"/>
                    </a:lnTo>
                    <a:lnTo>
                      <a:pt x="27" y="22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44" y="0"/>
                    </a:lnTo>
                    <a:lnTo>
                      <a:pt x="53" y="0"/>
                    </a:lnTo>
                    <a:lnTo>
                      <a:pt x="62" y="0"/>
                    </a:lnTo>
                    <a:lnTo>
                      <a:pt x="66" y="9"/>
                    </a:lnTo>
                    <a:lnTo>
                      <a:pt x="66" y="18"/>
                    </a:lnTo>
                    <a:lnTo>
                      <a:pt x="66" y="31"/>
                    </a:lnTo>
                    <a:lnTo>
                      <a:pt x="62" y="66"/>
                    </a:lnTo>
                    <a:lnTo>
                      <a:pt x="62" y="66"/>
                    </a:lnTo>
                    <a:lnTo>
                      <a:pt x="44" y="115"/>
                    </a:lnTo>
                    <a:lnTo>
                      <a:pt x="40" y="128"/>
                    </a:lnTo>
                    <a:lnTo>
                      <a:pt x="40" y="141"/>
                    </a:lnTo>
                    <a:lnTo>
                      <a:pt x="40" y="141"/>
                    </a:lnTo>
                    <a:lnTo>
                      <a:pt x="31" y="159"/>
                    </a:lnTo>
                    <a:lnTo>
                      <a:pt x="27" y="167"/>
                    </a:lnTo>
                    <a:lnTo>
                      <a:pt x="18" y="172"/>
                    </a:lnTo>
                    <a:lnTo>
                      <a:pt x="14" y="167"/>
                    </a:lnTo>
                    <a:lnTo>
                      <a:pt x="9" y="163"/>
                    </a:lnTo>
                    <a:lnTo>
                      <a:pt x="5" y="145"/>
                    </a:lnTo>
                    <a:lnTo>
                      <a:pt x="0" y="115"/>
                    </a:lnTo>
                    <a:lnTo>
                      <a:pt x="0" y="11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02" name="Freeform 16"/>
              <p:cNvSpPr>
                <a:spLocks/>
              </p:cNvSpPr>
              <p:nvPr/>
            </p:nvSpPr>
            <p:spPr bwMode="auto">
              <a:xfrm>
                <a:off x="4946650" y="3262313"/>
                <a:ext cx="425450" cy="495300"/>
              </a:xfrm>
              <a:custGeom>
                <a:avLst/>
                <a:gdLst/>
                <a:ahLst/>
                <a:cxnLst>
                  <a:cxn ang="0">
                    <a:pos x="4" y="206"/>
                  </a:cxn>
                  <a:cxn ang="0">
                    <a:pos x="4" y="206"/>
                  </a:cxn>
                  <a:cxn ang="0">
                    <a:pos x="9" y="224"/>
                  </a:cxn>
                  <a:cxn ang="0">
                    <a:pos x="31" y="255"/>
                  </a:cxn>
                  <a:cxn ang="0">
                    <a:pos x="44" y="272"/>
                  </a:cxn>
                  <a:cxn ang="0">
                    <a:pos x="61" y="290"/>
                  </a:cxn>
                  <a:cxn ang="0">
                    <a:pos x="83" y="303"/>
                  </a:cxn>
                  <a:cxn ang="0">
                    <a:pos x="105" y="312"/>
                  </a:cxn>
                  <a:cxn ang="0">
                    <a:pos x="105" y="312"/>
                  </a:cxn>
                  <a:cxn ang="0">
                    <a:pos x="114" y="312"/>
                  </a:cxn>
                  <a:cxn ang="0">
                    <a:pos x="127" y="312"/>
                  </a:cxn>
                  <a:cxn ang="0">
                    <a:pos x="158" y="294"/>
                  </a:cxn>
                  <a:cxn ang="0">
                    <a:pos x="184" y="268"/>
                  </a:cxn>
                  <a:cxn ang="0">
                    <a:pos x="211" y="233"/>
                  </a:cxn>
                  <a:cxn ang="0">
                    <a:pos x="233" y="193"/>
                  </a:cxn>
                  <a:cxn ang="0">
                    <a:pos x="255" y="145"/>
                  </a:cxn>
                  <a:cxn ang="0">
                    <a:pos x="263" y="97"/>
                  </a:cxn>
                  <a:cxn ang="0">
                    <a:pos x="268" y="48"/>
                  </a:cxn>
                  <a:cxn ang="0">
                    <a:pos x="268" y="48"/>
                  </a:cxn>
                  <a:cxn ang="0">
                    <a:pos x="263" y="26"/>
                  </a:cxn>
                  <a:cxn ang="0">
                    <a:pos x="255" y="13"/>
                  </a:cxn>
                  <a:cxn ang="0">
                    <a:pos x="241" y="4"/>
                  </a:cxn>
                  <a:cxn ang="0">
                    <a:pos x="224" y="0"/>
                  </a:cxn>
                  <a:cxn ang="0">
                    <a:pos x="202" y="0"/>
                  </a:cxn>
                  <a:cxn ang="0">
                    <a:pos x="175" y="9"/>
                  </a:cxn>
                  <a:cxn ang="0">
                    <a:pos x="149" y="18"/>
                  </a:cxn>
                  <a:cxn ang="0">
                    <a:pos x="127" y="31"/>
                  </a:cxn>
                  <a:cxn ang="0">
                    <a:pos x="101" y="48"/>
                  </a:cxn>
                  <a:cxn ang="0">
                    <a:pos x="74" y="66"/>
                  </a:cxn>
                  <a:cxn ang="0">
                    <a:pos x="53" y="88"/>
                  </a:cxn>
                  <a:cxn ang="0">
                    <a:pos x="35" y="110"/>
                  </a:cxn>
                  <a:cxn ang="0">
                    <a:pos x="17" y="136"/>
                  </a:cxn>
                  <a:cxn ang="0">
                    <a:pos x="9" y="158"/>
                  </a:cxn>
                  <a:cxn ang="0">
                    <a:pos x="0" y="185"/>
                  </a:cxn>
                  <a:cxn ang="0">
                    <a:pos x="4" y="206"/>
                  </a:cxn>
                  <a:cxn ang="0">
                    <a:pos x="4" y="206"/>
                  </a:cxn>
                </a:cxnLst>
                <a:rect l="0" t="0" r="r" b="b"/>
                <a:pathLst>
                  <a:path w="268" h="312">
                    <a:moveTo>
                      <a:pt x="4" y="206"/>
                    </a:moveTo>
                    <a:lnTo>
                      <a:pt x="4" y="206"/>
                    </a:lnTo>
                    <a:lnTo>
                      <a:pt x="9" y="224"/>
                    </a:lnTo>
                    <a:lnTo>
                      <a:pt x="31" y="255"/>
                    </a:lnTo>
                    <a:lnTo>
                      <a:pt x="44" y="272"/>
                    </a:lnTo>
                    <a:lnTo>
                      <a:pt x="61" y="290"/>
                    </a:lnTo>
                    <a:lnTo>
                      <a:pt x="83" y="303"/>
                    </a:lnTo>
                    <a:lnTo>
                      <a:pt x="105" y="312"/>
                    </a:lnTo>
                    <a:lnTo>
                      <a:pt x="105" y="312"/>
                    </a:lnTo>
                    <a:lnTo>
                      <a:pt x="114" y="312"/>
                    </a:lnTo>
                    <a:lnTo>
                      <a:pt x="127" y="312"/>
                    </a:lnTo>
                    <a:lnTo>
                      <a:pt x="158" y="294"/>
                    </a:lnTo>
                    <a:lnTo>
                      <a:pt x="184" y="268"/>
                    </a:lnTo>
                    <a:lnTo>
                      <a:pt x="211" y="233"/>
                    </a:lnTo>
                    <a:lnTo>
                      <a:pt x="233" y="193"/>
                    </a:lnTo>
                    <a:lnTo>
                      <a:pt x="255" y="145"/>
                    </a:lnTo>
                    <a:lnTo>
                      <a:pt x="263" y="97"/>
                    </a:lnTo>
                    <a:lnTo>
                      <a:pt x="268" y="48"/>
                    </a:lnTo>
                    <a:lnTo>
                      <a:pt x="268" y="48"/>
                    </a:lnTo>
                    <a:lnTo>
                      <a:pt x="263" y="26"/>
                    </a:lnTo>
                    <a:lnTo>
                      <a:pt x="255" y="13"/>
                    </a:lnTo>
                    <a:lnTo>
                      <a:pt x="241" y="4"/>
                    </a:lnTo>
                    <a:lnTo>
                      <a:pt x="224" y="0"/>
                    </a:lnTo>
                    <a:lnTo>
                      <a:pt x="202" y="0"/>
                    </a:lnTo>
                    <a:lnTo>
                      <a:pt x="175" y="9"/>
                    </a:lnTo>
                    <a:lnTo>
                      <a:pt x="149" y="18"/>
                    </a:lnTo>
                    <a:lnTo>
                      <a:pt x="127" y="31"/>
                    </a:lnTo>
                    <a:lnTo>
                      <a:pt x="101" y="48"/>
                    </a:lnTo>
                    <a:lnTo>
                      <a:pt x="74" y="66"/>
                    </a:lnTo>
                    <a:lnTo>
                      <a:pt x="53" y="88"/>
                    </a:lnTo>
                    <a:lnTo>
                      <a:pt x="35" y="110"/>
                    </a:lnTo>
                    <a:lnTo>
                      <a:pt x="17" y="136"/>
                    </a:lnTo>
                    <a:lnTo>
                      <a:pt x="9" y="158"/>
                    </a:lnTo>
                    <a:lnTo>
                      <a:pt x="0" y="185"/>
                    </a:lnTo>
                    <a:lnTo>
                      <a:pt x="4" y="206"/>
                    </a:lnTo>
                    <a:lnTo>
                      <a:pt x="4" y="20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03" name="Freeform 17"/>
              <p:cNvSpPr>
                <a:spLocks/>
              </p:cNvSpPr>
              <p:nvPr/>
            </p:nvSpPr>
            <p:spPr bwMode="auto">
              <a:xfrm>
                <a:off x="4751388" y="2705100"/>
                <a:ext cx="647700" cy="968375"/>
              </a:xfrm>
              <a:custGeom>
                <a:avLst/>
                <a:gdLst/>
                <a:ahLst/>
                <a:cxnLst>
                  <a:cxn ang="0">
                    <a:pos x="13" y="87"/>
                  </a:cxn>
                  <a:cxn ang="0">
                    <a:pos x="13" y="87"/>
                  </a:cxn>
                  <a:cxn ang="0">
                    <a:pos x="4" y="153"/>
                  </a:cxn>
                  <a:cxn ang="0">
                    <a:pos x="0" y="219"/>
                  </a:cxn>
                  <a:cxn ang="0">
                    <a:pos x="4" y="250"/>
                  </a:cxn>
                  <a:cxn ang="0">
                    <a:pos x="9" y="281"/>
                  </a:cxn>
                  <a:cxn ang="0">
                    <a:pos x="9" y="281"/>
                  </a:cxn>
                  <a:cxn ang="0">
                    <a:pos x="13" y="342"/>
                  </a:cxn>
                  <a:cxn ang="0">
                    <a:pos x="26" y="399"/>
                  </a:cxn>
                  <a:cxn ang="0">
                    <a:pos x="35" y="430"/>
                  </a:cxn>
                  <a:cxn ang="0">
                    <a:pos x="48" y="461"/>
                  </a:cxn>
                  <a:cxn ang="0">
                    <a:pos x="48" y="461"/>
                  </a:cxn>
                  <a:cxn ang="0">
                    <a:pos x="88" y="553"/>
                  </a:cxn>
                  <a:cxn ang="0">
                    <a:pos x="105" y="593"/>
                  </a:cxn>
                  <a:cxn ang="0">
                    <a:pos x="105" y="593"/>
                  </a:cxn>
                  <a:cxn ang="0">
                    <a:pos x="114" y="597"/>
                  </a:cxn>
                  <a:cxn ang="0">
                    <a:pos x="140" y="606"/>
                  </a:cxn>
                  <a:cxn ang="0">
                    <a:pos x="162" y="610"/>
                  </a:cxn>
                  <a:cxn ang="0">
                    <a:pos x="189" y="610"/>
                  </a:cxn>
                  <a:cxn ang="0">
                    <a:pos x="224" y="610"/>
                  </a:cxn>
                  <a:cxn ang="0">
                    <a:pos x="263" y="601"/>
                  </a:cxn>
                  <a:cxn ang="0">
                    <a:pos x="263" y="601"/>
                  </a:cxn>
                  <a:cxn ang="0">
                    <a:pos x="307" y="562"/>
                  </a:cxn>
                  <a:cxn ang="0">
                    <a:pos x="347" y="527"/>
                  </a:cxn>
                  <a:cxn ang="0">
                    <a:pos x="364" y="505"/>
                  </a:cxn>
                  <a:cxn ang="0">
                    <a:pos x="373" y="483"/>
                  </a:cxn>
                  <a:cxn ang="0">
                    <a:pos x="373" y="483"/>
                  </a:cxn>
                  <a:cxn ang="0">
                    <a:pos x="391" y="443"/>
                  </a:cxn>
                  <a:cxn ang="0">
                    <a:pos x="399" y="399"/>
                  </a:cxn>
                  <a:cxn ang="0">
                    <a:pos x="408" y="364"/>
                  </a:cxn>
                  <a:cxn ang="0">
                    <a:pos x="408" y="333"/>
                  </a:cxn>
                  <a:cxn ang="0">
                    <a:pos x="408" y="333"/>
                  </a:cxn>
                  <a:cxn ang="0">
                    <a:pos x="408" y="241"/>
                  </a:cxn>
                  <a:cxn ang="0">
                    <a:pos x="404" y="188"/>
                  </a:cxn>
                  <a:cxn ang="0">
                    <a:pos x="399" y="153"/>
                  </a:cxn>
                  <a:cxn ang="0">
                    <a:pos x="399" y="153"/>
                  </a:cxn>
                  <a:cxn ang="0">
                    <a:pos x="395" y="131"/>
                  </a:cxn>
                  <a:cxn ang="0">
                    <a:pos x="382" y="105"/>
                  </a:cxn>
                  <a:cxn ang="0">
                    <a:pos x="364" y="79"/>
                  </a:cxn>
                  <a:cxn ang="0">
                    <a:pos x="338" y="52"/>
                  </a:cxn>
                  <a:cxn ang="0">
                    <a:pos x="338" y="52"/>
                  </a:cxn>
                  <a:cxn ang="0">
                    <a:pos x="312" y="30"/>
                  </a:cxn>
                  <a:cxn ang="0">
                    <a:pos x="285" y="22"/>
                  </a:cxn>
                  <a:cxn ang="0">
                    <a:pos x="259" y="13"/>
                  </a:cxn>
                  <a:cxn ang="0">
                    <a:pos x="228" y="8"/>
                  </a:cxn>
                  <a:cxn ang="0">
                    <a:pos x="228" y="8"/>
                  </a:cxn>
                  <a:cxn ang="0">
                    <a:pos x="176" y="0"/>
                  </a:cxn>
                  <a:cxn ang="0">
                    <a:pos x="154" y="0"/>
                  </a:cxn>
                  <a:cxn ang="0">
                    <a:pos x="140" y="0"/>
                  </a:cxn>
                  <a:cxn ang="0">
                    <a:pos x="140" y="0"/>
                  </a:cxn>
                  <a:cxn ang="0">
                    <a:pos x="70" y="35"/>
                  </a:cxn>
                  <a:cxn ang="0">
                    <a:pos x="48" y="44"/>
                  </a:cxn>
                  <a:cxn ang="0">
                    <a:pos x="31" y="61"/>
                  </a:cxn>
                  <a:cxn ang="0">
                    <a:pos x="17" y="74"/>
                  </a:cxn>
                  <a:cxn ang="0">
                    <a:pos x="13" y="87"/>
                  </a:cxn>
                  <a:cxn ang="0">
                    <a:pos x="13" y="87"/>
                  </a:cxn>
                </a:cxnLst>
                <a:rect l="0" t="0" r="r" b="b"/>
                <a:pathLst>
                  <a:path w="408" h="610">
                    <a:moveTo>
                      <a:pt x="13" y="87"/>
                    </a:moveTo>
                    <a:lnTo>
                      <a:pt x="13" y="87"/>
                    </a:lnTo>
                    <a:lnTo>
                      <a:pt x="4" y="153"/>
                    </a:lnTo>
                    <a:lnTo>
                      <a:pt x="0" y="219"/>
                    </a:lnTo>
                    <a:lnTo>
                      <a:pt x="4" y="250"/>
                    </a:lnTo>
                    <a:lnTo>
                      <a:pt x="9" y="281"/>
                    </a:lnTo>
                    <a:lnTo>
                      <a:pt x="9" y="281"/>
                    </a:lnTo>
                    <a:lnTo>
                      <a:pt x="13" y="342"/>
                    </a:lnTo>
                    <a:lnTo>
                      <a:pt x="26" y="399"/>
                    </a:lnTo>
                    <a:lnTo>
                      <a:pt x="35" y="430"/>
                    </a:lnTo>
                    <a:lnTo>
                      <a:pt x="48" y="461"/>
                    </a:lnTo>
                    <a:lnTo>
                      <a:pt x="48" y="461"/>
                    </a:lnTo>
                    <a:lnTo>
                      <a:pt x="88" y="553"/>
                    </a:lnTo>
                    <a:lnTo>
                      <a:pt x="105" y="593"/>
                    </a:lnTo>
                    <a:lnTo>
                      <a:pt x="105" y="593"/>
                    </a:lnTo>
                    <a:lnTo>
                      <a:pt x="114" y="597"/>
                    </a:lnTo>
                    <a:lnTo>
                      <a:pt x="140" y="606"/>
                    </a:lnTo>
                    <a:lnTo>
                      <a:pt x="162" y="610"/>
                    </a:lnTo>
                    <a:lnTo>
                      <a:pt x="189" y="610"/>
                    </a:lnTo>
                    <a:lnTo>
                      <a:pt x="224" y="610"/>
                    </a:lnTo>
                    <a:lnTo>
                      <a:pt x="263" y="601"/>
                    </a:lnTo>
                    <a:lnTo>
                      <a:pt x="263" y="601"/>
                    </a:lnTo>
                    <a:lnTo>
                      <a:pt x="307" y="562"/>
                    </a:lnTo>
                    <a:lnTo>
                      <a:pt x="347" y="527"/>
                    </a:lnTo>
                    <a:lnTo>
                      <a:pt x="364" y="505"/>
                    </a:lnTo>
                    <a:lnTo>
                      <a:pt x="373" y="483"/>
                    </a:lnTo>
                    <a:lnTo>
                      <a:pt x="373" y="483"/>
                    </a:lnTo>
                    <a:lnTo>
                      <a:pt x="391" y="443"/>
                    </a:lnTo>
                    <a:lnTo>
                      <a:pt x="399" y="399"/>
                    </a:lnTo>
                    <a:lnTo>
                      <a:pt x="408" y="364"/>
                    </a:lnTo>
                    <a:lnTo>
                      <a:pt x="408" y="333"/>
                    </a:lnTo>
                    <a:lnTo>
                      <a:pt x="408" y="333"/>
                    </a:lnTo>
                    <a:lnTo>
                      <a:pt x="408" y="241"/>
                    </a:lnTo>
                    <a:lnTo>
                      <a:pt x="404" y="188"/>
                    </a:lnTo>
                    <a:lnTo>
                      <a:pt x="399" y="153"/>
                    </a:lnTo>
                    <a:lnTo>
                      <a:pt x="399" y="153"/>
                    </a:lnTo>
                    <a:lnTo>
                      <a:pt x="395" y="131"/>
                    </a:lnTo>
                    <a:lnTo>
                      <a:pt x="382" y="105"/>
                    </a:lnTo>
                    <a:lnTo>
                      <a:pt x="364" y="79"/>
                    </a:lnTo>
                    <a:lnTo>
                      <a:pt x="338" y="52"/>
                    </a:lnTo>
                    <a:lnTo>
                      <a:pt x="338" y="52"/>
                    </a:lnTo>
                    <a:lnTo>
                      <a:pt x="312" y="30"/>
                    </a:lnTo>
                    <a:lnTo>
                      <a:pt x="285" y="22"/>
                    </a:lnTo>
                    <a:lnTo>
                      <a:pt x="259" y="13"/>
                    </a:lnTo>
                    <a:lnTo>
                      <a:pt x="228" y="8"/>
                    </a:lnTo>
                    <a:lnTo>
                      <a:pt x="228" y="8"/>
                    </a:lnTo>
                    <a:lnTo>
                      <a:pt x="176" y="0"/>
                    </a:lnTo>
                    <a:lnTo>
                      <a:pt x="154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70" y="35"/>
                    </a:lnTo>
                    <a:lnTo>
                      <a:pt x="48" y="44"/>
                    </a:lnTo>
                    <a:lnTo>
                      <a:pt x="31" y="61"/>
                    </a:lnTo>
                    <a:lnTo>
                      <a:pt x="17" y="74"/>
                    </a:lnTo>
                    <a:lnTo>
                      <a:pt x="13" y="87"/>
                    </a:lnTo>
                    <a:lnTo>
                      <a:pt x="13" y="8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04" name="Freeform 27"/>
              <p:cNvSpPr>
                <a:spLocks/>
              </p:cNvSpPr>
              <p:nvPr/>
            </p:nvSpPr>
            <p:spPr bwMode="auto">
              <a:xfrm>
                <a:off x="4765675" y="2516188"/>
                <a:ext cx="711200" cy="696912"/>
              </a:xfrm>
              <a:custGeom>
                <a:avLst/>
                <a:gdLst/>
                <a:ahLst/>
                <a:cxnLst>
                  <a:cxn ang="0">
                    <a:pos x="22" y="105"/>
                  </a:cxn>
                  <a:cxn ang="0">
                    <a:pos x="4" y="145"/>
                  </a:cxn>
                  <a:cxn ang="0">
                    <a:pos x="0" y="180"/>
                  </a:cxn>
                  <a:cxn ang="0">
                    <a:pos x="17" y="220"/>
                  </a:cxn>
                  <a:cxn ang="0">
                    <a:pos x="48" y="250"/>
                  </a:cxn>
                  <a:cxn ang="0">
                    <a:pos x="92" y="272"/>
                  </a:cxn>
                  <a:cxn ang="0">
                    <a:pos x="101" y="272"/>
                  </a:cxn>
                  <a:cxn ang="0">
                    <a:pos x="61" y="242"/>
                  </a:cxn>
                  <a:cxn ang="0">
                    <a:pos x="48" y="224"/>
                  </a:cxn>
                  <a:cxn ang="0">
                    <a:pos x="114" y="259"/>
                  </a:cxn>
                  <a:cxn ang="0">
                    <a:pos x="145" y="268"/>
                  </a:cxn>
                  <a:cxn ang="0">
                    <a:pos x="188" y="281"/>
                  </a:cxn>
                  <a:cxn ang="0">
                    <a:pos x="202" y="286"/>
                  </a:cxn>
                  <a:cxn ang="0">
                    <a:pos x="171" y="255"/>
                  </a:cxn>
                  <a:cxn ang="0">
                    <a:pos x="153" y="242"/>
                  </a:cxn>
                  <a:cxn ang="0">
                    <a:pos x="224" y="264"/>
                  </a:cxn>
                  <a:cxn ang="0">
                    <a:pos x="259" y="277"/>
                  </a:cxn>
                  <a:cxn ang="0">
                    <a:pos x="311" y="299"/>
                  </a:cxn>
                  <a:cxn ang="0">
                    <a:pos x="351" y="316"/>
                  </a:cxn>
                  <a:cxn ang="0">
                    <a:pos x="360" y="325"/>
                  </a:cxn>
                  <a:cxn ang="0">
                    <a:pos x="382" y="369"/>
                  </a:cxn>
                  <a:cxn ang="0">
                    <a:pos x="395" y="439"/>
                  </a:cxn>
                  <a:cxn ang="0">
                    <a:pos x="399" y="426"/>
                  </a:cxn>
                  <a:cxn ang="0">
                    <a:pos x="412" y="387"/>
                  </a:cxn>
                  <a:cxn ang="0">
                    <a:pos x="421" y="334"/>
                  </a:cxn>
                  <a:cxn ang="0">
                    <a:pos x="439" y="277"/>
                  </a:cxn>
                  <a:cxn ang="0">
                    <a:pos x="448" y="215"/>
                  </a:cxn>
                  <a:cxn ang="0">
                    <a:pos x="439" y="167"/>
                  </a:cxn>
                  <a:cxn ang="0">
                    <a:pos x="408" y="110"/>
                  </a:cxn>
                  <a:cxn ang="0">
                    <a:pos x="386" y="83"/>
                  </a:cxn>
                  <a:cxn ang="0">
                    <a:pos x="333" y="40"/>
                  </a:cxn>
                  <a:cxn ang="0">
                    <a:pos x="285" y="13"/>
                  </a:cxn>
                  <a:cxn ang="0">
                    <a:pos x="237" y="0"/>
                  </a:cxn>
                  <a:cxn ang="0">
                    <a:pos x="188" y="4"/>
                  </a:cxn>
                  <a:cxn ang="0">
                    <a:pos x="140" y="13"/>
                  </a:cxn>
                  <a:cxn ang="0">
                    <a:pos x="74" y="48"/>
                  </a:cxn>
                  <a:cxn ang="0">
                    <a:pos x="35" y="83"/>
                  </a:cxn>
                  <a:cxn ang="0">
                    <a:pos x="22" y="105"/>
                  </a:cxn>
                </a:cxnLst>
                <a:rect l="0" t="0" r="r" b="b"/>
                <a:pathLst>
                  <a:path w="448" h="439">
                    <a:moveTo>
                      <a:pt x="22" y="105"/>
                    </a:moveTo>
                    <a:lnTo>
                      <a:pt x="22" y="105"/>
                    </a:lnTo>
                    <a:lnTo>
                      <a:pt x="13" y="119"/>
                    </a:lnTo>
                    <a:lnTo>
                      <a:pt x="4" y="145"/>
                    </a:lnTo>
                    <a:lnTo>
                      <a:pt x="0" y="163"/>
                    </a:lnTo>
                    <a:lnTo>
                      <a:pt x="0" y="180"/>
                    </a:lnTo>
                    <a:lnTo>
                      <a:pt x="8" y="198"/>
                    </a:lnTo>
                    <a:lnTo>
                      <a:pt x="17" y="220"/>
                    </a:lnTo>
                    <a:lnTo>
                      <a:pt x="17" y="220"/>
                    </a:lnTo>
                    <a:lnTo>
                      <a:pt x="48" y="250"/>
                    </a:lnTo>
                    <a:lnTo>
                      <a:pt x="74" y="264"/>
                    </a:lnTo>
                    <a:lnTo>
                      <a:pt x="92" y="272"/>
                    </a:lnTo>
                    <a:lnTo>
                      <a:pt x="101" y="272"/>
                    </a:lnTo>
                    <a:lnTo>
                      <a:pt x="101" y="272"/>
                    </a:lnTo>
                    <a:lnTo>
                      <a:pt x="79" y="255"/>
                    </a:lnTo>
                    <a:lnTo>
                      <a:pt x="61" y="242"/>
                    </a:lnTo>
                    <a:lnTo>
                      <a:pt x="48" y="224"/>
                    </a:lnTo>
                    <a:lnTo>
                      <a:pt x="48" y="224"/>
                    </a:lnTo>
                    <a:lnTo>
                      <a:pt x="83" y="246"/>
                    </a:lnTo>
                    <a:lnTo>
                      <a:pt x="114" y="259"/>
                    </a:lnTo>
                    <a:lnTo>
                      <a:pt x="145" y="268"/>
                    </a:lnTo>
                    <a:lnTo>
                      <a:pt x="145" y="268"/>
                    </a:lnTo>
                    <a:lnTo>
                      <a:pt x="171" y="272"/>
                    </a:lnTo>
                    <a:lnTo>
                      <a:pt x="188" y="281"/>
                    </a:lnTo>
                    <a:lnTo>
                      <a:pt x="202" y="286"/>
                    </a:lnTo>
                    <a:lnTo>
                      <a:pt x="202" y="286"/>
                    </a:lnTo>
                    <a:lnTo>
                      <a:pt x="188" y="268"/>
                    </a:lnTo>
                    <a:lnTo>
                      <a:pt x="171" y="255"/>
                    </a:lnTo>
                    <a:lnTo>
                      <a:pt x="153" y="242"/>
                    </a:lnTo>
                    <a:lnTo>
                      <a:pt x="153" y="242"/>
                    </a:lnTo>
                    <a:lnTo>
                      <a:pt x="193" y="250"/>
                    </a:lnTo>
                    <a:lnTo>
                      <a:pt x="224" y="264"/>
                    </a:lnTo>
                    <a:lnTo>
                      <a:pt x="259" y="277"/>
                    </a:lnTo>
                    <a:lnTo>
                      <a:pt x="259" y="277"/>
                    </a:lnTo>
                    <a:lnTo>
                      <a:pt x="285" y="290"/>
                    </a:lnTo>
                    <a:lnTo>
                      <a:pt x="311" y="299"/>
                    </a:lnTo>
                    <a:lnTo>
                      <a:pt x="333" y="307"/>
                    </a:lnTo>
                    <a:lnTo>
                      <a:pt x="351" y="316"/>
                    </a:lnTo>
                    <a:lnTo>
                      <a:pt x="351" y="316"/>
                    </a:lnTo>
                    <a:lnTo>
                      <a:pt x="360" y="325"/>
                    </a:lnTo>
                    <a:lnTo>
                      <a:pt x="369" y="338"/>
                    </a:lnTo>
                    <a:lnTo>
                      <a:pt x="382" y="369"/>
                    </a:lnTo>
                    <a:lnTo>
                      <a:pt x="390" y="409"/>
                    </a:lnTo>
                    <a:lnTo>
                      <a:pt x="395" y="439"/>
                    </a:lnTo>
                    <a:lnTo>
                      <a:pt x="395" y="439"/>
                    </a:lnTo>
                    <a:lnTo>
                      <a:pt x="399" y="426"/>
                    </a:lnTo>
                    <a:lnTo>
                      <a:pt x="408" y="409"/>
                    </a:lnTo>
                    <a:lnTo>
                      <a:pt x="412" y="387"/>
                    </a:lnTo>
                    <a:lnTo>
                      <a:pt x="412" y="387"/>
                    </a:lnTo>
                    <a:lnTo>
                      <a:pt x="421" y="334"/>
                    </a:lnTo>
                    <a:lnTo>
                      <a:pt x="439" y="277"/>
                    </a:lnTo>
                    <a:lnTo>
                      <a:pt x="439" y="277"/>
                    </a:lnTo>
                    <a:lnTo>
                      <a:pt x="443" y="242"/>
                    </a:lnTo>
                    <a:lnTo>
                      <a:pt x="448" y="215"/>
                    </a:lnTo>
                    <a:lnTo>
                      <a:pt x="443" y="193"/>
                    </a:lnTo>
                    <a:lnTo>
                      <a:pt x="439" y="167"/>
                    </a:lnTo>
                    <a:lnTo>
                      <a:pt x="426" y="141"/>
                    </a:lnTo>
                    <a:lnTo>
                      <a:pt x="408" y="110"/>
                    </a:lnTo>
                    <a:lnTo>
                      <a:pt x="386" y="83"/>
                    </a:lnTo>
                    <a:lnTo>
                      <a:pt x="386" y="83"/>
                    </a:lnTo>
                    <a:lnTo>
                      <a:pt x="360" y="61"/>
                    </a:lnTo>
                    <a:lnTo>
                      <a:pt x="333" y="40"/>
                    </a:lnTo>
                    <a:lnTo>
                      <a:pt x="307" y="26"/>
                    </a:lnTo>
                    <a:lnTo>
                      <a:pt x="285" y="13"/>
                    </a:lnTo>
                    <a:lnTo>
                      <a:pt x="259" y="4"/>
                    </a:lnTo>
                    <a:lnTo>
                      <a:pt x="237" y="0"/>
                    </a:lnTo>
                    <a:lnTo>
                      <a:pt x="210" y="0"/>
                    </a:lnTo>
                    <a:lnTo>
                      <a:pt x="188" y="4"/>
                    </a:lnTo>
                    <a:lnTo>
                      <a:pt x="188" y="4"/>
                    </a:lnTo>
                    <a:lnTo>
                      <a:pt x="140" y="13"/>
                    </a:lnTo>
                    <a:lnTo>
                      <a:pt x="92" y="35"/>
                    </a:lnTo>
                    <a:lnTo>
                      <a:pt x="74" y="48"/>
                    </a:lnTo>
                    <a:lnTo>
                      <a:pt x="52" y="66"/>
                    </a:lnTo>
                    <a:lnTo>
                      <a:pt x="35" y="83"/>
                    </a:lnTo>
                    <a:lnTo>
                      <a:pt x="22" y="105"/>
                    </a:lnTo>
                    <a:lnTo>
                      <a:pt x="22" y="10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70" name="Freeform 30"/>
            <p:cNvSpPr>
              <a:spLocks/>
            </p:cNvSpPr>
            <p:nvPr/>
          </p:nvSpPr>
          <p:spPr bwMode="auto">
            <a:xfrm>
              <a:off x="1967923" y="4542034"/>
              <a:ext cx="159177" cy="205945"/>
            </a:xfrm>
            <a:custGeom>
              <a:avLst/>
              <a:gdLst/>
              <a:ahLst/>
              <a:cxnLst>
                <a:cxn ang="0">
                  <a:pos x="0" y="57"/>
                </a:cxn>
                <a:cxn ang="0">
                  <a:pos x="0" y="57"/>
                </a:cxn>
                <a:cxn ang="0">
                  <a:pos x="13" y="61"/>
                </a:cxn>
                <a:cxn ang="0">
                  <a:pos x="48" y="74"/>
                </a:cxn>
                <a:cxn ang="0">
                  <a:pos x="48" y="74"/>
                </a:cxn>
                <a:cxn ang="0">
                  <a:pos x="35" y="52"/>
                </a:cxn>
                <a:cxn ang="0">
                  <a:pos x="22" y="39"/>
                </a:cxn>
                <a:cxn ang="0">
                  <a:pos x="8" y="22"/>
                </a:cxn>
                <a:cxn ang="0">
                  <a:pos x="8" y="22"/>
                </a:cxn>
                <a:cxn ang="0">
                  <a:pos x="35" y="35"/>
                </a:cxn>
                <a:cxn ang="0">
                  <a:pos x="52" y="48"/>
                </a:cxn>
                <a:cxn ang="0">
                  <a:pos x="70" y="66"/>
                </a:cxn>
                <a:cxn ang="0">
                  <a:pos x="70" y="66"/>
                </a:cxn>
                <a:cxn ang="0">
                  <a:pos x="74" y="39"/>
                </a:cxn>
                <a:cxn ang="0">
                  <a:pos x="74" y="8"/>
                </a:cxn>
                <a:cxn ang="0">
                  <a:pos x="74" y="8"/>
                </a:cxn>
                <a:cxn ang="0">
                  <a:pos x="105" y="92"/>
                </a:cxn>
                <a:cxn ang="0">
                  <a:pos x="105" y="92"/>
                </a:cxn>
                <a:cxn ang="0">
                  <a:pos x="123" y="22"/>
                </a:cxn>
                <a:cxn ang="0">
                  <a:pos x="123" y="22"/>
                </a:cxn>
                <a:cxn ang="0">
                  <a:pos x="131" y="79"/>
                </a:cxn>
                <a:cxn ang="0">
                  <a:pos x="131" y="79"/>
                </a:cxn>
                <a:cxn ang="0">
                  <a:pos x="149" y="52"/>
                </a:cxn>
                <a:cxn ang="0">
                  <a:pos x="158" y="30"/>
                </a:cxn>
                <a:cxn ang="0">
                  <a:pos x="167" y="0"/>
                </a:cxn>
                <a:cxn ang="0">
                  <a:pos x="167" y="0"/>
                </a:cxn>
                <a:cxn ang="0">
                  <a:pos x="162" y="26"/>
                </a:cxn>
                <a:cxn ang="0">
                  <a:pos x="158" y="52"/>
                </a:cxn>
                <a:cxn ang="0">
                  <a:pos x="153" y="79"/>
                </a:cxn>
                <a:cxn ang="0">
                  <a:pos x="153" y="79"/>
                </a:cxn>
                <a:cxn ang="0">
                  <a:pos x="136" y="131"/>
                </a:cxn>
                <a:cxn ang="0">
                  <a:pos x="131" y="171"/>
                </a:cxn>
                <a:cxn ang="0">
                  <a:pos x="131" y="171"/>
                </a:cxn>
                <a:cxn ang="0">
                  <a:pos x="127" y="189"/>
                </a:cxn>
                <a:cxn ang="0">
                  <a:pos x="123" y="202"/>
                </a:cxn>
                <a:cxn ang="0">
                  <a:pos x="114" y="219"/>
                </a:cxn>
                <a:cxn ang="0">
                  <a:pos x="114" y="219"/>
                </a:cxn>
                <a:cxn ang="0">
                  <a:pos x="109" y="193"/>
                </a:cxn>
                <a:cxn ang="0">
                  <a:pos x="105" y="171"/>
                </a:cxn>
                <a:cxn ang="0">
                  <a:pos x="96" y="153"/>
                </a:cxn>
                <a:cxn ang="0">
                  <a:pos x="96" y="153"/>
                </a:cxn>
                <a:cxn ang="0">
                  <a:pos x="88" y="136"/>
                </a:cxn>
                <a:cxn ang="0">
                  <a:pos x="70" y="118"/>
                </a:cxn>
                <a:cxn ang="0">
                  <a:pos x="35" y="87"/>
                </a:cxn>
                <a:cxn ang="0">
                  <a:pos x="35" y="87"/>
                </a:cxn>
                <a:cxn ang="0">
                  <a:pos x="8" y="66"/>
                </a:cxn>
                <a:cxn ang="0">
                  <a:pos x="0" y="57"/>
                </a:cxn>
                <a:cxn ang="0">
                  <a:pos x="0" y="57"/>
                </a:cxn>
              </a:cxnLst>
              <a:rect l="0" t="0" r="r" b="b"/>
              <a:pathLst>
                <a:path w="167" h="219">
                  <a:moveTo>
                    <a:pt x="0" y="57"/>
                  </a:moveTo>
                  <a:lnTo>
                    <a:pt x="0" y="57"/>
                  </a:lnTo>
                  <a:lnTo>
                    <a:pt x="13" y="61"/>
                  </a:lnTo>
                  <a:lnTo>
                    <a:pt x="48" y="74"/>
                  </a:lnTo>
                  <a:lnTo>
                    <a:pt x="48" y="74"/>
                  </a:lnTo>
                  <a:lnTo>
                    <a:pt x="35" y="52"/>
                  </a:lnTo>
                  <a:lnTo>
                    <a:pt x="22" y="39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35" y="35"/>
                  </a:lnTo>
                  <a:lnTo>
                    <a:pt x="52" y="48"/>
                  </a:lnTo>
                  <a:lnTo>
                    <a:pt x="70" y="66"/>
                  </a:lnTo>
                  <a:lnTo>
                    <a:pt x="70" y="66"/>
                  </a:lnTo>
                  <a:lnTo>
                    <a:pt x="74" y="39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105" y="92"/>
                  </a:lnTo>
                  <a:lnTo>
                    <a:pt x="105" y="92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31" y="79"/>
                  </a:lnTo>
                  <a:lnTo>
                    <a:pt x="131" y="79"/>
                  </a:lnTo>
                  <a:lnTo>
                    <a:pt x="149" y="52"/>
                  </a:lnTo>
                  <a:lnTo>
                    <a:pt x="158" y="30"/>
                  </a:lnTo>
                  <a:lnTo>
                    <a:pt x="167" y="0"/>
                  </a:lnTo>
                  <a:lnTo>
                    <a:pt x="167" y="0"/>
                  </a:lnTo>
                  <a:lnTo>
                    <a:pt x="162" y="26"/>
                  </a:lnTo>
                  <a:lnTo>
                    <a:pt x="158" y="52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36" y="131"/>
                  </a:lnTo>
                  <a:lnTo>
                    <a:pt x="131" y="171"/>
                  </a:lnTo>
                  <a:lnTo>
                    <a:pt x="131" y="171"/>
                  </a:lnTo>
                  <a:lnTo>
                    <a:pt x="127" y="189"/>
                  </a:lnTo>
                  <a:lnTo>
                    <a:pt x="123" y="202"/>
                  </a:lnTo>
                  <a:lnTo>
                    <a:pt x="114" y="219"/>
                  </a:lnTo>
                  <a:lnTo>
                    <a:pt x="114" y="219"/>
                  </a:lnTo>
                  <a:lnTo>
                    <a:pt x="109" y="193"/>
                  </a:lnTo>
                  <a:lnTo>
                    <a:pt x="105" y="171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88" y="136"/>
                  </a:lnTo>
                  <a:lnTo>
                    <a:pt x="70" y="118"/>
                  </a:lnTo>
                  <a:lnTo>
                    <a:pt x="35" y="87"/>
                  </a:lnTo>
                  <a:lnTo>
                    <a:pt x="35" y="87"/>
                  </a:lnTo>
                  <a:lnTo>
                    <a:pt x="8" y="66"/>
                  </a:lnTo>
                  <a:lnTo>
                    <a:pt x="0" y="57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71" name="Freeform 31"/>
            <p:cNvSpPr>
              <a:spLocks/>
            </p:cNvSpPr>
            <p:nvPr/>
          </p:nvSpPr>
          <p:spPr bwMode="auto">
            <a:xfrm>
              <a:off x="2394648" y="4953926"/>
              <a:ext cx="426726" cy="648224"/>
            </a:xfrm>
            <a:custGeom>
              <a:avLst/>
              <a:gdLst/>
              <a:ahLst/>
              <a:cxnLst>
                <a:cxn ang="0">
                  <a:pos x="171" y="0"/>
                </a:cxn>
                <a:cxn ang="0">
                  <a:pos x="171" y="0"/>
                </a:cxn>
                <a:cxn ang="0">
                  <a:pos x="141" y="31"/>
                </a:cxn>
                <a:cxn ang="0">
                  <a:pos x="110" y="66"/>
                </a:cxn>
                <a:cxn ang="0">
                  <a:pos x="79" y="114"/>
                </a:cxn>
                <a:cxn ang="0">
                  <a:pos x="48" y="176"/>
                </a:cxn>
                <a:cxn ang="0">
                  <a:pos x="35" y="211"/>
                </a:cxn>
                <a:cxn ang="0">
                  <a:pos x="22" y="250"/>
                </a:cxn>
                <a:cxn ang="0">
                  <a:pos x="13" y="290"/>
                </a:cxn>
                <a:cxn ang="0">
                  <a:pos x="4" y="334"/>
                </a:cxn>
                <a:cxn ang="0">
                  <a:pos x="0" y="382"/>
                </a:cxn>
                <a:cxn ang="0">
                  <a:pos x="4" y="435"/>
                </a:cxn>
                <a:cxn ang="0">
                  <a:pos x="4" y="435"/>
                </a:cxn>
                <a:cxn ang="0">
                  <a:pos x="13" y="488"/>
                </a:cxn>
                <a:cxn ang="0">
                  <a:pos x="26" y="527"/>
                </a:cxn>
                <a:cxn ang="0">
                  <a:pos x="44" y="558"/>
                </a:cxn>
                <a:cxn ang="0">
                  <a:pos x="66" y="589"/>
                </a:cxn>
                <a:cxn ang="0">
                  <a:pos x="110" y="637"/>
                </a:cxn>
                <a:cxn ang="0">
                  <a:pos x="127" y="659"/>
                </a:cxn>
                <a:cxn ang="0">
                  <a:pos x="145" y="685"/>
                </a:cxn>
                <a:cxn ang="0">
                  <a:pos x="452" y="654"/>
                </a:cxn>
                <a:cxn ang="0">
                  <a:pos x="452" y="654"/>
                </a:cxn>
                <a:cxn ang="0">
                  <a:pos x="444" y="584"/>
                </a:cxn>
                <a:cxn ang="0">
                  <a:pos x="430" y="509"/>
                </a:cxn>
                <a:cxn ang="0">
                  <a:pos x="404" y="417"/>
                </a:cxn>
                <a:cxn ang="0">
                  <a:pos x="369" y="312"/>
                </a:cxn>
                <a:cxn ang="0">
                  <a:pos x="347" y="255"/>
                </a:cxn>
                <a:cxn ang="0">
                  <a:pos x="321" y="202"/>
                </a:cxn>
                <a:cxn ang="0">
                  <a:pos x="290" y="149"/>
                </a:cxn>
                <a:cxn ang="0">
                  <a:pos x="255" y="97"/>
                </a:cxn>
                <a:cxn ang="0">
                  <a:pos x="215" y="48"/>
                </a:cxn>
                <a:cxn ang="0">
                  <a:pos x="171" y="0"/>
                </a:cxn>
                <a:cxn ang="0">
                  <a:pos x="171" y="0"/>
                </a:cxn>
              </a:cxnLst>
              <a:rect l="0" t="0" r="r" b="b"/>
              <a:pathLst>
                <a:path w="452" h="685">
                  <a:moveTo>
                    <a:pt x="171" y="0"/>
                  </a:moveTo>
                  <a:lnTo>
                    <a:pt x="171" y="0"/>
                  </a:lnTo>
                  <a:lnTo>
                    <a:pt x="141" y="31"/>
                  </a:lnTo>
                  <a:lnTo>
                    <a:pt x="110" y="66"/>
                  </a:lnTo>
                  <a:lnTo>
                    <a:pt x="79" y="114"/>
                  </a:lnTo>
                  <a:lnTo>
                    <a:pt x="48" y="176"/>
                  </a:lnTo>
                  <a:lnTo>
                    <a:pt x="35" y="211"/>
                  </a:lnTo>
                  <a:lnTo>
                    <a:pt x="22" y="250"/>
                  </a:lnTo>
                  <a:lnTo>
                    <a:pt x="13" y="290"/>
                  </a:lnTo>
                  <a:lnTo>
                    <a:pt x="4" y="334"/>
                  </a:lnTo>
                  <a:lnTo>
                    <a:pt x="0" y="382"/>
                  </a:lnTo>
                  <a:lnTo>
                    <a:pt x="4" y="435"/>
                  </a:lnTo>
                  <a:lnTo>
                    <a:pt x="4" y="435"/>
                  </a:lnTo>
                  <a:lnTo>
                    <a:pt x="13" y="488"/>
                  </a:lnTo>
                  <a:lnTo>
                    <a:pt x="26" y="527"/>
                  </a:lnTo>
                  <a:lnTo>
                    <a:pt x="44" y="558"/>
                  </a:lnTo>
                  <a:lnTo>
                    <a:pt x="66" y="589"/>
                  </a:lnTo>
                  <a:lnTo>
                    <a:pt x="110" y="637"/>
                  </a:lnTo>
                  <a:lnTo>
                    <a:pt x="127" y="659"/>
                  </a:lnTo>
                  <a:lnTo>
                    <a:pt x="145" y="685"/>
                  </a:lnTo>
                  <a:lnTo>
                    <a:pt x="452" y="654"/>
                  </a:lnTo>
                  <a:lnTo>
                    <a:pt x="452" y="654"/>
                  </a:lnTo>
                  <a:lnTo>
                    <a:pt x="444" y="584"/>
                  </a:lnTo>
                  <a:lnTo>
                    <a:pt x="430" y="509"/>
                  </a:lnTo>
                  <a:lnTo>
                    <a:pt x="404" y="417"/>
                  </a:lnTo>
                  <a:lnTo>
                    <a:pt x="369" y="312"/>
                  </a:lnTo>
                  <a:lnTo>
                    <a:pt x="347" y="255"/>
                  </a:lnTo>
                  <a:lnTo>
                    <a:pt x="321" y="202"/>
                  </a:lnTo>
                  <a:lnTo>
                    <a:pt x="290" y="149"/>
                  </a:lnTo>
                  <a:lnTo>
                    <a:pt x="255" y="97"/>
                  </a:lnTo>
                  <a:lnTo>
                    <a:pt x="215" y="48"/>
                  </a:lnTo>
                  <a:lnTo>
                    <a:pt x="171" y="0"/>
                  </a:lnTo>
                  <a:lnTo>
                    <a:pt x="171" y="0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72" name="Freeform 32"/>
            <p:cNvSpPr>
              <a:spLocks/>
            </p:cNvSpPr>
            <p:nvPr/>
          </p:nvSpPr>
          <p:spPr bwMode="auto">
            <a:xfrm>
              <a:off x="1713920" y="5629159"/>
              <a:ext cx="541874" cy="236332"/>
            </a:xfrm>
            <a:custGeom>
              <a:avLst/>
              <a:gdLst/>
              <a:ahLst/>
              <a:cxnLst>
                <a:cxn ang="0">
                  <a:pos x="536" y="123"/>
                </a:cxn>
                <a:cxn ang="0">
                  <a:pos x="536" y="123"/>
                </a:cxn>
                <a:cxn ang="0">
                  <a:pos x="453" y="79"/>
                </a:cxn>
                <a:cxn ang="0">
                  <a:pos x="387" y="35"/>
                </a:cxn>
                <a:cxn ang="0">
                  <a:pos x="334" y="0"/>
                </a:cxn>
                <a:cxn ang="0">
                  <a:pos x="334" y="0"/>
                </a:cxn>
                <a:cxn ang="0">
                  <a:pos x="317" y="4"/>
                </a:cxn>
                <a:cxn ang="0">
                  <a:pos x="299" y="13"/>
                </a:cxn>
                <a:cxn ang="0">
                  <a:pos x="277" y="22"/>
                </a:cxn>
                <a:cxn ang="0">
                  <a:pos x="277" y="22"/>
                </a:cxn>
                <a:cxn ang="0">
                  <a:pos x="242" y="39"/>
                </a:cxn>
                <a:cxn ang="0">
                  <a:pos x="198" y="57"/>
                </a:cxn>
                <a:cxn ang="0">
                  <a:pos x="137" y="79"/>
                </a:cxn>
                <a:cxn ang="0">
                  <a:pos x="137" y="79"/>
                </a:cxn>
                <a:cxn ang="0">
                  <a:pos x="84" y="123"/>
                </a:cxn>
                <a:cxn ang="0">
                  <a:pos x="36" y="153"/>
                </a:cxn>
                <a:cxn ang="0">
                  <a:pos x="0" y="175"/>
                </a:cxn>
                <a:cxn ang="0">
                  <a:pos x="0" y="175"/>
                </a:cxn>
                <a:cxn ang="0">
                  <a:pos x="0" y="184"/>
                </a:cxn>
                <a:cxn ang="0">
                  <a:pos x="9" y="193"/>
                </a:cxn>
                <a:cxn ang="0">
                  <a:pos x="18" y="197"/>
                </a:cxn>
                <a:cxn ang="0">
                  <a:pos x="27" y="202"/>
                </a:cxn>
                <a:cxn ang="0">
                  <a:pos x="36" y="202"/>
                </a:cxn>
                <a:cxn ang="0">
                  <a:pos x="53" y="197"/>
                </a:cxn>
                <a:cxn ang="0">
                  <a:pos x="53" y="197"/>
                </a:cxn>
                <a:cxn ang="0">
                  <a:pos x="53" y="202"/>
                </a:cxn>
                <a:cxn ang="0">
                  <a:pos x="58" y="210"/>
                </a:cxn>
                <a:cxn ang="0">
                  <a:pos x="66" y="215"/>
                </a:cxn>
                <a:cxn ang="0">
                  <a:pos x="75" y="215"/>
                </a:cxn>
                <a:cxn ang="0">
                  <a:pos x="88" y="215"/>
                </a:cxn>
                <a:cxn ang="0">
                  <a:pos x="110" y="210"/>
                </a:cxn>
                <a:cxn ang="0">
                  <a:pos x="110" y="210"/>
                </a:cxn>
                <a:cxn ang="0">
                  <a:pos x="119" y="215"/>
                </a:cxn>
                <a:cxn ang="0">
                  <a:pos x="132" y="219"/>
                </a:cxn>
                <a:cxn ang="0">
                  <a:pos x="154" y="210"/>
                </a:cxn>
                <a:cxn ang="0">
                  <a:pos x="154" y="210"/>
                </a:cxn>
                <a:cxn ang="0">
                  <a:pos x="180" y="202"/>
                </a:cxn>
                <a:cxn ang="0">
                  <a:pos x="202" y="188"/>
                </a:cxn>
                <a:cxn ang="0">
                  <a:pos x="220" y="171"/>
                </a:cxn>
                <a:cxn ang="0">
                  <a:pos x="220" y="171"/>
                </a:cxn>
                <a:cxn ang="0">
                  <a:pos x="295" y="153"/>
                </a:cxn>
                <a:cxn ang="0">
                  <a:pos x="295" y="153"/>
                </a:cxn>
                <a:cxn ang="0">
                  <a:pos x="321" y="166"/>
                </a:cxn>
                <a:cxn ang="0">
                  <a:pos x="365" y="180"/>
                </a:cxn>
                <a:cxn ang="0">
                  <a:pos x="365" y="180"/>
                </a:cxn>
                <a:cxn ang="0">
                  <a:pos x="387" y="197"/>
                </a:cxn>
                <a:cxn ang="0">
                  <a:pos x="431" y="219"/>
                </a:cxn>
                <a:cxn ang="0">
                  <a:pos x="431" y="219"/>
                </a:cxn>
                <a:cxn ang="0">
                  <a:pos x="483" y="246"/>
                </a:cxn>
                <a:cxn ang="0">
                  <a:pos x="514" y="254"/>
                </a:cxn>
                <a:cxn ang="0">
                  <a:pos x="549" y="254"/>
                </a:cxn>
                <a:cxn ang="0">
                  <a:pos x="549" y="254"/>
                </a:cxn>
                <a:cxn ang="0">
                  <a:pos x="567" y="250"/>
                </a:cxn>
                <a:cxn ang="0">
                  <a:pos x="576" y="241"/>
                </a:cxn>
                <a:cxn ang="0">
                  <a:pos x="580" y="224"/>
                </a:cxn>
                <a:cxn ang="0">
                  <a:pos x="580" y="202"/>
                </a:cxn>
                <a:cxn ang="0">
                  <a:pos x="576" y="180"/>
                </a:cxn>
                <a:cxn ang="0">
                  <a:pos x="567" y="158"/>
                </a:cxn>
                <a:cxn ang="0">
                  <a:pos x="554" y="140"/>
                </a:cxn>
                <a:cxn ang="0">
                  <a:pos x="536" y="123"/>
                </a:cxn>
                <a:cxn ang="0">
                  <a:pos x="536" y="123"/>
                </a:cxn>
              </a:cxnLst>
              <a:rect l="0" t="0" r="r" b="b"/>
              <a:pathLst>
                <a:path w="580" h="254">
                  <a:moveTo>
                    <a:pt x="536" y="123"/>
                  </a:moveTo>
                  <a:lnTo>
                    <a:pt x="536" y="123"/>
                  </a:lnTo>
                  <a:lnTo>
                    <a:pt x="453" y="79"/>
                  </a:lnTo>
                  <a:lnTo>
                    <a:pt x="387" y="35"/>
                  </a:lnTo>
                  <a:lnTo>
                    <a:pt x="334" y="0"/>
                  </a:lnTo>
                  <a:lnTo>
                    <a:pt x="334" y="0"/>
                  </a:lnTo>
                  <a:lnTo>
                    <a:pt x="317" y="4"/>
                  </a:lnTo>
                  <a:lnTo>
                    <a:pt x="299" y="13"/>
                  </a:lnTo>
                  <a:lnTo>
                    <a:pt x="277" y="22"/>
                  </a:lnTo>
                  <a:lnTo>
                    <a:pt x="277" y="22"/>
                  </a:lnTo>
                  <a:lnTo>
                    <a:pt x="242" y="39"/>
                  </a:lnTo>
                  <a:lnTo>
                    <a:pt x="198" y="57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84" y="123"/>
                  </a:lnTo>
                  <a:lnTo>
                    <a:pt x="36" y="153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0" y="184"/>
                  </a:lnTo>
                  <a:lnTo>
                    <a:pt x="9" y="193"/>
                  </a:lnTo>
                  <a:lnTo>
                    <a:pt x="18" y="197"/>
                  </a:lnTo>
                  <a:lnTo>
                    <a:pt x="27" y="202"/>
                  </a:lnTo>
                  <a:lnTo>
                    <a:pt x="36" y="202"/>
                  </a:lnTo>
                  <a:lnTo>
                    <a:pt x="53" y="197"/>
                  </a:lnTo>
                  <a:lnTo>
                    <a:pt x="53" y="197"/>
                  </a:lnTo>
                  <a:lnTo>
                    <a:pt x="53" y="202"/>
                  </a:lnTo>
                  <a:lnTo>
                    <a:pt x="58" y="210"/>
                  </a:lnTo>
                  <a:lnTo>
                    <a:pt x="66" y="215"/>
                  </a:lnTo>
                  <a:lnTo>
                    <a:pt x="75" y="215"/>
                  </a:lnTo>
                  <a:lnTo>
                    <a:pt x="88" y="215"/>
                  </a:lnTo>
                  <a:lnTo>
                    <a:pt x="110" y="210"/>
                  </a:lnTo>
                  <a:lnTo>
                    <a:pt x="110" y="210"/>
                  </a:lnTo>
                  <a:lnTo>
                    <a:pt x="119" y="215"/>
                  </a:lnTo>
                  <a:lnTo>
                    <a:pt x="132" y="219"/>
                  </a:lnTo>
                  <a:lnTo>
                    <a:pt x="154" y="210"/>
                  </a:lnTo>
                  <a:lnTo>
                    <a:pt x="154" y="210"/>
                  </a:lnTo>
                  <a:lnTo>
                    <a:pt x="180" y="202"/>
                  </a:lnTo>
                  <a:lnTo>
                    <a:pt x="202" y="188"/>
                  </a:lnTo>
                  <a:lnTo>
                    <a:pt x="220" y="171"/>
                  </a:lnTo>
                  <a:lnTo>
                    <a:pt x="220" y="171"/>
                  </a:lnTo>
                  <a:lnTo>
                    <a:pt x="295" y="153"/>
                  </a:lnTo>
                  <a:lnTo>
                    <a:pt x="295" y="153"/>
                  </a:lnTo>
                  <a:lnTo>
                    <a:pt x="321" y="166"/>
                  </a:lnTo>
                  <a:lnTo>
                    <a:pt x="365" y="180"/>
                  </a:lnTo>
                  <a:lnTo>
                    <a:pt x="365" y="180"/>
                  </a:lnTo>
                  <a:lnTo>
                    <a:pt x="387" y="197"/>
                  </a:lnTo>
                  <a:lnTo>
                    <a:pt x="431" y="219"/>
                  </a:lnTo>
                  <a:lnTo>
                    <a:pt x="431" y="219"/>
                  </a:lnTo>
                  <a:lnTo>
                    <a:pt x="483" y="246"/>
                  </a:lnTo>
                  <a:lnTo>
                    <a:pt x="514" y="254"/>
                  </a:lnTo>
                  <a:lnTo>
                    <a:pt x="549" y="254"/>
                  </a:lnTo>
                  <a:lnTo>
                    <a:pt x="549" y="254"/>
                  </a:lnTo>
                  <a:lnTo>
                    <a:pt x="567" y="250"/>
                  </a:lnTo>
                  <a:lnTo>
                    <a:pt x="576" y="241"/>
                  </a:lnTo>
                  <a:lnTo>
                    <a:pt x="580" y="224"/>
                  </a:lnTo>
                  <a:lnTo>
                    <a:pt x="580" y="202"/>
                  </a:lnTo>
                  <a:lnTo>
                    <a:pt x="576" y="180"/>
                  </a:lnTo>
                  <a:lnTo>
                    <a:pt x="567" y="158"/>
                  </a:lnTo>
                  <a:lnTo>
                    <a:pt x="554" y="140"/>
                  </a:lnTo>
                  <a:lnTo>
                    <a:pt x="536" y="123"/>
                  </a:lnTo>
                  <a:lnTo>
                    <a:pt x="536" y="123"/>
                  </a:lnTo>
                  <a:close/>
                </a:path>
              </a:pathLst>
            </a:custGeom>
            <a:solidFill>
              <a:srgbClr val="D7D8D9">
                <a:lumMod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73" name="Freeform 33"/>
            <p:cNvSpPr>
              <a:spLocks/>
            </p:cNvSpPr>
            <p:nvPr/>
          </p:nvSpPr>
          <p:spPr bwMode="auto">
            <a:xfrm>
              <a:off x="2218539" y="5463726"/>
              <a:ext cx="623155" cy="455783"/>
            </a:xfrm>
            <a:custGeom>
              <a:avLst/>
              <a:gdLst/>
              <a:ahLst/>
              <a:cxnLst>
                <a:cxn ang="0">
                  <a:pos x="623" y="0"/>
                </a:cxn>
                <a:cxn ang="0">
                  <a:pos x="623" y="0"/>
                </a:cxn>
                <a:cxn ang="0">
                  <a:pos x="632" y="39"/>
                </a:cxn>
                <a:cxn ang="0">
                  <a:pos x="650" y="136"/>
                </a:cxn>
                <a:cxn ang="0">
                  <a:pos x="659" y="198"/>
                </a:cxn>
                <a:cxn ang="0">
                  <a:pos x="663" y="268"/>
                </a:cxn>
                <a:cxn ang="0">
                  <a:pos x="667" y="334"/>
                </a:cxn>
                <a:cxn ang="0">
                  <a:pos x="659" y="395"/>
                </a:cxn>
                <a:cxn ang="0">
                  <a:pos x="659" y="395"/>
                </a:cxn>
                <a:cxn ang="0">
                  <a:pos x="632" y="413"/>
                </a:cxn>
                <a:cxn ang="0">
                  <a:pos x="597" y="426"/>
                </a:cxn>
                <a:cxn ang="0">
                  <a:pos x="549" y="448"/>
                </a:cxn>
                <a:cxn ang="0">
                  <a:pos x="483" y="465"/>
                </a:cxn>
                <a:cxn ang="0">
                  <a:pos x="399" y="479"/>
                </a:cxn>
                <a:cxn ang="0">
                  <a:pos x="303" y="483"/>
                </a:cxn>
                <a:cxn ang="0">
                  <a:pos x="246" y="483"/>
                </a:cxn>
                <a:cxn ang="0">
                  <a:pos x="184" y="479"/>
                </a:cxn>
                <a:cxn ang="0">
                  <a:pos x="184" y="479"/>
                </a:cxn>
                <a:cxn ang="0">
                  <a:pos x="123" y="474"/>
                </a:cxn>
                <a:cxn ang="0">
                  <a:pos x="101" y="465"/>
                </a:cxn>
                <a:cxn ang="0">
                  <a:pos x="96" y="461"/>
                </a:cxn>
                <a:cxn ang="0">
                  <a:pos x="96" y="461"/>
                </a:cxn>
                <a:cxn ang="0">
                  <a:pos x="96" y="457"/>
                </a:cxn>
                <a:cxn ang="0">
                  <a:pos x="17" y="465"/>
                </a:cxn>
                <a:cxn ang="0">
                  <a:pos x="17" y="465"/>
                </a:cxn>
                <a:cxn ang="0">
                  <a:pos x="22" y="448"/>
                </a:cxn>
                <a:cxn ang="0">
                  <a:pos x="31" y="408"/>
                </a:cxn>
                <a:cxn ang="0">
                  <a:pos x="31" y="382"/>
                </a:cxn>
                <a:cxn ang="0">
                  <a:pos x="26" y="351"/>
                </a:cxn>
                <a:cxn ang="0">
                  <a:pos x="17" y="321"/>
                </a:cxn>
                <a:cxn ang="0">
                  <a:pos x="0" y="285"/>
                </a:cxn>
                <a:cxn ang="0">
                  <a:pos x="74" y="285"/>
                </a:cxn>
                <a:cxn ang="0">
                  <a:pos x="74" y="285"/>
                </a:cxn>
                <a:cxn ang="0">
                  <a:pos x="83" y="268"/>
                </a:cxn>
                <a:cxn ang="0">
                  <a:pos x="92" y="255"/>
                </a:cxn>
                <a:cxn ang="0">
                  <a:pos x="110" y="237"/>
                </a:cxn>
                <a:cxn ang="0">
                  <a:pos x="110" y="237"/>
                </a:cxn>
                <a:cxn ang="0">
                  <a:pos x="118" y="228"/>
                </a:cxn>
                <a:cxn ang="0">
                  <a:pos x="136" y="224"/>
                </a:cxn>
                <a:cxn ang="0">
                  <a:pos x="175" y="219"/>
                </a:cxn>
                <a:cxn ang="0">
                  <a:pos x="219" y="211"/>
                </a:cxn>
                <a:cxn ang="0">
                  <a:pos x="241" y="202"/>
                </a:cxn>
                <a:cxn ang="0">
                  <a:pos x="259" y="193"/>
                </a:cxn>
                <a:cxn ang="0">
                  <a:pos x="259" y="193"/>
                </a:cxn>
                <a:cxn ang="0">
                  <a:pos x="272" y="176"/>
                </a:cxn>
                <a:cxn ang="0">
                  <a:pos x="290" y="158"/>
                </a:cxn>
                <a:cxn ang="0">
                  <a:pos x="312" y="110"/>
                </a:cxn>
                <a:cxn ang="0">
                  <a:pos x="338" y="48"/>
                </a:cxn>
                <a:cxn ang="0">
                  <a:pos x="623" y="0"/>
                </a:cxn>
              </a:cxnLst>
              <a:rect l="0" t="0" r="r" b="b"/>
              <a:pathLst>
                <a:path w="667" h="483">
                  <a:moveTo>
                    <a:pt x="623" y="0"/>
                  </a:moveTo>
                  <a:lnTo>
                    <a:pt x="623" y="0"/>
                  </a:lnTo>
                  <a:lnTo>
                    <a:pt x="632" y="39"/>
                  </a:lnTo>
                  <a:lnTo>
                    <a:pt x="650" y="136"/>
                  </a:lnTo>
                  <a:lnTo>
                    <a:pt x="659" y="198"/>
                  </a:lnTo>
                  <a:lnTo>
                    <a:pt x="663" y="268"/>
                  </a:lnTo>
                  <a:lnTo>
                    <a:pt x="667" y="334"/>
                  </a:lnTo>
                  <a:lnTo>
                    <a:pt x="659" y="395"/>
                  </a:lnTo>
                  <a:lnTo>
                    <a:pt x="659" y="395"/>
                  </a:lnTo>
                  <a:lnTo>
                    <a:pt x="632" y="413"/>
                  </a:lnTo>
                  <a:lnTo>
                    <a:pt x="597" y="426"/>
                  </a:lnTo>
                  <a:lnTo>
                    <a:pt x="549" y="448"/>
                  </a:lnTo>
                  <a:lnTo>
                    <a:pt x="483" y="465"/>
                  </a:lnTo>
                  <a:lnTo>
                    <a:pt x="399" y="479"/>
                  </a:lnTo>
                  <a:lnTo>
                    <a:pt x="303" y="483"/>
                  </a:lnTo>
                  <a:lnTo>
                    <a:pt x="246" y="483"/>
                  </a:lnTo>
                  <a:lnTo>
                    <a:pt x="184" y="479"/>
                  </a:lnTo>
                  <a:lnTo>
                    <a:pt x="184" y="479"/>
                  </a:lnTo>
                  <a:lnTo>
                    <a:pt x="123" y="474"/>
                  </a:lnTo>
                  <a:lnTo>
                    <a:pt x="101" y="465"/>
                  </a:lnTo>
                  <a:lnTo>
                    <a:pt x="96" y="461"/>
                  </a:lnTo>
                  <a:lnTo>
                    <a:pt x="96" y="461"/>
                  </a:lnTo>
                  <a:lnTo>
                    <a:pt x="96" y="457"/>
                  </a:lnTo>
                  <a:lnTo>
                    <a:pt x="17" y="465"/>
                  </a:lnTo>
                  <a:lnTo>
                    <a:pt x="17" y="465"/>
                  </a:lnTo>
                  <a:lnTo>
                    <a:pt x="22" y="448"/>
                  </a:lnTo>
                  <a:lnTo>
                    <a:pt x="31" y="408"/>
                  </a:lnTo>
                  <a:lnTo>
                    <a:pt x="31" y="382"/>
                  </a:lnTo>
                  <a:lnTo>
                    <a:pt x="26" y="351"/>
                  </a:lnTo>
                  <a:lnTo>
                    <a:pt x="17" y="321"/>
                  </a:lnTo>
                  <a:lnTo>
                    <a:pt x="0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83" y="268"/>
                  </a:lnTo>
                  <a:lnTo>
                    <a:pt x="92" y="255"/>
                  </a:lnTo>
                  <a:lnTo>
                    <a:pt x="110" y="237"/>
                  </a:lnTo>
                  <a:lnTo>
                    <a:pt x="110" y="237"/>
                  </a:lnTo>
                  <a:lnTo>
                    <a:pt x="118" y="228"/>
                  </a:lnTo>
                  <a:lnTo>
                    <a:pt x="136" y="224"/>
                  </a:lnTo>
                  <a:lnTo>
                    <a:pt x="175" y="219"/>
                  </a:lnTo>
                  <a:lnTo>
                    <a:pt x="219" y="211"/>
                  </a:lnTo>
                  <a:lnTo>
                    <a:pt x="241" y="202"/>
                  </a:lnTo>
                  <a:lnTo>
                    <a:pt x="259" y="193"/>
                  </a:lnTo>
                  <a:lnTo>
                    <a:pt x="259" y="193"/>
                  </a:lnTo>
                  <a:lnTo>
                    <a:pt x="272" y="176"/>
                  </a:lnTo>
                  <a:lnTo>
                    <a:pt x="290" y="158"/>
                  </a:lnTo>
                  <a:lnTo>
                    <a:pt x="312" y="110"/>
                  </a:lnTo>
                  <a:lnTo>
                    <a:pt x="338" y="48"/>
                  </a:lnTo>
                  <a:lnTo>
                    <a:pt x="623" y="0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Freeform 34"/>
            <p:cNvSpPr>
              <a:spLocks/>
            </p:cNvSpPr>
            <p:nvPr/>
          </p:nvSpPr>
          <p:spPr bwMode="auto">
            <a:xfrm>
              <a:off x="1944217" y="4798623"/>
              <a:ext cx="250617" cy="408515"/>
            </a:xfrm>
            <a:custGeom>
              <a:avLst/>
              <a:gdLst>
                <a:gd name="T0" fmla="*/ 285750 w 268"/>
                <a:gd name="T1" fmla="*/ 0 h 435"/>
                <a:gd name="T2" fmla="*/ 285750 w 268"/>
                <a:gd name="T3" fmla="*/ 0 h 435"/>
                <a:gd name="T4" fmla="*/ 285750 w 268"/>
                <a:gd name="T5" fmla="*/ 14287 h 435"/>
                <a:gd name="T6" fmla="*/ 300037 w 268"/>
                <a:gd name="T7" fmla="*/ 55562 h 435"/>
                <a:gd name="T8" fmla="*/ 300037 w 268"/>
                <a:gd name="T9" fmla="*/ 111125 h 435"/>
                <a:gd name="T10" fmla="*/ 300037 w 268"/>
                <a:gd name="T11" fmla="*/ 188912 h 435"/>
                <a:gd name="T12" fmla="*/ 285750 w 268"/>
                <a:gd name="T13" fmla="*/ 230187 h 435"/>
                <a:gd name="T14" fmla="*/ 273050 w 268"/>
                <a:gd name="T15" fmla="*/ 279400 h 435"/>
                <a:gd name="T16" fmla="*/ 250825 w 268"/>
                <a:gd name="T17" fmla="*/ 334962 h 435"/>
                <a:gd name="T18" fmla="*/ 223837 w 268"/>
                <a:gd name="T19" fmla="*/ 384175 h 435"/>
                <a:gd name="T20" fmla="*/ 182562 w 268"/>
                <a:gd name="T21" fmla="*/ 439737 h 435"/>
                <a:gd name="T22" fmla="*/ 133350 w 268"/>
                <a:gd name="T23" fmla="*/ 501650 h 435"/>
                <a:gd name="T24" fmla="*/ 69850 w 268"/>
                <a:gd name="T25" fmla="*/ 565150 h 435"/>
                <a:gd name="T26" fmla="*/ 0 w 268"/>
                <a:gd name="T27" fmla="*/ 627062 h 435"/>
                <a:gd name="T28" fmla="*/ 0 w 268"/>
                <a:gd name="T29" fmla="*/ 627062 h 435"/>
                <a:gd name="T30" fmla="*/ 7937 w 268"/>
                <a:gd name="T31" fmla="*/ 635000 h 435"/>
                <a:gd name="T32" fmla="*/ 14287 w 268"/>
                <a:gd name="T33" fmla="*/ 641350 h 435"/>
                <a:gd name="T34" fmla="*/ 34925 w 268"/>
                <a:gd name="T35" fmla="*/ 635000 h 435"/>
                <a:gd name="T36" fmla="*/ 34925 w 268"/>
                <a:gd name="T37" fmla="*/ 635000 h 435"/>
                <a:gd name="T38" fmla="*/ 104775 w 268"/>
                <a:gd name="T39" fmla="*/ 585787 h 435"/>
                <a:gd name="T40" fmla="*/ 147637 w 268"/>
                <a:gd name="T41" fmla="*/ 557212 h 435"/>
                <a:gd name="T42" fmla="*/ 147637 w 268"/>
                <a:gd name="T43" fmla="*/ 557212 h 435"/>
                <a:gd name="T44" fmla="*/ 244475 w 268"/>
                <a:gd name="T45" fmla="*/ 614362 h 435"/>
                <a:gd name="T46" fmla="*/ 307975 w 268"/>
                <a:gd name="T47" fmla="*/ 661987 h 435"/>
                <a:gd name="T48" fmla="*/ 342900 w 268"/>
                <a:gd name="T49" fmla="*/ 690562 h 435"/>
                <a:gd name="T50" fmla="*/ 342900 w 268"/>
                <a:gd name="T51" fmla="*/ 690562 h 435"/>
                <a:gd name="T52" fmla="*/ 355600 w 268"/>
                <a:gd name="T53" fmla="*/ 682625 h 435"/>
                <a:gd name="T54" fmla="*/ 369887 w 268"/>
                <a:gd name="T55" fmla="*/ 649287 h 435"/>
                <a:gd name="T56" fmla="*/ 390525 w 268"/>
                <a:gd name="T57" fmla="*/ 585787 h 435"/>
                <a:gd name="T58" fmla="*/ 411163 w 268"/>
                <a:gd name="T59" fmla="*/ 501650 h 435"/>
                <a:gd name="T60" fmla="*/ 425450 w 268"/>
                <a:gd name="T61" fmla="*/ 404812 h 435"/>
                <a:gd name="T62" fmla="*/ 425450 w 268"/>
                <a:gd name="T63" fmla="*/ 292100 h 435"/>
                <a:gd name="T64" fmla="*/ 425450 w 268"/>
                <a:gd name="T65" fmla="*/ 236537 h 435"/>
                <a:gd name="T66" fmla="*/ 411163 w 268"/>
                <a:gd name="T67" fmla="*/ 180975 h 435"/>
                <a:gd name="T68" fmla="*/ 398462 w 268"/>
                <a:gd name="T69" fmla="*/ 119062 h 435"/>
                <a:gd name="T70" fmla="*/ 384175 w 268"/>
                <a:gd name="T71" fmla="*/ 55562 h 435"/>
                <a:gd name="T72" fmla="*/ 384175 w 268"/>
                <a:gd name="T73" fmla="*/ 55562 h 435"/>
                <a:gd name="T74" fmla="*/ 342900 w 268"/>
                <a:gd name="T75" fmla="*/ 20637 h 435"/>
                <a:gd name="T76" fmla="*/ 307975 w 268"/>
                <a:gd name="T77" fmla="*/ 6350 h 435"/>
                <a:gd name="T78" fmla="*/ 293687 w 268"/>
                <a:gd name="T79" fmla="*/ 0 h 435"/>
                <a:gd name="T80" fmla="*/ 285750 w 268"/>
                <a:gd name="T81" fmla="*/ 0 h 435"/>
                <a:gd name="T82" fmla="*/ 285750 w 268"/>
                <a:gd name="T83" fmla="*/ 0 h 43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68"/>
                <a:gd name="T127" fmla="*/ 0 h 435"/>
                <a:gd name="T128" fmla="*/ 268 w 268"/>
                <a:gd name="T129" fmla="*/ 435 h 43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68" h="435">
                  <a:moveTo>
                    <a:pt x="180" y="0"/>
                  </a:moveTo>
                  <a:lnTo>
                    <a:pt x="180" y="0"/>
                  </a:lnTo>
                  <a:lnTo>
                    <a:pt x="180" y="9"/>
                  </a:lnTo>
                  <a:lnTo>
                    <a:pt x="189" y="35"/>
                  </a:lnTo>
                  <a:lnTo>
                    <a:pt x="189" y="70"/>
                  </a:lnTo>
                  <a:lnTo>
                    <a:pt x="189" y="119"/>
                  </a:lnTo>
                  <a:lnTo>
                    <a:pt x="180" y="145"/>
                  </a:lnTo>
                  <a:lnTo>
                    <a:pt x="172" y="176"/>
                  </a:lnTo>
                  <a:lnTo>
                    <a:pt x="158" y="211"/>
                  </a:lnTo>
                  <a:lnTo>
                    <a:pt x="141" y="242"/>
                  </a:lnTo>
                  <a:lnTo>
                    <a:pt x="115" y="277"/>
                  </a:lnTo>
                  <a:lnTo>
                    <a:pt x="84" y="316"/>
                  </a:lnTo>
                  <a:lnTo>
                    <a:pt x="44" y="356"/>
                  </a:lnTo>
                  <a:lnTo>
                    <a:pt x="0" y="395"/>
                  </a:lnTo>
                  <a:lnTo>
                    <a:pt x="5" y="400"/>
                  </a:lnTo>
                  <a:lnTo>
                    <a:pt x="9" y="404"/>
                  </a:lnTo>
                  <a:lnTo>
                    <a:pt x="22" y="400"/>
                  </a:lnTo>
                  <a:lnTo>
                    <a:pt x="66" y="369"/>
                  </a:lnTo>
                  <a:lnTo>
                    <a:pt x="93" y="351"/>
                  </a:lnTo>
                  <a:lnTo>
                    <a:pt x="154" y="387"/>
                  </a:lnTo>
                  <a:lnTo>
                    <a:pt x="194" y="417"/>
                  </a:lnTo>
                  <a:lnTo>
                    <a:pt x="216" y="435"/>
                  </a:lnTo>
                  <a:lnTo>
                    <a:pt x="224" y="430"/>
                  </a:lnTo>
                  <a:lnTo>
                    <a:pt x="233" y="409"/>
                  </a:lnTo>
                  <a:lnTo>
                    <a:pt x="246" y="369"/>
                  </a:lnTo>
                  <a:lnTo>
                    <a:pt x="259" y="316"/>
                  </a:lnTo>
                  <a:lnTo>
                    <a:pt x="268" y="255"/>
                  </a:lnTo>
                  <a:lnTo>
                    <a:pt x="268" y="184"/>
                  </a:lnTo>
                  <a:lnTo>
                    <a:pt x="268" y="149"/>
                  </a:lnTo>
                  <a:lnTo>
                    <a:pt x="259" y="114"/>
                  </a:lnTo>
                  <a:lnTo>
                    <a:pt x="251" y="75"/>
                  </a:lnTo>
                  <a:lnTo>
                    <a:pt x="242" y="35"/>
                  </a:lnTo>
                  <a:lnTo>
                    <a:pt x="216" y="13"/>
                  </a:lnTo>
                  <a:lnTo>
                    <a:pt x="194" y="4"/>
                  </a:lnTo>
                  <a:lnTo>
                    <a:pt x="185" y="0"/>
                  </a:lnTo>
                  <a:lnTo>
                    <a:pt x="180" y="0"/>
                  </a:lnTo>
                  <a:close/>
                </a:path>
              </a:pathLst>
            </a:custGeom>
            <a:solidFill>
              <a:srgbClr val="E9E5E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Freeform 35"/>
            <p:cNvSpPr>
              <a:spLocks/>
            </p:cNvSpPr>
            <p:nvPr/>
          </p:nvSpPr>
          <p:spPr bwMode="auto">
            <a:xfrm>
              <a:off x="2093232" y="5355689"/>
              <a:ext cx="254002" cy="3308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2" y="9"/>
                </a:cxn>
                <a:cxn ang="0">
                  <a:pos x="75" y="22"/>
                </a:cxn>
                <a:cxn ang="0">
                  <a:pos x="110" y="31"/>
                </a:cxn>
                <a:cxn ang="0">
                  <a:pos x="145" y="35"/>
                </a:cxn>
                <a:cxn ang="0">
                  <a:pos x="185" y="35"/>
                </a:cxn>
                <a:cxn ang="0">
                  <a:pos x="224" y="31"/>
                </a:cxn>
                <a:cxn ang="0">
                  <a:pos x="268" y="264"/>
                </a:cxn>
                <a:cxn ang="0">
                  <a:pos x="181" y="347"/>
                </a:cxn>
                <a:cxn ang="0">
                  <a:pos x="40" y="264"/>
                </a:cxn>
                <a:cxn ang="0">
                  <a:pos x="40" y="264"/>
                </a:cxn>
                <a:cxn ang="0">
                  <a:pos x="31" y="233"/>
                </a:cxn>
                <a:cxn ang="0">
                  <a:pos x="14" y="167"/>
                </a:cxn>
                <a:cxn ang="0">
                  <a:pos x="0" y="79"/>
                </a:cxn>
                <a:cxn ang="0">
                  <a:pos x="0" y="4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68" h="347">
                  <a:moveTo>
                    <a:pt x="0" y="0"/>
                  </a:moveTo>
                  <a:lnTo>
                    <a:pt x="0" y="0"/>
                  </a:lnTo>
                  <a:lnTo>
                    <a:pt x="22" y="9"/>
                  </a:lnTo>
                  <a:lnTo>
                    <a:pt x="75" y="22"/>
                  </a:lnTo>
                  <a:lnTo>
                    <a:pt x="110" y="31"/>
                  </a:lnTo>
                  <a:lnTo>
                    <a:pt x="145" y="35"/>
                  </a:lnTo>
                  <a:lnTo>
                    <a:pt x="185" y="35"/>
                  </a:lnTo>
                  <a:lnTo>
                    <a:pt x="224" y="31"/>
                  </a:lnTo>
                  <a:lnTo>
                    <a:pt x="268" y="264"/>
                  </a:lnTo>
                  <a:lnTo>
                    <a:pt x="181" y="347"/>
                  </a:lnTo>
                  <a:lnTo>
                    <a:pt x="40" y="264"/>
                  </a:lnTo>
                  <a:lnTo>
                    <a:pt x="40" y="264"/>
                  </a:lnTo>
                  <a:lnTo>
                    <a:pt x="31" y="233"/>
                  </a:lnTo>
                  <a:lnTo>
                    <a:pt x="14" y="167"/>
                  </a:lnTo>
                  <a:lnTo>
                    <a:pt x="0" y="79"/>
                  </a:lnTo>
                  <a:lnTo>
                    <a:pt x="0" y="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Freeform 36"/>
            <p:cNvSpPr>
              <a:spLocks/>
            </p:cNvSpPr>
            <p:nvPr/>
          </p:nvSpPr>
          <p:spPr bwMode="auto">
            <a:xfrm>
              <a:off x="1920509" y="5251029"/>
              <a:ext cx="33867" cy="33762"/>
            </a:xfrm>
            <a:custGeom>
              <a:avLst/>
              <a:gdLst>
                <a:gd name="T0" fmla="*/ 49213 w 31"/>
                <a:gd name="T1" fmla="*/ 34925 h 39"/>
                <a:gd name="T2" fmla="*/ 49213 w 31"/>
                <a:gd name="T3" fmla="*/ 34925 h 39"/>
                <a:gd name="T4" fmla="*/ 42863 w 31"/>
                <a:gd name="T5" fmla="*/ 55562 h 39"/>
                <a:gd name="T6" fmla="*/ 34925 w 31"/>
                <a:gd name="T7" fmla="*/ 61912 h 39"/>
                <a:gd name="T8" fmla="*/ 22225 w 31"/>
                <a:gd name="T9" fmla="*/ 61912 h 39"/>
                <a:gd name="T10" fmla="*/ 22225 w 31"/>
                <a:gd name="T11" fmla="*/ 61912 h 39"/>
                <a:gd name="T12" fmla="*/ 14288 w 31"/>
                <a:gd name="T13" fmla="*/ 61912 h 39"/>
                <a:gd name="T14" fmla="*/ 7938 w 31"/>
                <a:gd name="T15" fmla="*/ 55562 h 39"/>
                <a:gd name="T16" fmla="*/ 0 w 31"/>
                <a:gd name="T17" fmla="*/ 34925 h 39"/>
                <a:gd name="T18" fmla="*/ 0 w 31"/>
                <a:gd name="T19" fmla="*/ 34925 h 39"/>
                <a:gd name="T20" fmla="*/ 7938 w 31"/>
                <a:gd name="T21" fmla="*/ 14287 h 39"/>
                <a:gd name="T22" fmla="*/ 14288 w 31"/>
                <a:gd name="T23" fmla="*/ 6350 h 39"/>
                <a:gd name="T24" fmla="*/ 22225 w 31"/>
                <a:gd name="T25" fmla="*/ 0 h 39"/>
                <a:gd name="T26" fmla="*/ 22225 w 31"/>
                <a:gd name="T27" fmla="*/ 0 h 39"/>
                <a:gd name="T28" fmla="*/ 34925 w 31"/>
                <a:gd name="T29" fmla="*/ 6350 h 39"/>
                <a:gd name="T30" fmla="*/ 42863 w 31"/>
                <a:gd name="T31" fmla="*/ 14287 h 39"/>
                <a:gd name="T32" fmla="*/ 49213 w 31"/>
                <a:gd name="T33" fmla="*/ 34925 h 39"/>
                <a:gd name="T34" fmla="*/ 49213 w 31"/>
                <a:gd name="T35" fmla="*/ 34925 h 3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1"/>
                <a:gd name="T55" fmla="*/ 0 h 39"/>
                <a:gd name="T56" fmla="*/ 31 w 31"/>
                <a:gd name="T57" fmla="*/ 39 h 3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1" h="39">
                  <a:moveTo>
                    <a:pt x="31" y="22"/>
                  </a:moveTo>
                  <a:lnTo>
                    <a:pt x="31" y="22"/>
                  </a:lnTo>
                  <a:lnTo>
                    <a:pt x="27" y="35"/>
                  </a:lnTo>
                  <a:lnTo>
                    <a:pt x="22" y="39"/>
                  </a:lnTo>
                  <a:lnTo>
                    <a:pt x="14" y="39"/>
                  </a:lnTo>
                  <a:lnTo>
                    <a:pt x="9" y="39"/>
                  </a:lnTo>
                  <a:lnTo>
                    <a:pt x="5" y="35"/>
                  </a:lnTo>
                  <a:lnTo>
                    <a:pt x="0" y="22"/>
                  </a:lnTo>
                  <a:lnTo>
                    <a:pt x="5" y="9"/>
                  </a:lnTo>
                  <a:lnTo>
                    <a:pt x="9" y="4"/>
                  </a:lnTo>
                  <a:lnTo>
                    <a:pt x="14" y="0"/>
                  </a:lnTo>
                  <a:lnTo>
                    <a:pt x="22" y="4"/>
                  </a:lnTo>
                  <a:lnTo>
                    <a:pt x="27" y="9"/>
                  </a:lnTo>
                  <a:lnTo>
                    <a:pt x="31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77" name="Freeform 37"/>
            <p:cNvSpPr>
              <a:spLocks/>
            </p:cNvSpPr>
            <p:nvPr/>
          </p:nvSpPr>
          <p:spPr bwMode="auto">
            <a:xfrm>
              <a:off x="1967923" y="5419837"/>
              <a:ext cx="20320" cy="33762"/>
            </a:xfrm>
            <a:custGeom>
              <a:avLst/>
              <a:gdLst>
                <a:gd name="T0" fmla="*/ 49213 w 31"/>
                <a:gd name="T1" fmla="*/ 26987 h 39"/>
                <a:gd name="T2" fmla="*/ 49213 w 31"/>
                <a:gd name="T3" fmla="*/ 26987 h 39"/>
                <a:gd name="T4" fmla="*/ 41275 w 31"/>
                <a:gd name="T5" fmla="*/ 47625 h 39"/>
                <a:gd name="T6" fmla="*/ 34925 w 31"/>
                <a:gd name="T7" fmla="*/ 55562 h 39"/>
                <a:gd name="T8" fmla="*/ 26988 w 31"/>
                <a:gd name="T9" fmla="*/ 61912 h 39"/>
                <a:gd name="T10" fmla="*/ 26988 w 31"/>
                <a:gd name="T11" fmla="*/ 61912 h 39"/>
                <a:gd name="T12" fmla="*/ 14288 w 31"/>
                <a:gd name="T13" fmla="*/ 55562 h 39"/>
                <a:gd name="T14" fmla="*/ 6350 w 31"/>
                <a:gd name="T15" fmla="*/ 47625 h 39"/>
                <a:gd name="T16" fmla="*/ 0 w 31"/>
                <a:gd name="T17" fmla="*/ 26987 h 39"/>
                <a:gd name="T18" fmla="*/ 0 w 31"/>
                <a:gd name="T19" fmla="*/ 26987 h 39"/>
                <a:gd name="T20" fmla="*/ 6350 w 31"/>
                <a:gd name="T21" fmla="*/ 6350 h 39"/>
                <a:gd name="T22" fmla="*/ 14288 w 31"/>
                <a:gd name="T23" fmla="*/ 0 h 39"/>
                <a:gd name="T24" fmla="*/ 26988 w 31"/>
                <a:gd name="T25" fmla="*/ 0 h 39"/>
                <a:gd name="T26" fmla="*/ 26988 w 31"/>
                <a:gd name="T27" fmla="*/ 0 h 39"/>
                <a:gd name="T28" fmla="*/ 34925 w 31"/>
                <a:gd name="T29" fmla="*/ 0 h 39"/>
                <a:gd name="T30" fmla="*/ 41275 w 31"/>
                <a:gd name="T31" fmla="*/ 6350 h 39"/>
                <a:gd name="T32" fmla="*/ 49213 w 31"/>
                <a:gd name="T33" fmla="*/ 26987 h 39"/>
                <a:gd name="T34" fmla="*/ 49213 w 31"/>
                <a:gd name="T35" fmla="*/ 26987 h 3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1"/>
                <a:gd name="T55" fmla="*/ 0 h 39"/>
                <a:gd name="T56" fmla="*/ 31 w 31"/>
                <a:gd name="T57" fmla="*/ 39 h 3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1" h="39">
                  <a:moveTo>
                    <a:pt x="31" y="17"/>
                  </a:moveTo>
                  <a:lnTo>
                    <a:pt x="31" y="17"/>
                  </a:lnTo>
                  <a:lnTo>
                    <a:pt x="26" y="30"/>
                  </a:lnTo>
                  <a:lnTo>
                    <a:pt x="22" y="35"/>
                  </a:lnTo>
                  <a:lnTo>
                    <a:pt x="17" y="39"/>
                  </a:lnTo>
                  <a:lnTo>
                    <a:pt x="9" y="35"/>
                  </a:lnTo>
                  <a:lnTo>
                    <a:pt x="4" y="30"/>
                  </a:lnTo>
                  <a:lnTo>
                    <a:pt x="0" y="17"/>
                  </a:lnTo>
                  <a:lnTo>
                    <a:pt x="4" y="4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26" y="4"/>
                  </a:lnTo>
                  <a:lnTo>
                    <a:pt x="31" y="1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78" name="Freeform 38"/>
            <p:cNvSpPr>
              <a:spLocks/>
            </p:cNvSpPr>
            <p:nvPr/>
          </p:nvSpPr>
          <p:spPr bwMode="auto">
            <a:xfrm>
              <a:off x="1998404" y="5548131"/>
              <a:ext cx="23706" cy="33762"/>
            </a:xfrm>
            <a:custGeom>
              <a:avLst/>
              <a:gdLst>
                <a:gd name="T0" fmla="*/ 42863 w 27"/>
                <a:gd name="T1" fmla="*/ 28575 h 35"/>
                <a:gd name="T2" fmla="*/ 42863 w 27"/>
                <a:gd name="T3" fmla="*/ 28575 h 35"/>
                <a:gd name="T4" fmla="*/ 34925 w 27"/>
                <a:gd name="T5" fmla="*/ 49212 h 35"/>
                <a:gd name="T6" fmla="*/ 28575 w 27"/>
                <a:gd name="T7" fmla="*/ 55562 h 35"/>
                <a:gd name="T8" fmla="*/ 22225 w 27"/>
                <a:gd name="T9" fmla="*/ 55562 h 35"/>
                <a:gd name="T10" fmla="*/ 22225 w 27"/>
                <a:gd name="T11" fmla="*/ 55562 h 35"/>
                <a:gd name="T12" fmla="*/ 14288 w 27"/>
                <a:gd name="T13" fmla="*/ 55562 h 35"/>
                <a:gd name="T14" fmla="*/ 7938 w 27"/>
                <a:gd name="T15" fmla="*/ 49212 h 35"/>
                <a:gd name="T16" fmla="*/ 0 w 27"/>
                <a:gd name="T17" fmla="*/ 28575 h 35"/>
                <a:gd name="T18" fmla="*/ 0 w 27"/>
                <a:gd name="T19" fmla="*/ 28575 h 35"/>
                <a:gd name="T20" fmla="*/ 7938 w 27"/>
                <a:gd name="T21" fmla="*/ 6350 h 35"/>
                <a:gd name="T22" fmla="*/ 14288 w 27"/>
                <a:gd name="T23" fmla="*/ 0 h 35"/>
                <a:gd name="T24" fmla="*/ 22225 w 27"/>
                <a:gd name="T25" fmla="*/ 0 h 35"/>
                <a:gd name="T26" fmla="*/ 22225 w 27"/>
                <a:gd name="T27" fmla="*/ 0 h 35"/>
                <a:gd name="T28" fmla="*/ 28575 w 27"/>
                <a:gd name="T29" fmla="*/ 0 h 35"/>
                <a:gd name="T30" fmla="*/ 34925 w 27"/>
                <a:gd name="T31" fmla="*/ 6350 h 35"/>
                <a:gd name="T32" fmla="*/ 42863 w 27"/>
                <a:gd name="T33" fmla="*/ 28575 h 35"/>
                <a:gd name="T34" fmla="*/ 42863 w 27"/>
                <a:gd name="T35" fmla="*/ 28575 h 3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7"/>
                <a:gd name="T55" fmla="*/ 0 h 35"/>
                <a:gd name="T56" fmla="*/ 27 w 27"/>
                <a:gd name="T57" fmla="*/ 35 h 3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7" h="35">
                  <a:moveTo>
                    <a:pt x="27" y="18"/>
                  </a:moveTo>
                  <a:lnTo>
                    <a:pt x="27" y="18"/>
                  </a:lnTo>
                  <a:lnTo>
                    <a:pt x="22" y="31"/>
                  </a:lnTo>
                  <a:lnTo>
                    <a:pt x="18" y="35"/>
                  </a:lnTo>
                  <a:lnTo>
                    <a:pt x="14" y="35"/>
                  </a:lnTo>
                  <a:lnTo>
                    <a:pt x="9" y="35"/>
                  </a:lnTo>
                  <a:lnTo>
                    <a:pt x="5" y="31"/>
                  </a:lnTo>
                  <a:lnTo>
                    <a:pt x="0" y="18"/>
                  </a:lnTo>
                  <a:lnTo>
                    <a:pt x="5" y="4"/>
                  </a:lnTo>
                  <a:lnTo>
                    <a:pt x="9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7" y="1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79" name="Freeform 44"/>
            <p:cNvSpPr>
              <a:spLocks/>
            </p:cNvSpPr>
            <p:nvPr/>
          </p:nvSpPr>
          <p:spPr bwMode="auto">
            <a:xfrm>
              <a:off x="1144953" y="5899252"/>
              <a:ext cx="927959" cy="70898"/>
            </a:xfrm>
            <a:custGeom>
              <a:avLst/>
              <a:gdLst>
                <a:gd name="T0" fmla="*/ 0 w 983"/>
                <a:gd name="T1" fmla="*/ 119062 h 75"/>
                <a:gd name="T2" fmla="*/ 1539875 w 983"/>
                <a:gd name="T3" fmla="*/ 98425 h 75"/>
                <a:gd name="T4" fmla="*/ 1539875 w 983"/>
                <a:gd name="T5" fmla="*/ 98425 h 75"/>
                <a:gd name="T6" fmla="*/ 1547813 w 983"/>
                <a:gd name="T7" fmla="*/ 92075 h 75"/>
                <a:gd name="T8" fmla="*/ 1560513 w 983"/>
                <a:gd name="T9" fmla="*/ 77787 h 75"/>
                <a:gd name="T10" fmla="*/ 1560513 w 983"/>
                <a:gd name="T11" fmla="*/ 63500 h 75"/>
                <a:gd name="T12" fmla="*/ 1560513 w 983"/>
                <a:gd name="T13" fmla="*/ 49212 h 75"/>
                <a:gd name="T14" fmla="*/ 1554163 w 983"/>
                <a:gd name="T15" fmla="*/ 28575 h 75"/>
                <a:gd name="T16" fmla="*/ 1539875 w 983"/>
                <a:gd name="T17" fmla="*/ 0 h 75"/>
                <a:gd name="T18" fmla="*/ 26988 w 983"/>
                <a:gd name="T19" fmla="*/ 7937 h 75"/>
                <a:gd name="T20" fmla="*/ 0 w 983"/>
                <a:gd name="T21" fmla="*/ 119062 h 7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83"/>
                <a:gd name="T34" fmla="*/ 0 h 75"/>
                <a:gd name="T35" fmla="*/ 983 w 983"/>
                <a:gd name="T36" fmla="*/ 75 h 7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83" h="75">
                  <a:moveTo>
                    <a:pt x="0" y="75"/>
                  </a:moveTo>
                  <a:lnTo>
                    <a:pt x="970" y="62"/>
                  </a:lnTo>
                  <a:lnTo>
                    <a:pt x="975" y="58"/>
                  </a:lnTo>
                  <a:lnTo>
                    <a:pt x="983" y="49"/>
                  </a:lnTo>
                  <a:lnTo>
                    <a:pt x="983" y="40"/>
                  </a:lnTo>
                  <a:lnTo>
                    <a:pt x="983" y="31"/>
                  </a:lnTo>
                  <a:lnTo>
                    <a:pt x="979" y="18"/>
                  </a:lnTo>
                  <a:lnTo>
                    <a:pt x="970" y="0"/>
                  </a:lnTo>
                  <a:lnTo>
                    <a:pt x="17" y="5"/>
                  </a:lnTo>
                  <a:lnTo>
                    <a:pt x="0" y="75"/>
                  </a:lnTo>
                  <a:close/>
                </a:path>
              </a:pathLst>
            </a:custGeom>
            <a:solidFill>
              <a:srgbClr val="A19B9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80" name="Freeform 45"/>
            <p:cNvSpPr>
              <a:spLocks/>
            </p:cNvSpPr>
            <p:nvPr/>
          </p:nvSpPr>
          <p:spPr bwMode="auto">
            <a:xfrm>
              <a:off x="972229" y="5754076"/>
              <a:ext cx="196429" cy="216075"/>
            </a:xfrm>
            <a:custGeom>
              <a:avLst/>
              <a:gdLst>
                <a:gd name="T0" fmla="*/ 320675 w 207"/>
                <a:gd name="T1" fmla="*/ 334962 h 233"/>
                <a:gd name="T2" fmla="*/ 320675 w 207"/>
                <a:gd name="T3" fmla="*/ 334962 h 233"/>
                <a:gd name="T4" fmla="*/ 307975 w 207"/>
                <a:gd name="T5" fmla="*/ 363537 h 233"/>
                <a:gd name="T6" fmla="*/ 300038 w 207"/>
                <a:gd name="T7" fmla="*/ 369887 h 233"/>
                <a:gd name="T8" fmla="*/ 293688 w 207"/>
                <a:gd name="T9" fmla="*/ 369887 h 233"/>
                <a:gd name="T10" fmla="*/ 7938 w 207"/>
                <a:gd name="T11" fmla="*/ 90487 h 233"/>
                <a:gd name="T12" fmla="*/ 7938 w 207"/>
                <a:gd name="T13" fmla="*/ 90487 h 233"/>
                <a:gd name="T14" fmla="*/ 0 w 207"/>
                <a:gd name="T15" fmla="*/ 69850 h 233"/>
                <a:gd name="T16" fmla="*/ 7938 w 207"/>
                <a:gd name="T17" fmla="*/ 34925 h 233"/>
                <a:gd name="T18" fmla="*/ 7938 w 207"/>
                <a:gd name="T19" fmla="*/ 34925 h 233"/>
                <a:gd name="T20" fmla="*/ 7938 w 207"/>
                <a:gd name="T21" fmla="*/ 34925 h 233"/>
                <a:gd name="T22" fmla="*/ 22225 w 207"/>
                <a:gd name="T23" fmla="*/ 7937 h 233"/>
                <a:gd name="T24" fmla="*/ 28575 w 207"/>
                <a:gd name="T25" fmla="*/ 0 h 233"/>
                <a:gd name="T26" fmla="*/ 34925 w 207"/>
                <a:gd name="T27" fmla="*/ 7937 h 233"/>
                <a:gd name="T28" fmla="*/ 320675 w 207"/>
                <a:gd name="T29" fmla="*/ 279400 h 233"/>
                <a:gd name="T30" fmla="*/ 320675 w 207"/>
                <a:gd name="T31" fmla="*/ 279400 h 233"/>
                <a:gd name="T32" fmla="*/ 328613 w 207"/>
                <a:gd name="T33" fmla="*/ 300037 h 233"/>
                <a:gd name="T34" fmla="*/ 320675 w 207"/>
                <a:gd name="T35" fmla="*/ 334962 h 233"/>
                <a:gd name="T36" fmla="*/ 320675 w 207"/>
                <a:gd name="T37" fmla="*/ 334962 h 23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07"/>
                <a:gd name="T58" fmla="*/ 0 h 233"/>
                <a:gd name="T59" fmla="*/ 207 w 207"/>
                <a:gd name="T60" fmla="*/ 233 h 23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07" h="233">
                  <a:moveTo>
                    <a:pt x="202" y="211"/>
                  </a:moveTo>
                  <a:lnTo>
                    <a:pt x="202" y="211"/>
                  </a:lnTo>
                  <a:lnTo>
                    <a:pt x="194" y="229"/>
                  </a:lnTo>
                  <a:lnTo>
                    <a:pt x="189" y="233"/>
                  </a:lnTo>
                  <a:lnTo>
                    <a:pt x="185" y="233"/>
                  </a:lnTo>
                  <a:lnTo>
                    <a:pt x="5" y="57"/>
                  </a:lnTo>
                  <a:lnTo>
                    <a:pt x="0" y="44"/>
                  </a:lnTo>
                  <a:lnTo>
                    <a:pt x="5" y="22"/>
                  </a:lnTo>
                  <a:lnTo>
                    <a:pt x="14" y="5"/>
                  </a:lnTo>
                  <a:lnTo>
                    <a:pt x="18" y="0"/>
                  </a:lnTo>
                  <a:lnTo>
                    <a:pt x="22" y="5"/>
                  </a:lnTo>
                  <a:lnTo>
                    <a:pt x="202" y="176"/>
                  </a:lnTo>
                  <a:lnTo>
                    <a:pt x="207" y="189"/>
                  </a:lnTo>
                  <a:lnTo>
                    <a:pt x="202" y="211"/>
                  </a:lnTo>
                  <a:close/>
                </a:path>
              </a:pathLst>
            </a:custGeom>
            <a:solidFill>
              <a:srgbClr val="D6CFD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81" name="Freeform 46"/>
            <p:cNvSpPr>
              <a:spLocks/>
            </p:cNvSpPr>
            <p:nvPr/>
          </p:nvSpPr>
          <p:spPr bwMode="auto">
            <a:xfrm>
              <a:off x="979003" y="5730444"/>
              <a:ext cx="768785" cy="189065"/>
            </a:xfrm>
            <a:custGeom>
              <a:avLst/>
              <a:gdLst>
                <a:gd name="T0" fmla="*/ 0 w 821"/>
                <a:gd name="T1" fmla="*/ 41275 h 202"/>
                <a:gd name="T2" fmla="*/ 1079500 w 821"/>
                <a:gd name="T3" fmla="*/ 0 h 202"/>
                <a:gd name="T4" fmla="*/ 1303338 w 821"/>
                <a:gd name="T5" fmla="*/ 236538 h 202"/>
                <a:gd name="T6" fmla="*/ 312738 w 821"/>
                <a:gd name="T7" fmla="*/ 320675 h 202"/>
                <a:gd name="T8" fmla="*/ 0 w 821"/>
                <a:gd name="T9" fmla="*/ 41275 h 20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21"/>
                <a:gd name="T16" fmla="*/ 0 h 202"/>
                <a:gd name="T17" fmla="*/ 821 w 821"/>
                <a:gd name="T18" fmla="*/ 202 h 20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21" h="202">
                  <a:moveTo>
                    <a:pt x="0" y="26"/>
                  </a:moveTo>
                  <a:lnTo>
                    <a:pt x="680" y="0"/>
                  </a:lnTo>
                  <a:lnTo>
                    <a:pt x="821" y="149"/>
                  </a:lnTo>
                  <a:lnTo>
                    <a:pt x="197" y="202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E8E4E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82" name="Freeform 52"/>
            <p:cNvSpPr>
              <a:spLocks/>
            </p:cNvSpPr>
            <p:nvPr/>
          </p:nvSpPr>
          <p:spPr bwMode="auto">
            <a:xfrm>
              <a:off x="1229619" y="5129487"/>
              <a:ext cx="213364" cy="634719"/>
            </a:xfrm>
            <a:custGeom>
              <a:avLst/>
              <a:gdLst>
                <a:gd name="T0" fmla="*/ 222250 w 224"/>
                <a:gd name="T1" fmla="*/ 0 h 681"/>
                <a:gd name="T2" fmla="*/ 222250 w 224"/>
                <a:gd name="T3" fmla="*/ 0 h 681"/>
                <a:gd name="T4" fmla="*/ 236538 w 224"/>
                <a:gd name="T5" fmla="*/ 47625 h 681"/>
                <a:gd name="T6" fmla="*/ 242888 w 224"/>
                <a:gd name="T7" fmla="*/ 111125 h 681"/>
                <a:gd name="T8" fmla="*/ 242888 w 224"/>
                <a:gd name="T9" fmla="*/ 187325 h 681"/>
                <a:gd name="T10" fmla="*/ 236538 w 224"/>
                <a:gd name="T11" fmla="*/ 271462 h 681"/>
                <a:gd name="T12" fmla="*/ 222250 w 224"/>
                <a:gd name="T13" fmla="*/ 368300 h 681"/>
                <a:gd name="T14" fmla="*/ 195262 w 224"/>
                <a:gd name="T15" fmla="*/ 466725 h 681"/>
                <a:gd name="T16" fmla="*/ 173038 w 224"/>
                <a:gd name="T17" fmla="*/ 515937 h 681"/>
                <a:gd name="T18" fmla="*/ 146050 w 224"/>
                <a:gd name="T19" fmla="*/ 563562 h 681"/>
                <a:gd name="T20" fmla="*/ 146050 w 224"/>
                <a:gd name="T21" fmla="*/ 563562 h 681"/>
                <a:gd name="T22" fmla="*/ 61913 w 224"/>
                <a:gd name="T23" fmla="*/ 731837 h 681"/>
                <a:gd name="T24" fmla="*/ 34925 w 224"/>
                <a:gd name="T25" fmla="*/ 793750 h 681"/>
                <a:gd name="T26" fmla="*/ 12700 w 224"/>
                <a:gd name="T27" fmla="*/ 850900 h 681"/>
                <a:gd name="T28" fmla="*/ 0 w 224"/>
                <a:gd name="T29" fmla="*/ 906462 h 681"/>
                <a:gd name="T30" fmla="*/ 0 w 224"/>
                <a:gd name="T31" fmla="*/ 962025 h 681"/>
                <a:gd name="T32" fmla="*/ 0 w 224"/>
                <a:gd name="T33" fmla="*/ 1017587 h 681"/>
                <a:gd name="T34" fmla="*/ 6350 w 224"/>
                <a:gd name="T35" fmla="*/ 1081087 h 681"/>
                <a:gd name="T36" fmla="*/ 341313 w 224"/>
                <a:gd name="T37" fmla="*/ 1066800 h 681"/>
                <a:gd name="T38" fmla="*/ 341313 w 224"/>
                <a:gd name="T39" fmla="*/ 1066800 h 681"/>
                <a:gd name="T40" fmla="*/ 347663 w 224"/>
                <a:gd name="T41" fmla="*/ 947737 h 681"/>
                <a:gd name="T42" fmla="*/ 355600 w 224"/>
                <a:gd name="T43" fmla="*/ 808037 h 681"/>
                <a:gd name="T44" fmla="*/ 355600 w 224"/>
                <a:gd name="T45" fmla="*/ 647700 h 681"/>
                <a:gd name="T46" fmla="*/ 341313 w 224"/>
                <a:gd name="T47" fmla="*/ 473075 h 681"/>
                <a:gd name="T48" fmla="*/ 320675 w 224"/>
                <a:gd name="T49" fmla="*/ 292100 h 681"/>
                <a:gd name="T50" fmla="*/ 306388 w 224"/>
                <a:gd name="T51" fmla="*/ 207962 h 681"/>
                <a:gd name="T52" fmla="*/ 285750 w 224"/>
                <a:gd name="T53" fmla="*/ 131762 h 681"/>
                <a:gd name="T54" fmla="*/ 257175 w 224"/>
                <a:gd name="T55" fmla="*/ 61912 h 681"/>
                <a:gd name="T56" fmla="*/ 222250 w 224"/>
                <a:gd name="T57" fmla="*/ 0 h 681"/>
                <a:gd name="T58" fmla="*/ 222250 w 224"/>
                <a:gd name="T59" fmla="*/ 0 h 68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24"/>
                <a:gd name="T91" fmla="*/ 0 h 681"/>
                <a:gd name="T92" fmla="*/ 224 w 224"/>
                <a:gd name="T93" fmla="*/ 681 h 68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24" h="681">
                  <a:moveTo>
                    <a:pt x="140" y="0"/>
                  </a:moveTo>
                  <a:lnTo>
                    <a:pt x="140" y="0"/>
                  </a:lnTo>
                  <a:lnTo>
                    <a:pt x="149" y="30"/>
                  </a:lnTo>
                  <a:lnTo>
                    <a:pt x="153" y="70"/>
                  </a:lnTo>
                  <a:lnTo>
                    <a:pt x="153" y="118"/>
                  </a:lnTo>
                  <a:lnTo>
                    <a:pt x="149" y="171"/>
                  </a:lnTo>
                  <a:lnTo>
                    <a:pt x="140" y="232"/>
                  </a:lnTo>
                  <a:lnTo>
                    <a:pt x="123" y="294"/>
                  </a:lnTo>
                  <a:lnTo>
                    <a:pt x="109" y="325"/>
                  </a:lnTo>
                  <a:lnTo>
                    <a:pt x="92" y="355"/>
                  </a:lnTo>
                  <a:lnTo>
                    <a:pt x="39" y="461"/>
                  </a:lnTo>
                  <a:lnTo>
                    <a:pt x="22" y="500"/>
                  </a:lnTo>
                  <a:lnTo>
                    <a:pt x="8" y="536"/>
                  </a:lnTo>
                  <a:lnTo>
                    <a:pt x="0" y="571"/>
                  </a:lnTo>
                  <a:lnTo>
                    <a:pt x="0" y="606"/>
                  </a:lnTo>
                  <a:lnTo>
                    <a:pt x="0" y="641"/>
                  </a:lnTo>
                  <a:lnTo>
                    <a:pt x="4" y="681"/>
                  </a:lnTo>
                  <a:lnTo>
                    <a:pt x="215" y="672"/>
                  </a:lnTo>
                  <a:lnTo>
                    <a:pt x="219" y="597"/>
                  </a:lnTo>
                  <a:lnTo>
                    <a:pt x="224" y="509"/>
                  </a:lnTo>
                  <a:lnTo>
                    <a:pt x="224" y="408"/>
                  </a:lnTo>
                  <a:lnTo>
                    <a:pt x="215" y="298"/>
                  </a:lnTo>
                  <a:lnTo>
                    <a:pt x="202" y="184"/>
                  </a:lnTo>
                  <a:lnTo>
                    <a:pt x="193" y="131"/>
                  </a:lnTo>
                  <a:lnTo>
                    <a:pt x="180" y="83"/>
                  </a:lnTo>
                  <a:lnTo>
                    <a:pt x="162" y="39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2D2D2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83" name="Freeform 54"/>
            <p:cNvSpPr>
              <a:spLocks/>
            </p:cNvSpPr>
            <p:nvPr/>
          </p:nvSpPr>
          <p:spPr bwMode="auto">
            <a:xfrm>
              <a:off x="1100924" y="4582548"/>
              <a:ext cx="264164" cy="354496"/>
            </a:xfrm>
            <a:custGeom>
              <a:avLst/>
              <a:gdLst/>
              <a:ahLst/>
              <a:cxnLst>
                <a:cxn ang="0">
                  <a:pos x="237" y="70"/>
                </a:cxn>
                <a:cxn ang="0">
                  <a:pos x="237" y="70"/>
                </a:cxn>
                <a:cxn ang="0">
                  <a:pos x="241" y="79"/>
                </a:cxn>
                <a:cxn ang="0">
                  <a:pos x="245" y="110"/>
                </a:cxn>
                <a:cxn ang="0">
                  <a:pos x="245" y="158"/>
                </a:cxn>
                <a:cxn ang="0">
                  <a:pos x="241" y="185"/>
                </a:cxn>
                <a:cxn ang="0">
                  <a:pos x="237" y="215"/>
                </a:cxn>
                <a:cxn ang="0">
                  <a:pos x="237" y="215"/>
                </a:cxn>
                <a:cxn ang="0">
                  <a:pos x="228" y="242"/>
                </a:cxn>
                <a:cxn ang="0">
                  <a:pos x="228" y="268"/>
                </a:cxn>
                <a:cxn ang="0">
                  <a:pos x="228" y="286"/>
                </a:cxn>
                <a:cxn ang="0">
                  <a:pos x="232" y="303"/>
                </a:cxn>
                <a:cxn ang="0">
                  <a:pos x="241" y="312"/>
                </a:cxn>
                <a:cxn ang="0">
                  <a:pos x="254" y="321"/>
                </a:cxn>
                <a:cxn ang="0">
                  <a:pos x="267" y="325"/>
                </a:cxn>
                <a:cxn ang="0">
                  <a:pos x="281" y="325"/>
                </a:cxn>
                <a:cxn ang="0">
                  <a:pos x="281" y="325"/>
                </a:cxn>
                <a:cxn ang="0">
                  <a:pos x="272" y="325"/>
                </a:cxn>
                <a:cxn ang="0">
                  <a:pos x="254" y="330"/>
                </a:cxn>
                <a:cxn ang="0">
                  <a:pos x="241" y="325"/>
                </a:cxn>
                <a:cxn ang="0">
                  <a:pos x="232" y="321"/>
                </a:cxn>
                <a:cxn ang="0">
                  <a:pos x="219" y="312"/>
                </a:cxn>
                <a:cxn ang="0">
                  <a:pos x="210" y="294"/>
                </a:cxn>
                <a:cxn ang="0">
                  <a:pos x="210" y="294"/>
                </a:cxn>
                <a:cxn ang="0">
                  <a:pos x="206" y="308"/>
                </a:cxn>
                <a:cxn ang="0">
                  <a:pos x="206" y="330"/>
                </a:cxn>
                <a:cxn ang="0">
                  <a:pos x="210" y="347"/>
                </a:cxn>
                <a:cxn ang="0">
                  <a:pos x="219" y="360"/>
                </a:cxn>
                <a:cxn ang="0">
                  <a:pos x="232" y="369"/>
                </a:cxn>
                <a:cxn ang="0">
                  <a:pos x="254" y="378"/>
                </a:cxn>
                <a:cxn ang="0">
                  <a:pos x="254" y="378"/>
                </a:cxn>
                <a:cxn ang="0">
                  <a:pos x="232" y="382"/>
                </a:cxn>
                <a:cxn ang="0">
                  <a:pos x="206" y="378"/>
                </a:cxn>
                <a:cxn ang="0">
                  <a:pos x="175" y="374"/>
                </a:cxn>
                <a:cxn ang="0">
                  <a:pos x="140" y="365"/>
                </a:cxn>
                <a:cxn ang="0">
                  <a:pos x="105" y="347"/>
                </a:cxn>
                <a:cxn ang="0">
                  <a:pos x="70" y="321"/>
                </a:cxn>
                <a:cxn ang="0">
                  <a:pos x="52" y="299"/>
                </a:cxn>
                <a:cxn ang="0">
                  <a:pos x="35" y="281"/>
                </a:cxn>
                <a:cxn ang="0">
                  <a:pos x="35" y="281"/>
                </a:cxn>
                <a:cxn ang="0">
                  <a:pos x="21" y="259"/>
                </a:cxn>
                <a:cxn ang="0">
                  <a:pos x="13" y="233"/>
                </a:cxn>
                <a:cxn ang="0">
                  <a:pos x="4" y="211"/>
                </a:cxn>
                <a:cxn ang="0">
                  <a:pos x="0" y="189"/>
                </a:cxn>
                <a:cxn ang="0">
                  <a:pos x="0" y="145"/>
                </a:cxn>
                <a:cxn ang="0">
                  <a:pos x="8" y="106"/>
                </a:cxn>
                <a:cxn ang="0">
                  <a:pos x="21" y="70"/>
                </a:cxn>
                <a:cxn ang="0">
                  <a:pos x="48" y="40"/>
                </a:cxn>
                <a:cxn ang="0">
                  <a:pos x="79" y="18"/>
                </a:cxn>
                <a:cxn ang="0">
                  <a:pos x="96" y="13"/>
                </a:cxn>
                <a:cxn ang="0">
                  <a:pos x="118" y="5"/>
                </a:cxn>
                <a:cxn ang="0">
                  <a:pos x="118" y="5"/>
                </a:cxn>
                <a:cxn ang="0">
                  <a:pos x="149" y="0"/>
                </a:cxn>
                <a:cxn ang="0">
                  <a:pos x="180" y="0"/>
                </a:cxn>
                <a:cxn ang="0">
                  <a:pos x="202" y="5"/>
                </a:cxn>
                <a:cxn ang="0">
                  <a:pos x="215" y="9"/>
                </a:cxn>
                <a:cxn ang="0">
                  <a:pos x="228" y="22"/>
                </a:cxn>
                <a:cxn ang="0">
                  <a:pos x="232" y="35"/>
                </a:cxn>
                <a:cxn ang="0">
                  <a:pos x="237" y="48"/>
                </a:cxn>
                <a:cxn ang="0">
                  <a:pos x="237" y="70"/>
                </a:cxn>
                <a:cxn ang="0">
                  <a:pos x="237" y="70"/>
                </a:cxn>
              </a:cxnLst>
              <a:rect l="0" t="0" r="r" b="b"/>
              <a:pathLst>
                <a:path w="281" h="382">
                  <a:moveTo>
                    <a:pt x="237" y="70"/>
                  </a:moveTo>
                  <a:lnTo>
                    <a:pt x="237" y="70"/>
                  </a:lnTo>
                  <a:lnTo>
                    <a:pt x="241" y="79"/>
                  </a:lnTo>
                  <a:lnTo>
                    <a:pt x="245" y="110"/>
                  </a:lnTo>
                  <a:lnTo>
                    <a:pt x="245" y="158"/>
                  </a:lnTo>
                  <a:lnTo>
                    <a:pt x="241" y="185"/>
                  </a:lnTo>
                  <a:lnTo>
                    <a:pt x="237" y="215"/>
                  </a:lnTo>
                  <a:lnTo>
                    <a:pt x="237" y="215"/>
                  </a:lnTo>
                  <a:lnTo>
                    <a:pt x="228" y="242"/>
                  </a:lnTo>
                  <a:lnTo>
                    <a:pt x="228" y="268"/>
                  </a:lnTo>
                  <a:lnTo>
                    <a:pt x="228" y="286"/>
                  </a:lnTo>
                  <a:lnTo>
                    <a:pt x="232" y="303"/>
                  </a:lnTo>
                  <a:lnTo>
                    <a:pt x="241" y="312"/>
                  </a:lnTo>
                  <a:lnTo>
                    <a:pt x="254" y="321"/>
                  </a:lnTo>
                  <a:lnTo>
                    <a:pt x="267" y="325"/>
                  </a:lnTo>
                  <a:lnTo>
                    <a:pt x="281" y="325"/>
                  </a:lnTo>
                  <a:lnTo>
                    <a:pt x="281" y="325"/>
                  </a:lnTo>
                  <a:lnTo>
                    <a:pt x="272" y="325"/>
                  </a:lnTo>
                  <a:lnTo>
                    <a:pt x="254" y="330"/>
                  </a:lnTo>
                  <a:lnTo>
                    <a:pt x="241" y="325"/>
                  </a:lnTo>
                  <a:lnTo>
                    <a:pt x="232" y="321"/>
                  </a:lnTo>
                  <a:lnTo>
                    <a:pt x="219" y="312"/>
                  </a:lnTo>
                  <a:lnTo>
                    <a:pt x="210" y="294"/>
                  </a:lnTo>
                  <a:lnTo>
                    <a:pt x="210" y="294"/>
                  </a:lnTo>
                  <a:lnTo>
                    <a:pt x="206" y="308"/>
                  </a:lnTo>
                  <a:lnTo>
                    <a:pt x="206" y="330"/>
                  </a:lnTo>
                  <a:lnTo>
                    <a:pt x="210" y="347"/>
                  </a:lnTo>
                  <a:lnTo>
                    <a:pt x="219" y="360"/>
                  </a:lnTo>
                  <a:lnTo>
                    <a:pt x="232" y="369"/>
                  </a:lnTo>
                  <a:lnTo>
                    <a:pt x="254" y="378"/>
                  </a:lnTo>
                  <a:lnTo>
                    <a:pt x="254" y="378"/>
                  </a:lnTo>
                  <a:lnTo>
                    <a:pt x="232" y="382"/>
                  </a:lnTo>
                  <a:lnTo>
                    <a:pt x="206" y="378"/>
                  </a:lnTo>
                  <a:lnTo>
                    <a:pt x="175" y="374"/>
                  </a:lnTo>
                  <a:lnTo>
                    <a:pt x="140" y="365"/>
                  </a:lnTo>
                  <a:lnTo>
                    <a:pt x="105" y="347"/>
                  </a:lnTo>
                  <a:lnTo>
                    <a:pt x="70" y="321"/>
                  </a:lnTo>
                  <a:lnTo>
                    <a:pt x="52" y="299"/>
                  </a:lnTo>
                  <a:lnTo>
                    <a:pt x="35" y="281"/>
                  </a:lnTo>
                  <a:lnTo>
                    <a:pt x="35" y="281"/>
                  </a:lnTo>
                  <a:lnTo>
                    <a:pt x="21" y="259"/>
                  </a:lnTo>
                  <a:lnTo>
                    <a:pt x="13" y="233"/>
                  </a:lnTo>
                  <a:lnTo>
                    <a:pt x="4" y="211"/>
                  </a:lnTo>
                  <a:lnTo>
                    <a:pt x="0" y="189"/>
                  </a:lnTo>
                  <a:lnTo>
                    <a:pt x="0" y="145"/>
                  </a:lnTo>
                  <a:lnTo>
                    <a:pt x="8" y="106"/>
                  </a:lnTo>
                  <a:lnTo>
                    <a:pt x="21" y="70"/>
                  </a:lnTo>
                  <a:lnTo>
                    <a:pt x="48" y="40"/>
                  </a:lnTo>
                  <a:lnTo>
                    <a:pt x="79" y="18"/>
                  </a:lnTo>
                  <a:lnTo>
                    <a:pt x="96" y="13"/>
                  </a:lnTo>
                  <a:lnTo>
                    <a:pt x="118" y="5"/>
                  </a:lnTo>
                  <a:lnTo>
                    <a:pt x="118" y="5"/>
                  </a:lnTo>
                  <a:lnTo>
                    <a:pt x="149" y="0"/>
                  </a:lnTo>
                  <a:lnTo>
                    <a:pt x="180" y="0"/>
                  </a:lnTo>
                  <a:lnTo>
                    <a:pt x="202" y="5"/>
                  </a:lnTo>
                  <a:lnTo>
                    <a:pt x="215" y="9"/>
                  </a:lnTo>
                  <a:lnTo>
                    <a:pt x="228" y="22"/>
                  </a:lnTo>
                  <a:lnTo>
                    <a:pt x="232" y="35"/>
                  </a:lnTo>
                  <a:lnTo>
                    <a:pt x="237" y="48"/>
                  </a:lnTo>
                  <a:lnTo>
                    <a:pt x="237" y="70"/>
                  </a:lnTo>
                  <a:lnTo>
                    <a:pt x="237" y="7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grpSp>
          <p:nvGrpSpPr>
            <p:cNvPr id="84" name="Gruppe 89"/>
            <p:cNvGrpSpPr/>
            <p:nvPr/>
          </p:nvGrpSpPr>
          <p:grpSpPr bwMode="auto">
            <a:xfrm>
              <a:off x="852103" y="4464289"/>
              <a:ext cx="475935" cy="832369"/>
              <a:chOff x="3328988" y="2732088"/>
              <a:chExt cx="801688" cy="1401762"/>
            </a:xfrm>
            <a:solidFill>
              <a:schemeClr val="bg1">
                <a:lumMod val="75000"/>
              </a:schemeClr>
            </a:solidFill>
          </p:grpSpPr>
          <p:sp>
            <p:nvSpPr>
              <p:cNvPr id="97" name="Freeform 48"/>
              <p:cNvSpPr>
                <a:spLocks/>
              </p:cNvSpPr>
              <p:nvPr/>
            </p:nvSpPr>
            <p:spPr bwMode="auto">
              <a:xfrm>
                <a:off x="3328988" y="3178175"/>
                <a:ext cx="600075" cy="955675"/>
              </a:xfrm>
              <a:custGeom>
                <a:avLst/>
                <a:gdLst/>
                <a:ahLst/>
                <a:cxnLst>
                  <a:cxn ang="0">
                    <a:pos x="105" y="9"/>
                  </a:cxn>
                  <a:cxn ang="0">
                    <a:pos x="105" y="9"/>
                  </a:cxn>
                  <a:cxn ang="0">
                    <a:pos x="105" y="40"/>
                  </a:cxn>
                  <a:cxn ang="0">
                    <a:pos x="97" y="106"/>
                  </a:cxn>
                  <a:cxn ang="0">
                    <a:pos x="88" y="145"/>
                  </a:cxn>
                  <a:cxn ang="0">
                    <a:pos x="79" y="185"/>
                  </a:cxn>
                  <a:cxn ang="0">
                    <a:pos x="66" y="216"/>
                  </a:cxn>
                  <a:cxn ang="0">
                    <a:pos x="57" y="224"/>
                  </a:cxn>
                  <a:cxn ang="0">
                    <a:pos x="48" y="233"/>
                  </a:cxn>
                  <a:cxn ang="0">
                    <a:pos x="48" y="233"/>
                  </a:cxn>
                  <a:cxn ang="0">
                    <a:pos x="31" y="251"/>
                  </a:cxn>
                  <a:cxn ang="0">
                    <a:pos x="18" y="273"/>
                  </a:cxn>
                  <a:cxn ang="0">
                    <a:pos x="9" y="299"/>
                  </a:cxn>
                  <a:cxn ang="0">
                    <a:pos x="0" y="325"/>
                  </a:cxn>
                  <a:cxn ang="0">
                    <a:pos x="0" y="356"/>
                  </a:cxn>
                  <a:cxn ang="0">
                    <a:pos x="0" y="387"/>
                  </a:cxn>
                  <a:cxn ang="0">
                    <a:pos x="9" y="418"/>
                  </a:cxn>
                  <a:cxn ang="0">
                    <a:pos x="18" y="448"/>
                  </a:cxn>
                  <a:cxn ang="0">
                    <a:pos x="26" y="479"/>
                  </a:cxn>
                  <a:cxn ang="0">
                    <a:pos x="44" y="510"/>
                  </a:cxn>
                  <a:cxn ang="0">
                    <a:pos x="57" y="536"/>
                  </a:cxn>
                  <a:cxn ang="0">
                    <a:pos x="79" y="558"/>
                  </a:cxn>
                  <a:cxn ang="0">
                    <a:pos x="101" y="576"/>
                  </a:cxn>
                  <a:cxn ang="0">
                    <a:pos x="123" y="589"/>
                  </a:cxn>
                  <a:cxn ang="0">
                    <a:pos x="149" y="602"/>
                  </a:cxn>
                  <a:cxn ang="0">
                    <a:pos x="176" y="602"/>
                  </a:cxn>
                  <a:cxn ang="0">
                    <a:pos x="176" y="602"/>
                  </a:cxn>
                  <a:cxn ang="0">
                    <a:pos x="228" y="598"/>
                  </a:cxn>
                  <a:cxn ang="0">
                    <a:pos x="268" y="585"/>
                  </a:cxn>
                  <a:cxn ang="0">
                    <a:pos x="303" y="567"/>
                  </a:cxn>
                  <a:cxn ang="0">
                    <a:pos x="329" y="545"/>
                  </a:cxn>
                  <a:cxn ang="0">
                    <a:pos x="351" y="514"/>
                  </a:cxn>
                  <a:cxn ang="0">
                    <a:pos x="365" y="488"/>
                  </a:cxn>
                  <a:cxn ang="0">
                    <a:pos x="373" y="457"/>
                  </a:cxn>
                  <a:cxn ang="0">
                    <a:pos x="378" y="431"/>
                  </a:cxn>
                  <a:cxn ang="0">
                    <a:pos x="378" y="431"/>
                  </a:cxn>
                  <a:cxn ang="0">
                    <a:pos x="373" y="404"/>
                  </a:cxn>
                  <a:cxn ang="0">
                    <a:pos x="365" y="382"/>
                  </a:cxn>
                  <a:cxn ang="0">
                    <a:pos x="334" y="334"/>
                  </a:cxn>
                  <a:cxn ang="0">
                    <a:pos x="321" y="303"/>
                  </a:cxn>
                  <a:cxn ang="0">
                    <a:pos x="312" y="268"/>
                  </a:cxn>
                  <a:cxn ang="0">
                    <a:pos x="307" y="229"/>
                  </a:cxn>
                  <a:cxn ang="0">
                    <a:pos x="312" y="176"/>
                  </a:cxn>
                  <a:cxn ang="0">
                    <a:pos x="312" y="176"/>
                  </a:cxn>
                  <a:cxn ang="0">
                    <a:pos x="312" y="150"/>
                  </a:cxn>
                  <a:cxn ang="0">
                    <a:pos x="312" y="128"/>
                  </a:cxn>
                  <a:cxn ang="0">
                    <a:pos x="303" y="106"/>
                  </a:cxn>
                  <a:cxn ang="0">
                    <a:pos x="294" y="84"/>
                  </a:cxn>
                  <a:cxn ang="0">
                    <a:pos x="281" y="66"/>
                  </a:cxn>
                  <a:cxn ang="0">
                    <a:pos x="268" y="53"/>
                  </a:cxn>
                  <a:cxn ang="0">
                    <a:pos x="228" y="27"/>
                  </a:cxn>
                  <a:cxn ang="0">
                    <a:pos x="193" y="9"/>
                  </a:cxn>
                  <a:cxn ang="0">
                    <a:pos x="154" y="0"/>
                  </a:cxn>
                  <a:cxn ang="0">
                    <a:pos x="123" y="0"/>
                  </a:cxn>
                  <a:cxn ang="0">
                    <a:pos x="114" y="5"/>
                  </a:cxn>
                  <a:cxn ang="0">
                    <a:pos x="105" y="9"/>
                  </a:cxn>
                  <a:cxn ang="0">
                    <a:pos x="105" y="9"/>
                  </a:cxn>
                </a:cxnLst>
                <a:rect l="0" t="0" r="r" b="b"/>
                <a:pathLst>
                  <a:path w="378" h="602">
                    <a:moveTo>
                      <a:pt x="105" y="9"/>
                    </a:moveTo>
                    <a:lnTo>
                      <a:pt x="105" y="9"/>
                    </a:lnTo>
                    <a:lnTo>
                      <a:pt x="105" y="40"/>
                    </a:lnTo>
                    <a:lnTo>
                      <a:pt x="97" y="106"/>
                    </a:lnTo>
                    <a:lnTo>
                      <a:pt x="88" y="145"/>
                    </a:lnTo>
                    <a:lnTo>
                      <a:pt x="79" y="185"/>
                    </a:lnTo>
                    <a:lnTo>
                      <a:pt x="66" y="216"/>
                    </a:lnTo>
                    <a:lnTo>
                      <a:pt x="57" y="224"/>
                    </a:lnTo>
                    <a:lnTo>
                      <a:pt x="48" y="233"/>
                    </a:lnTo>
                    <a:lnTo>
                      <a:pt x="48" y="233"/>
                    </a:lnTo>
                    <a:lnTo>
                      <a:pt x="31" y="251"/>
                    </a:lnTo>
                    <a:lnTo>
                      <a:pt x="18" y="273"/>
                    </a:lnTo>
                    <a:lnTo>
                      <a:pt x="9" y="299"/>
                    </a:lnTo>
                    <a:lnTo>
                      <a:pt x="0" y="325"/>
                    </a:lnTo>
                    <a:lnTo>
                      <a:pt x="0" y="356"/>
                    </a:lnTo>
                    <a:lnTo>
                      <a:pt x="0" y="387"/>
                    </a:lnTo>
                    <a:lnTo>
                      <a:pt x="9" y="418"/>
                    </a:lnTo>
                    <a:lnTo>
                      <a:pt x="18" y="448"/>
                    </a:lnTo>
                    <a:lnTo>
                      <a:pt x="26" y="479"/>
                    </a:lnTo>
                    <a:lnTo>
                      <a:pt x="44" y="510"/>
                    </a:lnTo>
                    <a:lnTo>
                      <a:pt x="57" y="536"/>
                    </a:lnTo>
                    <a:lnTo>
                      <a:pt x="79" y="558"/>
                    </a:lnTo>
                    <a:lnTo>
                      <a:pt x="101" y="576"/>
                    </a:lnTo>
                    <a:lnTo>
                      <a:pt x="123" y="589"/>
                    </a:lnTo>
                    <a:lnTo>
                      <a:pt x="149" y="602"/>
                    </a:lnTo>
                    <a:lnTo>
                      <a:pt x="176" y="602"/>
                    </a:lnTo>
                    <a:lnTo>
                      <a:pt x="176" y="602"/>
                    </a:lnTo>
                    <a:lnTo>
                      <a:pt x="228" y="598"/>
                    </a:lnTo>
                    <a:lnTo>
                      <a:pt x="268" y="585"/>
                    </a:lnTo>
                    <a:lnTo>
                      <a:pt x="303" y="567"/>
                    </a:lnTo>
                    <a:lnTo>
                      <a:pt x="329" y="545"/>
                    </a:lnTo>
                    <a:lnTo>
                      <a:pt x="351" y="514"/>
                    </a:lnTo>
                    <a:lnTo>
                      <a:pt x="365" y="488"/>
                    </a:lnTo>
                    <a:lnTo>
                      <a:pt x="373" y="457"/>
                    </a:lnTo>
                    <a:lnTo>
                      <a:pt x="378" y="431"/>
                    </a:lnTo>
                    <a:lnTo>
                      <a:pt x="378" y="431"/>
                    </a:lnTo>
                    <a:lnTo>
                      <a:pt x="373" y="404"/>
                    </a:lnTo>
                    <a:lnTo>
                      <a:pt x="365" y="382"/>
                    </a:lnTo>
                    <a:lnTo>
                      <a:pt x="334" y="334"/>
                    </a:lnTo>
                    <a:lnTo>
                      <a:pt x="321" y="303"/>
                    </a:lnTo>
                    <a:lnTo>
                      <a:pt x="312" y="268"/>
                    </a:lnTo>
                    <a:lnTo>
                      <a:pt x="307" y="229"/>
                    </a:lnTo>
                    <a:lnTo>
                      <a:pt x="312" y="176"/>
                    </a:lnTo>
                    <a:lnTo>
                      <a:pt x="312" y="176"/>
                    </a:lnTo>
                    <a:lnTo>
                      <a:pt x="312" y="150"/>
                    </a:lnTo>
                    <a:lnTo>
                      <a:pt x="312" y="128"/>
                    </a:lnTo>
                    <a:lnTo>
                      <a:pt x="303" y="106"/>
                    </a:lnTo>
                    <a:lnTo>
                      <a:pt x="294" y="84"/>
                    </a:lnTo>
                    <a:lnTo>
                      <a:pt x="281" y="66"/>
                    </a:lnTo>
                    <a:lnTo>
                      <a:pt x="268" y="53"/>
                    </a:lnTo>
                    <a:lnTo>
                      <a:pt x="228" y="27"/>
                    </a:lnTo>
                    <a:lnTo>
                      <a:pt x="193" y="9"/>
                    </a:lnTo>
                    <a:lnTo>
                      <a:pt x="154" y="0"/>
                    </a:lnTo>
                    <a:lnTo>
                      <a:pt x="123" y="0"/>
                    </a:lnTo>
                    <a:lnTo>
                      <a:pt x="114" y="5"/>
                    </a:lnTo>
                    <a:lnTo>
                      <a:pt x="105" y="9"/>
                    </a:lnTo>
                    <a:lnTo>
                      <a:pt x="105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8" name="Freeform 56"/>
              <p:cNvSpPr>
                <a:spLocks/>
              </p:cNvSpPr>
              <p:nvPr/>
            </p:nvSpPr>
            <p:spPr bwMode="auto">
              <a:xfrm>
                <a:off x="3475038" y="2732088"/>
                <a:ext cx="655638" cy="865187"/>
              </a:xfrm>
              <a:custGeom>
                <a:avLst/>
                <a:gdLst/>
                <a:ahLst/>
                <a:cxnLst>
                  <a:cxn ang="0">
                    <a:pos x="378" y="44"/>
                  </a:cxn>
                  <a:cxn ang="0">
                    <a:pos x="378" y="44"/>
                  </a:cxn>
                  <a:cxn ang="0">
                    <a:pos x="387" y="57"/>
                  </a:cxn>
                  <a:cxn ang="0">
                    <a:pos x="400" y="75"/>
                  </a:cxn>
                  <a:cxn ang="0">
                    <a:pos x="404" y="101"/>
                  </a:cxn>
                  <a:cxn ang="0">
                    <a:pos x="413" y="132"/>
                  </a:cxn>
                  <a:cxn ang="0">
                    <a:pos x="413" y="171"/>
                  </a:cxn>
                  <a:cxn ang="0">
                    <a:pos x="404" y="215"/>
                  </a:cxn>
                  <a:cxn ang="0">
                    <a:pos x="387" y="268"/>
                  </a:cxn>
                  <a:cxn ang="0">
                    <a:pos x="387" y="268"/>
                  </a:cxn>
                  <a:cxn ang="0">
                    <a:pos x="387" y="286"/>
                  </a:cxn>
                  <a:cxn ang="0">
                    <a:pos x="382" y="330"/>
                  </a:cxn>
                  <a:cxn ang="0">
                    <a:pos x="374" y="360"/>
                  </a:cxn>
                  <a:cxn ang="0">
                    <a:pos x="360" y="391"/>
                  </a:cxn>
                  <a:cxn ang="0">
                    <a:pos x="343" y="422"/>
                  </a:cxn>
                  <a:cxn ang="0">
                    <a:pos x="316" y="453"/>
                  </a:cxn>
                  <a:cxn ang="0">
                    <a:pos x="316" y="453"/>
                  </a:cxn>
                  <a:cxn ang="0">
                    <a:pos x="259" y="514"/>
                  </a:cxn>
                  <a:cxn ang="0">
                    <a:pos x="242" y="536"/>
                  </a:cxn>
                  <a:cxn ang="0">
                    <a:pos x="242" y="536"/>
                  </a:cxn>
                  <a:cxn ang="0">
                    <a:pos x="233" y="540"/>
                  </a:cxn>
                  <a:cxn ang="0">
                    <a:pos x="215" y="545"/>
                  </a:cxn>
                  <a:cxn ang="0">
                    <a:pos x="202" y="545"/>
                  </a:cxn>
                  <a:cxn ang="0">
                    <a:pos x="185" y="545"/>
                  </a:cxn>
                  <a:cxn ang="0">
                    <a:pos x="167" y="536"/>
                  </a:cxn>
                  <a:cxn ang="0">
                    <a:pos x="150" y="523"/>
                  </a:cxn>
                  <a:cxn ang="0">
                    <a:pos x="150" y="523"/>
                  </a:cxn>
                  <a:cxn ang="0">
                    <a:pos x="110" y="497"/>
                  </a:cxn>
                  <a:cxn ang="0">
                    <a:pos x="88" y="475"/>
                  </a:cxn>
                  <a:cxn ang="0">
                    <a:pos x="66" y="448"/>
                  </a:cxn>
                  <a:cxn ang="0">
                    <a:pos x="40" y="422"/>
                  </a:cxn>
                  <a:cxn ang="0">
                    <a:pos x="22" y="387"/>
                  </a:cxn>
                  <a:cxn ang="0">
                    <a:pos x="9" y="347"/>
                  </a:cxn>
                  <a:cxn ang="0">
                    <a:pos x="0" y="303"/>
                  </a:cxn>
                  <a:cxn ang="0">
                    <a:pos x="0" y="303"/>
                  </a:cxn>
                  <a:cxn ang="0">
                    <a:pos x="5" y="281"/>
                  </a:cxn>
                  <a:cxn ang="0">
                    <a:pos x="13" y="224"/>
                  </a:cxn>
                  <a:cxn ang="0">
                    <a:pos x="31" y="145"/>
                  </a:cxn>
                  <a:cxn ang="0">
                    <a:pos x="49" y="110"/>
                  </a:cxn>
                  <a:cxn ang="0">
                    <a:pos x="62" y="70"/>
                  </a:cxn>
                  <a:cxn ang="0">
                    <a:pos x="62" y="70"/>
                  </a:cxn>
                  <a:cxn ang="0">
                    <a:pos x="75" y="57"/>
                  </a:cxn>
                  <a:cxn ang="0">
                    <a:pos x="88" y="40"/>
                  </a:cxn>
                  <a:cxn ang="0">
                    <a:pos x="101" y="31"/>
                  </a:cxn>
                  <a:cxn ang="0">
                    <a:pos x="119" y="18"/>
                  </a:cxn>
                  <a:cxn ang="0">
                    <a:pos x="158" y="5"/>
                  </a:cxn>
                  <a:cxn ang="0">
                    <a:pos x="202" y="0"/>
                  </a:cxn>
                  <a:cxn ang="0">
                    <a:pos x="251" y="0"/>
                  </a:cxn>
                  <a:cxn ang="0">
                    <a:pos x="294" y="9"/>
                  </a:cxn>
                  <a:cxn ang="0">
                    <a:pos x="338" y="22"/>
                  </a:cxn>
                  <a:cxn ang="0">
                    <a:pos x="378" y="44"/>
                  </a:cxn>
                  <a:cxn ang="0">
                    <a:pos x="378" y="44"/>
                  </a:cxn>
                </a:cxnLst>
                <a:rect l="0" t="0" r="r" b="b"/>
                <a:pathLst>
                  <a:path w="413" h="545">
                    <a:moveTo>
                      <a:pt x="378" y="44"/>
                    </a:moveTo>
                    <a:lnTo>
                      <a:pt x="378" y="44"/>
                    </a:lnTo>
                    <a:lnTo>
                      <a:pt x="387" y="57"/>
                    </a:lnTo>
                    <a:lnTo>
                      <a:pt x="400" y="75"/>
                    </a:lnTo>
                    <a:lnTo>
                      <a:pt x="404" y="101"/>
                    </a:lnTo>
                    <a:lnTo>
                      <a:pt x="413" y="132"/>
                    </a:lnTo>
                    <a:lnTo>
                      <a:pt x="413" y="171"/>
                    </a:lnTo>
                    <a:lnTo>
                      <a:pt x="404" y="215"/>
                    </a:lnTo>
                    <a:lnTo>
                      <a:pt x="387" y="268"/>
                    </a:lnTo>
                    <a:lnTo>
                      <a:pt x="387" y="268"/>
                    </a:lnTo>
                    <a:lnTo>
                      <a:pt x="387" y="286"/>
                    </a:lnTo>
                    <a:lnTo>
                      <a:pt x="382" y="330"/>
                    </a:lnTo>
                    <a:lnTo>
                      <a:pt x="374" y="360"/>
                    </a:lnTo>
                    <a:lnTo>
                      <a:pt x="360" y="391"/>
                    </a:lnTo>
                    <a:lnTo>
                      <a:pt x="343" y="422"/>
                    </a:lnTo>
                    <a:lnTo>
                      <a:pt x="316" y="453"/>
                    </a:lnTo>
                    <a:lnTo>
                      <a:pt x="316" y="453"/>
                    </a:lnTo>
                    <a:lnTo>
                      <a:pt x="259" y="514"/>
                    </a:lnTo>
                    <a:lnTo>
                      <a:pt x="242" y="536"/>
                    </a:lnTo>
                    <a:lnTo>
                      <a:pt x="242" y="536"/>
                    </a:lnTo>
                    <a:lnTo>
                      <a:pt x="233" y="540"/>
                    </a:lnTo>
                    <a:lnTo>
                      <a:pt x="215" y="545"/>
                    </a:lnTo>
                    <a:lnTo>
                      <a:pt x="202" y="545"/>
                    </a:lnTo>
                    <a:lnTo>
                      <a:pt x="185" y="545"/>
                    </a:lnTo>
                    <a:lnTo>
                      <a:pt x="167" y="536"/>
                    </a:lnTo>
                    <a:lnTo>
                      <a:pt x="150" y="523"/>
                    </a:lnTo>
                    <a:lnTo>
                      <a:pt x="150" y="523"/>
                    </a:lnTo>
                    <a:lnTo>
                      <a:pt x="110" y="497"/>
                    </a:lnTo>
                    <a:lnTo>
                      <a:pt x="88" y="475"/>
                    </a:lnTo>
                    <a:lnTo>
                      <a:pt x="66" y="448"/>
                    </a:lnTo>
                    <a:lnTo>
                      <a:pt x="40" y="422"/>
                    </a:lnTo>
                    <a:lnTo>
                      <a:pt x="22" y="387"/>
                    </a:lnTo>
                    <a:lnTo>
                      <a:pt x="9" y="347"/>
                    </a:lnTo>
                    <a:lnTo>
                      <a:pt x="0" y="303"/>
                    </a:lnTo>
                    <a:lnTo>
                      <a:pt x="0" y="303"/>
                    </a:lnTo>
                    <a:lnTo>
                      <a:pt x="5" y="281"/>
                    </a:lnTo>
                    <a:lnTo>
                      <a:pt x="13" y="224"/>
                    </a:lnTo>
                    <a:lnTo>
                      <a:pt x="31" y="145"/>
                    </a:lnTo>
                    <a:lnTo>
                      <a:pt x="49" y="110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75" y="57"/>
                    </a:lnTo>
                    <a:lnTo>
                      <a:pt x="88" y="40"/>
                    </a:lnTo>
                    <a:lnTo>
                      <a:pt x="101" y="31"/>
                    </a:lnTo>
                    <a:lnTo>
                      <a:pt x="119" y="18"/>
                    </a:lnTo>
                    <a:lnTo>
                      <a:pt x="158" y="5"/>
                    </a:lnTo>
                    <a:lnTo>
                      <a:pt x="202" y="0"/>
                    </a:lnTo>
                    <a:lnTo>
                      <a:pt x="251" y="0"/>
                    </a:lnTo>
                    <a:lnTo>
                      <a:pt x="294" y="9"/>
                    </a:lnTo>
                    <a:lnTo>
                      <a:pt x="338" y="22"/>
                    </a:lnTo>
                    <a:lnTo>
                      <a:pt x="378" y="44"/>
                    </a:lnTo>
                    <a:lnTo>
                      <a:pt x="378" y="4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Freeform 62"/>
            <p:cNvSpPr>
              <a:spLocks/>
            </p:cNvSpPr>
            <p:nvPr/>
          </p:nvSpPr>
          <p:spPr bwMode="auto">
            <a:xfrm>
              <a:off x="1056898" y="4359721"/>
              <a:ext cx="352218" cy="472663"/>
            </a:xfrm>
            <a:custGeom>
              <a:avLst/>
              <a:gdLst/>
              <a:ahLst/>
              <a:cxnLst>
                <a:cxn ang="0">
                  <a:pos x="83" y="145"/>
                </a:cxn>
                <a:cxn ang="0">
                  <a:pos x="109" y="194"/>
                </a:cxn>
                <a:cxn ang="0">
                  <a:pos x="158" y="264"/>
                </a:cxn>
                <a:cxn ang="0">
                  <a:pos x="184" y="286"/>
                </a:cxn>
                <a:cxn ang="0">
                  <a:pos x="259" y="356"/>
                </a:cxn>
                <a:cxn ang="0">
                  <a:pos x="298" y="409"/>
                </a:cxn>
                <a:cxn ang="0">
                  <a:pos x="303" y="470"/>
                </a:cxn>
                <a:cxn ang="0">
                  <a:pos x="294" y="501"/>
                </a:cxn>
                <a:cxn ang="0">
                  <a:pos x="316" y="475"/>
                </a:cxn>
                <a:cxn ang="0">
                  <a:pos x="320" y="440"/>
                </a:cxn>
                <a:cxn ang="0">
                  <a:pos x="307" y="391"/>
                </a:cxn>
                <a:cxn ang="0">
                  <a:pos x="289" y="365"/>
                </a:cxn>
                <a:cxn ang="0">
                  <a:pos x="232" y="299"/>
                </a:cxn>
                <a:cxn ang="0">
                  <a:pos x="188" y="251"/>
                </a:cxn>
                <a:cxn ang="0">
                  <a:pos x="175" y="238"/>
                </a:cxn>
                <a:cxn ang="0">
                  <a:pos x="250" y="299"/>
                </a:cxn>
                <a:cxn ang="0">
                  <a:pos x="281" y="321"/>
                </a:cxn>
                <a:cxn ang="0">
                  <a:pos x="307" y="343"/>
                </a:cxn>
                <a:cxn ang="0">
                  <a:pos x="338" y="396"/>
                </a:cxn>
                <a:cxn ang="0">
                  <a:pos x="342" y="431"/>
                </a:cxn>
                <a:cxn ang="0">
                  <a:pos x="338" y="448"/>
                </a:cxn>
                <a:cxn ang="0">
                  <a:pos x="360" y="396"/>
                </a:cxn>
                <a:cxn ang="0">
                  <a:pos x="368" y="334"/>
                </a:cxn>
                <a:cxn ang="0">
                  <a:pos x="355" y="255"/>
                </a:cxn>
                <a:cxn ang="0">
                  <a:pos x="333" y="202"/>
                </a:cxn>
                <a:cxn ang="0">
                  <a:pos x="276" y="106"/>
                </a:cxn>
                <a:cxn ang="0">
                  <a:pos x="215" y="49"/>
                </a:cxn>
                <a:cxn ang="0">
                  <a:pos x="162" y="22"/>
                </a:cxn>
                <a:cxn ang="0">
                  <a:pos x="105" y="5"/>
                </a:cxn>
                <a:cxn ang="0">
                  <a:pos x="35" y="0"/>
                </a:cxn>
                <a:cxn ang="0">
                  <a:pos x="0" y="0"/>
                </a:cxn>
                <a:cxn ang="0">
                  <a:pos x="35" y="40"/>
                </a:cxn>
                <a:cxn ang="0">
                  <a:pos x="65" y="84"/>
                </a:cxn>
                <a:cxn ang="0">
                  <a:pos x="83" y="145"/>
                </a:cxn>
              </a:cxnLst>
              <a:rect l="0" t="0" r="r" b="b"/>
              <a:pathLst>
                <a:path w="368" h="501">
                  <a:moveTo>
                    <a:pt x="83" y="145"/>
                  </a:moveTo>
                  <a:lnTo>
                    <a:pt x="83" y="145"/>
                  </a:lnTo>
                  <a:lnTo>
                    <a:pt x="92" y="158"/>
                  </a:lnTo>
                  <a:lnTo>
                    <a:pt x="109" y="194"/>
                  </a:lnTo>
                  <a:lnTo>
                    <a:pt x="140" y="242"/>
                  </a:lnTo>
                  <a:lnTo>
                    <a:pt x="158" y="264"/>
                  </a:lnTo>
                  <a:lnTo>
                    <a:pt x="184" y="286"/>
                  </a:lnTo>
                  <a:lnTo>
                    <a:pt x="184" y="286"/>
                  </a:lnTo>
                  <a:lnTo>
                    <a:pt x="237" y="330"/>
                  </a:lnTo>
                  <a:lnTo>
                    <a:pt x="259" y="356"/>
                  </a:lnTo>
                  <a:lnTo>
                    <a:pt x="281" y="378"/>
                  </a:lnTo>
                  <a:lnTo>
                    <a:pt x="298" y="409"/>
                  </a:lnTo>
                  <a:lnTo>
                    <a:pt x="307" y="435"/>
                  </a:lnTo>
                  <a:lnTo>
                    <a:pt x="303" y="470"/>
                  </a:lnTo>
                  <a:lnTo>
                    <a:pt x="294" y="501"/>
                  </a:lnTo>
                  <a:lnTo>
                    <a:pt x="294" y="501"/>
                  </a:lnTo>
                  <a:lnTo>
                    <a:pt x="303" y="492"/>
                  </a:lnTo>
                  <a:lnTo>
                    <a:pt x="316" y="475"/>
                  </a:lnTo>
                  <a:lnTo>
                    <a:pt x="320" y="457"/>
                  </a:lnTo>
                  <a:lnTo>
                    <a:pt x="320" y="440"/>
                  </a:lnTo>
                  <a:lnTo>
                    <a:pt x="316" y="418"/>
                  </a:lnTo>
                  <a:lnTo>
                    <a:pt x="307" y="391"/>
                  </a:lnTo>
                  <a:lnTo>
                    <a:pt x="307" y="391"/>
                  </a:lnTo>
                  <a:lnTo>
                    <a:pt x="289" y="365"/>
                  </a:lnTo>
                  <a:lnTo>
                    <a:pt x="272" y="339"/>
                  </a:lnTo>
                  <a:lnTo>
                    <a:pt x="232" y="299"/>
                  </a:lnTo>
                  <a:lnTo>
                    <a:pt x="202" y="268"/>
                  </a:lnTo>
                  <a:lnTo>
                    <a:pt x="188" y="251"/>
                  </a:lnTo>
                  <a:lnTo>
                    <a:pt x="175" y="238"/>
                  </a:lnTo>
                  <a:lnTo>
                    <a:pt x="175" y="238"/>
                  </a:lnTo>
                  <a:lnTo>
                    <a:pt x="215" y="273"/>
                  </a:lnTo>
                  <a:lnTo>
                    <a:pt x="250" y="299"/>
                  </a:lnTo>
                  <a:lnTo>
                    <a:pt x="281" y="321"/>
                  </a:lnTo>
                  <a:lnTo>
                    <a:pt x="281" y="321"/>
                  </a:lnTo>
                  <a:lnTo>
                    <a:pt x="294" y="330"/>
                  </a:lnTo>
                  <a:lnTo>
                    <a:pt x="307" y="343"/>
                  </a:lnTo>
                  <a:lnTo>
                    <a:pt x="329" y="378"/>
                  </a:lnTo>
                  <a:lnTo>
                    <a:pt x="338" y="396"/>
                  </a:lnTo>
                  <a:lnTo>
                    <a:pt x="342" y="413"/>
                  </a:lnTo>
                  <a:lnTo>
                    <a:pt x="342" y="431"/>
                  </a:lnTo>
                  <a:lnTo>
                    <a:pt x="338" y="448"/>
                  </a:lnTo>
                  <a:lnTo>
                    <a:pt x="338" y="448"/>
                  </a:lnTo>
                  <a:lnTo>
                    <a:pt x="347" y="435"/>
                  </a:lnTo>
                  <a:lnTo>
                    <a:pt x="360" y="396"/>
                  </a:lnTo>
                  <a:lnTo>
                    <a:pt x="364" y="365"/>
                  </a:lnTo>
                  <a:lnTo>
                    <a:pt x="368" y="334"/>
                  </a:lnTo>
                  <a:lnTo>
                    <a:pt x="364" y="299"/>
                  </a:lnTo>
                  <a:lnTo>
                    <a:pt x="355" y="255"/>
                  </a:lnTo>
                  <a:lnTo>
                    <a:pt x="355" y="255"/>
                  </a:lnTo>
                  <a:lnTo>
                    <a:pt x="333" y="202"/>
                  </a:lnTo>
                  <a:lnTo>
                    <a:pt x="307" y="154"/>
                  </a:lnTo>
                  <a:lnTo>
                    <a:pt x="276" y="106"/>
                  </a:lnTo>
                  <a:lnTo>
                    <a:pt x="237" y="66"/>
                  </a:lnTo>
                  <a:lnTo>
                    <a:pt x="215" y="49"/>
                  </a:lnTo>
                  <a:lnTo>
                    <a:pt x="188" y="35"/>
                  </a:lnTo>
                  <a:lnTo>
                    <a:pt x="162" y="22"/>
                  </a:lnTo>
                  <a:lnTo>
                    <a:pt x="136" y="9"/>
                  </a:lnTo>
                  <a:lnTo>
                    <a:pt x="105" y="5"/>
                  </a:lnTo>
                  <a:lnTo>
                    <a:pt x="70" y="0"/>
                  </a:lnTo>
                  <a:lnTo>
                    <a:pt x="3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14"/>
                  </a:lnTo>
                  <a:lnTo>
                    <a:pt x="35" y="40"/>
                  </a:lnTo>
                  <a:lnTo>
                    <a:pt x="48" y="62"/>
                  </a:lnTo>
                  <a:lnTo>
                    <a:pt x="65" y="84"/>
                  </a:lnTo>
                  <a:lnTo>
                    <a:pt x="74" y="115"/>
                  </a:lnTo>
                  <a:lnTo>
                    <a:pt x="83" y="145"/>
                  </a:lnTo>
                  <a:lnTo>
                    <a:pt x="83" y="14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86" name="Freeform 63"/>
            <p:cNvSpPr>
              <a:spLocks/>
            </p:cNvSpPr>
            <p:nvPr/>
          </p:nvSpPr>
          <p:spPr bwMode="auto">
            <a:xfrm>
              <a:off x="945136" y="4396858"/>
              <a:ext cx="189656" cy="435526"/>
            </a:xfrm>
            <a:custGeom>
              <a:avLst/>
              <a:gdLst/>
              <a:ahLst/>
              <a:cxnLst>
                <a:cxn ang="0">
                  <a:pos x="193" y="49"/>
                </a:cxn>
                <a:cxn ang="0">
                  <a:pos x="193" y="49"/>
                </a:cxn>
                <a:cxn ang="0">
                  <a:pos x="198" y="66"/>
                </a:cxn>
                <a:cxn ang="0">
                  <a:pos x="193" y="110"/>
                </a:cxn>
                <a:cxn ang="0">
                  <a:pos x="184" y="136"/>
                </a:cxn>
                <a:cxn ang="0">
                  <a:pos x="171" y="167"/>
                </a:cxn>
                <a:cxn ang="0">
                  <a:pos x="154" y="198"/>
                </a:cxn>
                <a:cxn ang="0">
                  <a:pos x="127" y="229"/>
                </a:cxn>
                <a:cxn ang="0">
                  <a:pos x="127" y="229"/>
                </a:cxn>
                <a:cxn ang="0">
                  <a:pos x="70" y="281"/>
                </a:cxn>
                <a:cxn ang="0">
                  <a:pos x="48" y="312"/>
                </a:cxn>
                <a:cxn ang="0">
                  <a:pos x="31" y="339"/>
                </a:cxn>
                <a:cxn ang="0">
                  <a:pos x="18" y="369"/>
                </a:cxn>
                <a:cxn ang="0">
                  <a:pos x="13" y="400"/>
                </a:cxn>
                <a:cxn ang="0">
                  <a:pos x="18" y="426"/>
                </a:cxn>
                <a:cxn ang="0">
                  <a:pos x="31" y="457"/>
                </a:cxn>
                <a:cxn ang="0">
                  <a:pos x="31" y="457"/>
                </a:cxn>
                <a:cxn ang="0">
                  <a:pos x="22" y="453"/>
                </a:cxn>
                <a:cxn ang="0">
                  <a:pos x="18" y="444"/>
                </a:cxn>
                <a:cxn ang="0">
                  <a:pos x="9" y="431"/>
                </a:cxn>
                <a:cxn ang="0">
                  <a:pos x="0" y="413"/>
                </a:cxn>
                <a:cxn ang="0">
                  <a:pos x="0" y="387"/>
                </a:cxn>
                <a:cxn ang="0">
                  <a:pos x="0" y="352"/>
                </a:cxn>
                <a:cxn ang="0">
                  <a:pos x="9" y="308"/>
                </a:cxn>
                <a:cxn ang="0">
                  <a:pos x="9" y="308"/>
                </a:cxn>
                <a:cxn ang="0">
                  <a:pos x="26" y="255"/>
                </a:cxn>
                <a:cxn ang="0">
                  <a:pos x="44" y="207"/>
                </a:cxn>
                <a:cxn ang="0">
                  <a:pos x="88" y="110"/>
                </a:cxn>
                <a:cxn ang="0">
                  <a:pos x="127" y="35"/>
                </a:cxn>
                <a:cxn ang="0">
                  <a:pos x="141" y="13"/>
                </a:cxn>
                <a:cxn ang="0">
                  <a:pos x="154" y="0"/>
                </a:cxn>
                <a:cxn ang="0">
                  <a:pos x="154" y="0"/>
                </a:cxn>
                <a:cxn ang="0">
                  <a:pos x="158" y="0"/>
                </a:cxn>
                <a:cxn ang="0">
                  <a:pos x="167" y="5"/>
                </a:cxn>
                <a:cxn ang="0">
                  <a:pos x="180" y="22"/>
                </a:cxn>
                <a:cxn ang="0">
                  <a:pos x="193" y="49"/>
                </a:cxn>
                <a:cxn ang="0">
                  <a:pos x="193" y="49"/>
                </a:cxn>
              </a:cxnLst>
              <a:rect l="0" t="0" r="r" b="b"/>
              <a:pathLst>
                <a:path w="198" h="457">
                  <a:moveTo>
                    <a:pt x="193" y="49"/>
                  </a:moveTo>
                  <a:lnTo>
                    <a:pt x="193" y="49"/>
                  </a:lnTo>
                  <a:lnTo>
                    <a:pt x="198" y="66"/>
                  </a:lnTo>
                  <a:lnTo>
                    <a:pt x="193" y="110"/>
                  </a:lnTo>
                  <a:lnTo>
                    <a:pt x="184" y="136"/>
                  </a:lnTo>
                  <a:lnTo>
                    <a:pt x="171" y="167"/>
                  </a:lnTo>
                  <a:lnTo>
                    <a:pt x="154" y="198"/>
                  </a:lnTo>
                  <a:lnTo>
                    <a:pt x="127" y="229"/>
                  </a:lnTo>
                  <a:lnTo>
                    <a:pt x="127" y="229"/>
                  </a:lnTo>
                  <a:lnTo>
                    <a:pt x="70" y="281"/>
                  </a:lnTo>
                  <a:lnTo>
                    <a:pt x="48" y="312"/>
                  </a:lnTo>
                  <a:lnTo>
                    <a:pt x="31" y="339"/>
                  </a:lnTo>
                  <a:lnTo>
                    <a:pt x="18" y="369"/>
                  </a:lnTo>
                  <a:lnTo>
                    <a:pt x="13" y="400"/>
                  </a:lnTo>
                  <a:lnTo>
                    <a:pt x="18" y="426"/>
                  </a:lnTo>
                  <a:lnTo>
                    <a:pt x="31" y="457"/>
                  </a:lnTo>
                  <a:lnTo>
                    <a:pt x="31" y="457"/>
                  </a:lnTo>
                  <a:lnTo>
                    <a:pt x="22" y="453"/>
                  </a:lnTo>
                  <a:lnTo>
                    <a:pt x="18" y="444"/>
                  </a:lnTo>
                  <a:lnTo>
                    <a:pt x="9" y="431"/>
                  </a:lnTo>
                  <a:lnTo>
                    <a:pt x="0" y="413"/>
                  </a:lnTo>
                  <a:lnTo>
                    <a:pt x="0" y="387"/>
                  </a:lnTo>
                  <a:lnTo>
                    <a:pt x="0" y="352"/>
                  </a:lnTo>
                  <a:lnTo>
                    <a:pt x="9" y="308"/>
                  </a:lnTo>
                  <a:lnTo>
                    <a:pt x="9" y="308"/>
                  </a:lnTo>
                  <a:lnTo>
                    <a:pt x="26" y="255"/>
                  </a:lnTo>
                  <a:lnTo>
                    <a:pt x="44" y="207"/>
                  </a:lnTo>
                  <a:lnTo>
                    <a:pt x="88" y="110"/>
                  </a:lnTo>
                  <a:lnTo>
                    <a:pt x="127" y="35"/>
                  </a:lnTo>
                  <a:lnTo>
                    <a:pt x="141" y="13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58" y="0"/>
                  </a:lnTo>
                  <a:lnTo>
                    <a:pt x="167" y="5"/>
                  </a:lnTo>
                  <a:lnTo>
                    <a:pt x="180" y="22"/>
                  </a:lnTo>
                  <a:lnTo>
                    <a:pt x="193" y="49"/>
                  </a:lnTo>
                  <a:lnTo>
                    <a:pt x="193" y="4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87" name="Freeform 64"/>
            <p:cNvSpPr>
              <a:spLocks/>
            </p:cNvSpPr>
            <p:nvPr/>
          </p:nvSpPr>
          <p:spPr bwMode="auto">
            <a:xfrm>
              <a:off x="714839" y="4359721"/>
              <a:ext cx="403020" cy="607710"/>
            </a:xfrm>
            <a:custGeom>
              <a:avLst/>
              <a:gdLst/>
              <a:ahLst/>
              <a:cxnLst>
                <a:cxn ang="0">
                  <a:pos x="400" y="14"/>
                </a:cxn>
                <a:cxn ang="0">
                  <a:pos x="374" y="5"/>
                </a:cxn>
                <a:cxn ang="0">
                  <a:pos x="330" y="5"/>
                </a:cxn>
                <a:cxn ang="0">
                  <a:pos x="268" y="35"/>
                </a:cxn>
                <a:cxn ang="0">
                  <a:pos x="229" y="62"/>
                </a:cxn>
                <a:cxn ang="0">
                  <a:pos x="176" y="115"/>
                </a:cxn>
                <a:cxn ang="0">
                  <a:pos x="145" y="163"/>
                </a:cxn>
                <a:cxn ang="0">
                  <a:pos x="128" y="211"/>
                </a:cxn>
                <a:cxn ang="0">
                  <a:pos x="115" y="299"/>
                </a:cxn>
                <a:cxn ang="0">
                  <a:pos x="115" y="369"/>
                </a:cxn>
                <a:cxn ang="0">
                  <a:pos x="106" y="396"/>
                </a:cxn>
                <a:cxn ang="0">
                  <a:pos x="80" y="431"/>
                </a:cxn>
                <a:cxn ang="0">
                  <a:pos x="44" y="440"/>
                </a:cxn>
                <a:cxn ang="0">
                  <a:pos x="0" y="440"/>
                </a:cxn>
                <a:cxn ang="0">
                  <a:pos x="5" y="444"/>
                </a:cxn>
                <a:cxn ang="0">
                  <a:pos x="44" y="466"/>
                </a:cxn>
                <a:cxn ang="0">
                  <a:pos x="84" y="466"/>
                </a:cxn>
                <a:cxn ang="0">
                  <a:pos x="110" y="457"/>
                </a:cxn>
                <a:cxn ang="0">
                  <a:pos x="84" y="479"/>
                </a:cxn>
                <a:cxn ang="0">
                  <a:pos x="53" y="488"/>
                </a:cxn>
                <a:cxn ang="0">
                  <a:pos x="14" y="488"/>
                </a:cxn>
                <a:cxn ang="0">
                  <a:pos x="31" y="497"/>
                </a:cxn>
                <a:cxn ang="0">
                  <a:pos x="71" y="510"/>
                </a:cxn>
                <a:cxn ang="0">
                  <a:pos x="123" y="510"/>
                </a:cxn>
                <a:cxn ang="0">
                  <a:pos x="167" y="484"/>
                </a:cxn>
                <a:cxn ang="0">
                  <a:pos x="185" y="470"/>
                </a:cxn>
                <a:cxn ang="0">
                  <a:pos x="163" y="506"/>
                </a:cxn>
                <a:cxn ang="0">
                  <a:pos x="128" y="532"/>
                </a:cxn>
                <a:cxn ang="0">
                  <a:pos x="75" y="545"/>
                </a:cxn>
                <a:cxn ang="0">
                  <a:pos x="84" y="549"/>
                </a:cxn>
                <a:cxn ang="0">
                  <a:pos x="128" y="549"/>
                </a:cxn>
                <a:cxn ang="0">
                  <a:pos x="172" y="532"/>
                </a:cxn>
                <a:cxn ang="0">
                  <a:pos x="194" y="514"/>
                </a:cxn>
                <a:cxn ang="0">
                  <a:pos x="202" y="567"/>
                </a:cxn>
                <a:cxn ang="0">
                  <a:pos x="224" y="607"/>
                </a:cxn>
                <a:cxn ang="0">
                  <a:pos x="268" y="642"/>
                </a:cxn>
                <a:cxn ang="0">
                  <a:pos x="260" y="637"/>
                </a:cxn>
                <a:cxn ang="0">
                  <a:pos x="238" y="598"/>
                </a:cxn>
                <a:cxn ang="0">
                  <a:pos x="224" y="545"/>
                </a:cxn>
                <a:cxn ang="0">
                  <a:pos x="220" y="510"/>
                </a:cxn>
                <a:cxn ang="0">
                  <a:pos x="229" y="536"/>
                </a:cxn>
                <a:cxn ang="0">
                  <a:pos x="260" y="563"/>
                </a:cxn>
                <a:cxn ang="0">
                  <a:pos x="277" y="571"/>
                </a:cxn>
                <a:cxn ang="0">
                  <a:pos x="255" y="527"/>
                </a:cxn>
                <a:cxn ang="0">
                  <a:pos x="246" y="479"/>
                </a:cxn>
                <a:cxn ang="0">
                  <a:pos x="246" y="422"/>
                </a:cxn>
                <a:cxn ang="0">
                  <a:pos x="255" y="391"/>
                </a:cxn>
                <a:cxn ang="0">
                  <a:pos x="299" y="290"/>
                </a:cxn>
                <a:cxn ang="0">
                  <a:pos x="369" y="185"/>
                </a:cxn>
                <a:cxn ang="0">
                  <a:pos x="396" y="145"/>
                </a:cxn>
                <a:cxn ang="0">
                  <a:pos x="418" y="97"/>
                </a:cxn>
                <a:cxn ang="0">
                  <a:pos x="422" y="49"/>
                </a:cxn>
                <a:cxn ang="0">
                  <a:pos x="400" y="14"/>
                </a:cxn>
              </a:cxnLst>
              <a:rect l="0" t="0" r="r" b="b"/>
              <a:pathLst>
                <a:path w="422" h="642">
                  <a:moveTo>
                    <a:pt x="400" y="14"/>
                  </a:moveTo>
                  <a:lnTo>
                    <a:pt x="400" y="14"/>
                  </a:lnTo>
                  <a:lnTo>
                    <a:pt x="387" y="9"/>
                  </a:lnTo>
                  <a:lnTo>
                    <a:pt x="374" y="5"/>
                  </a:lnTo>
                  <a:lnTo>
                    <a:pt x="356" y="0"/>
                  </a:lnTo>
                  <a:lnTo>
                    <a:pt x="330" y="5"/>
                  </a:lnTo>
                  <a:lnTo>
                    <a:pt x="304" y="14"/>
                  </a:lnTo>
                  <a:lnTo>
                    <a:pt x="268" y="35"/>
                  </a:lnTo>
                  <a:lnTo>
                    <a:pt x="229" y="62"/>
                  </a:lnTo>
                  <a:lnTo>
                    <a:pt x="229" y="62"/>
                  </a:lnTo>
                  <a:lnTo>
                    <a:pt x="202" y="88"/>
                  </a:lnTo>
                  <a:lnTo>
                    <a:pt x="176" y="115"/>
                  </a:lnTo>
                  <a:lnTo>
                    <a:pt x="159" y="141"/>
                  </a:lnTo>
                  <a:lnTo>
                    <a:pt x="145" y="163"/>
                  </a:lnTo>
                  <a:lnTo>
                    <a:pt x="137" y="189"/>
                  </a:lnTo>
                  <a:lnTo>
                    <a:pt x="128" y="211"/>
                  </a:lnTo>
                  <a:lnTo>
                    <a:pt x="119" y="260"/>
                  </a:lnTo>
                  <a:lnTo>
                    <a:pt x="115" y="299"/>
                  </a:lnTo>
                  <a:lnTo>
                    <a:pt x="115" y="339"/>
                  </a:lnTo>
                  <a:lnTo>
                    <a:pt x="115" y="369"/>
                  </a:lnTo>
                  <a:lnTo>
                    <a:pt x="106" y="396"/>
                  </a:lnTo>
                  <a:lnTo>
                    <a:pt x="106" y="396"/>
                  </a:lnTo>
                  <a:lnTo>
                    <a:pt x="93" y="418"/>
                  </a:lnTo>
                  <a:lnTo>
                    <a:pt x="80" y="431"/>
                  </a:lnTo>
                  <a:lnTo>
                    <a:pt x="62" y="435"/>
                  </a:lnTo>
                  <a:lnTo>
                    <a:pt x="44" y="440"/>
                  </a:lnTo>
                  <a:lnTo>
                    <a:pt x="14" y="440"/>
                  </a:lnTo>
                  <a:lnTo>
                    <a:pt x="0" y="440"/>
                  </a:lnTo>
                  <a:lnTo>
                    <a:pt x="0" y="440"/>
                  </a:lnTo>
                  <a:lnTo>
                    <a:pt x="5" y="444"/>
                  </a:lnTo>
                  <a:lnTo>
                    <a:pt x="27" y="462"/>
                  </a:lnTo>
                  <a:lnTo>
                    <a:pt x="44" y="466"/>
                  </a:lnTo>
                  <a:lnTo>
                    <a:pt x="62" y="466"/>
                  </a:lnTo>
                  <a:lnTo>
                    <a:pt x="84" y="466"/>
                  </a:lnTo>
                  <a:lnTo>
                    <a:pt x="110" y="457"/>
                  </a:lnTo>
                  <a:lnTo>
                    <a:pt x="110" y="457"/>
                  </a:lnTo>
                  <a:lnTo>
                    <a:pt x="106" y="466"/>
                  </a:lnTo>
                  <a:lnTo>
                    <a:pt x="84" y="479"/>
                  </a:lnTo>
                  <a:lnTo>
                    <a:pt x="71" y="484"/>
                  </a:lnTo>
                  <a:lnTo>
                    <a:pt x="53" y="488"/>
                  </a:lnTo>
                  <a:lnTo>
                    <a:pt x="36" y="492"/>
                  </a:lnTo>
                  <a:lnTo>
                    <a:pt x="14" y="488"/>
                  </a:lnTo>
                  <a:lnTo>
                    <a:pt x="14" y="488"/>
                  </a:lnTo>
                  <a:lnTo>
                    <a:pt x="31" y="497"/>
                  </a:lnTo>
                  <a:lnTo>
                    <a:pt x="49" y="506"/>
                  </a:lnTo>
                  <a:lnTo>
                    <a:pt x="71" y="510"/>
                  </a:lnTo>
                  <a:lnTo>
                    <a:pt x="97" y="514"/>
                  </a:lnTo>
                  <a:lnTo>
                    <a:pt x="123" y="510"/>
                  </a:lnTo>
                  <a:lnTo>
                    <a:pt x="154" y="497"/>
                  </a:lnTo>
                  <a:lnTo>
                    <a:pt x="167" y="484"/>
                  </a:lnTo>
                  <a:lnTo>
                    <a:pt x="185" y="470"/>
                  </a:lnTo>
                  <a:lnTo>
                    <a:pt x="185" y="470"/>
                  </a:lnTo>
                  <a:lnTo>
                    <a:pt x="181" y="479"/>
                  </a:lnTo>
                  <a:lnTo>
                    <a:pt x="163" y="506"/>
                  </a:lnTo>
                  <a:lnTo>
                    <a:pt x="150" y="519"/>
                  </a:lnTo>
                  <a:lnTo>
                    <a:pt x="128" y="532"/>
                  </a:lnTo>
                  <a:lnTo>
                    <a:pt x="106" y="541"/>
                  </a:lnTo>
                  <a:lnTo>
                    <a:pt x="75" y="545"/>
                  </a:lnTo>
                  <a:lnTo>
                    <a:pt x="75" y="545"/>
                  </a:lnTo>
                  <a:lnTo>
                    <a:pt x="84" y="549"/>
                  </a:lnTo>
                  <a:lnTo>
                    <a:pt x="110" y="549"/>
                  </a:lnTo>
                  <a:lnTo>
                    <a:pt x="128" y="549"/>
                  </a:lnTo>
                  <a:lnTo>
                    <a:pt x="150" y="545"/>
                  </a:lnTo>
                  <a:lnTo>
                    <a:pt x="172" y="532"/>
                  </a:lnTo>
                  <a:lnTo>
                    <a:pt x="194" y="514"/>
                  </a:lnTo>
                  <a:lnTo>
                    <a:pt x="194" y="514"/>
                  </a:lnTo>
                  <a:lnTo>
                    <a:pt x="194" y="532"/>
                  </a:lnTo>
                  <a:lnTo>
                    <a:pt x="202" y="567"/>
                  </a:lnTo>
                  <a:lnTo>
                    <a:pt x="211" y="585"/>
                  </a:lnTo>
                  <a:lnTo>
                    <a:pt x="224" y="607"/>
                  </a:lnTo>
                  <a:lnTo>
                    <a:pt x="242" y="629"/>
                  </a:lnTo>
                  <a:lnTo>
                    <a:pt x="268" y="642"/>
                  </a:lnTo>
                  <a:lnTo>
                    <a:pt x="268" y="642"/>
                  </a:lnTo>
                  <a:lnTo>
                    <a:pt x="260" y="637"/>
                  </a:lnTo>
                  <a:lnTo>
                    <a:pt x="246" y="615"/>
                  </a:lnTo>
                  <a:lnTo>
                    <a:pt x="238" y="598"/>
                  </a:lnTo>
                  <a:lnTo>
                    <a:pt x="229" y="576"/>
                  </a:lnTo>
                  <a:lnTo>
                    <a:pt x="224" y="545"/>
                  </a:lnTo>
                  <a:lnTo>
                    <a:pt x="220" y="510"/>
                  </a:lnTo>
                  <a:lnTo>
                    <a:pt x="220" y="510"/>
                  </a:lnTo>
                  <a:lnTo>
                    <a:pt x="224" y="519"/>
                  </a:lnTo>
                  <a:lnTo>
                    <a:pt x="229" y="536"/>
                  </a:lnTo>
                  <a:lnTo>
                    <a:pt x="246" y="554"/>
                  </a:lnTo>
                  <a:lnTo>
                    <a:pt x="260" y="563"/>
                  </a:lnTo>
                  <a:lnTo>
                    <a:pt x="277" y="571"/>
                  </a:lnTo>
                  <a:lnTo>
                    <a:pt x="277" y="571"/>
                  </a:lnTo>
                  <a:lnTo>
                    <a:pt x="268" y="558"/>
                  </a:lnTo>
                  <a:lnTo>
                    <a:pt x="255" y="527"/>
                  </a:lnTo>
                  <a:lnTo>
                    <a:pt x="251" y="506"/>
                  </a:lnTo>
                  <a:lnTo>
                    <a:pt x="246" y="479"/>
                  </a:lnTo>
                  <a:lnTo>
                    <a:pt x="246" y="453"/>
                  </a:lnTo>
                  <a:lnTo>
                    <a:pt x="246" y="422"/>
                  </a:lnTo>
                  <a:lnTo>
                    <a:pt x="246" y="422"/>
                  </a:lnTo>
                  <a:lnTo>
                    <a:pt x="255" y="391"/>
                  </a:lnTo>
                  <a:lnTo>
                    <a:pt x="268" y="356"/>
                  </a:lnTo>
                  <a:lnTo>
                    <a:pt x="299" y="290"/>
                  </a:lnTo>
                  <a:lnTo>
                    <a:pt x="339" y="229"/>
                  </a:lnTo>
                  <a:lnTo>
                    <a:pt x="369" y="185"/>
                  </a:lnTo>
                  <a:lnTo>
                    <a:pt x="369" y="185"/>
                  </a:lnTo>
                  <a:lnTo>
                    <a:pt x="396" y="145"/>
                  </a:lnTo>
                  <a:lnTo>
                    <a:pt x="409" y="123"/>
                  </a:lnTo>
                  <a:lnTo>
                    <a:pt x="418" y="97"/>
                  </a:lnTo>
                  <a:lnTo>
                    <a:pt x="422" y="75"/>
                  </a:lnTo>
                  <a:lnTo>
                    <a:pt x="422" y="49"/>
                  </a:lnTo>
                  <a:lnTo>
                    <a:pt x="413" y="31"/>
                  </a:lnTo>
                  <a:lnTo>
                    <a:pt x="400" y="14"/>
                  </a:lnTo>
                  <a:lnTo>
                    <a:pt x="400" y="1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88" name="Freeform 72"/>
            <p:cNvSpPr>
              <a:spLocks/>
            </p:cNvSpPr>
            <p:nvPr/>
          </p:nvSpPr>
          <p:spPr bwMode="auto">
            <a:xfrm>
              <a:off x="1050125" y="5558259"/>
              <a:ext cx="247229" cy="263341"/>
            </a:xfrm>
            <a:custGeom>
              <a:avLst/>
              <a:gdLst/>
              <a:ahLst/>
              <a:cxnLst>
                <a:cxn ang="0">
                  <a:pos x="14" y="159"/>
                </a:cxn>
                <a:cxn ang="0">
                  <a:pos x="14" y="159"/>
                </a:cxn>
                <a:cxn ang="0">
                  <a:pos x="58" y="159"/>
                </a:cxn>
                <a:cxn ang="0">
                  <a:pos x="88" y="150"/>
                </a:cxn>
                <a:cxn ang="0">
                  <a:pos x="101" y="145"/>
                </a:cxn>
                <a:cxn ang="0">
                  <a:pos x="110" y="141"/>
                </a:cxn>
                <a:cxn ang="0">
                  <a:pos x="110" y="141"/>
                </a:cxn>
                <a:cxn ang="0">
                  <a:pos x="128" y="110"/>
                </a:cxn>
                <a:cxn ang="0">
                  <a:pos x="150" y="62"/>
                </a:cxn>
                <a:cxn ang="0">
                  <a:pos x="172" y="0"/>
                </a:cxn>
                <a:cxn ang="0">
                  <a:pos x="172" y="0"/>
                </a:cxn>
                <a:cxn ang="0">
                  <a:pos x="211" y="14"/>
                </a:cxn>
                <a:cxn ang="0">
                  <a:pos x="260" y="36"/>
                </a:cxn>
                <a:cxn ang="0">
                  <a:pos x="260" y="36"/>
                </a:cxn>
                <a:cxn ang="0">
                  <a:pos x="264" y="44"/>
                </a:cxn>
                <a:cxn ang="0">
                  <a:pos x="264" y="58"/>
                </a:cxn>
                <a:cxn ang="0">
                  <a:pos x="260" y="88"/>
                </a:cxn>
                <a:cxn ang="0">
                  <a:pos x="251" y="132"/>
                </a:cxn>
                <a:cxn ang="0">
                  <a:pos x="198" y="150"/>
                </a:cxn>
                <a:cxn ang="0">
                  <a:pos x="198" y="150"/>
                </a:cxn>
                <a:cxn ang="0">
                  <a:pos x="180" y="181"/>
                </a:cxn>
                <a:cxn ang="0">
                  <a:pos x="167" y="207"/>
                </a:cxn>
                <a:cxn ang="0">
                  <a:pos x="154" y="233"/>
                </a:cxn>
                <a:cxn ang="0">
                  <a:pos x="154" y="233"/>
                </a:cxn>
                <a:cxn ang="0">
                  <a:pos x="145" y="251"/>
                </a:cxn>
                <a:cxn ang="0">
                  <a:pos x="132" y="260"/>
                </a:cxn>
                <a:cxn ang="0">
                  <a:pos x="115" y="260"/>
                </a:cxn>
                <a:cxn ang="0">
                  <a:pos x="97" y="255"/>
                </a:cxn>
                <a:cxn ang="0">
                  <a:pos x="22" y="282"/>
                </a:cxn>
                <a:cxn ang="0">
                  <a:pos x="22" y="282"/>
                </a:cxn>
                <a:cxn ang="0">
                  <a:pos x="14" y="273"/>
                </a:cxn>
                <a:cxn ang="0">
                  <a:pos x="5" y="255"/>
                </a:cxn>
                <a:cxn ang="0">
                  <a:pos x="5" y="238"/>
                </a:cxn>
                <a:cxn ang="0">
                  <a:pos x="0" y="216"/>
                </a:cxn>
                <a:cxn ang="0">
                  <a:pos x="5" y="189"/>
                </a:cxn>
                <a:cxn ang="0">
                  <a:pos x="14" y="159"/>
                </a:cxn>
                <a:cxn ang="0">
                  <a:pos x="14" y="159"/>
                </a:cxn>
              </a:cxnLst>
              <a:rect l="0" t="0" r="r" b="b"/>
              <a:pathLst>
                <a:path w="264" h="282">
                  <a:moveTo>
                    <a:pt x="14" y="159"/>
                  </a:moveTo>
                  <a:lnTo>
                    <a:pt x="14" y="159"/>
                  </a:lnTo>
                  <a:lnTo>
                    <a:pt x="58" y="159"/>
                  </a:lnTo>
                  <a:lnTo>
                    <a:pt x="88" y="150"/>
                  </a:lnTo>
                  <a:lnTo>
                    <a:pt x="101" y="145"/>
                  </a:lnTo>
                  <a:lnTo>
                    <a:pt x="110" y="141"/>
                  </a:lnTo>
                  <a:lnTo>
                    <a:pt x="110" y="141"/>
                  </a:lnTo>
                  <a:lnTo>
                    <a:pt x="128" y="110"/>
                  </a:lnTo>
                  <a:lnTo>
                    <a:pt x="150" y="62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211" y="14"/>
                  </a:lnTo>
                  <a:lnTo>
                    <a:pt x="260" y="36"/>
                  </a:lnTo>
                  <a:lnTo>
                    <a:pt x="260" y="36"/>
                  </a:lnTo>
                  <a:lnTo>
                    <a:pt x="264" y="44"/>
                  </a:lnTo>
                  <a:lnTo>
                    <a:pt x="264" y="58"/>
                  </a:lnTo>
                  <a:lnTo>
                    <a:pt x="260" y="88"/>
                  </a:lnTo>
                  <a:lnTo>
                    <a:pt x="251" y="132"/>
                  </a:lnTo>
                  <a:lnTo>
                    <a:pt x="198" y="150"/>
                  </a:lnTo>
                  <a:lnTo>
                    <a:pt x="198" y="150"/>
                  </a:lnTo>
                  <a:lnTo>
                    <a:pt x="180" y="181"/>
                  </a:lnTo>
                  <a:lnTo>
                    <a:pt x="167" y="207"/>
                  </a:lnTo>
                  <a:lnTo>
                    <a:pt x="154" y="233"/>
                  </a:lnTo>
                  <a:lnTo>
                    <a:pt x="154" y="233"/>
                  </a:lnTo>
                  <a:lnTo>
                    <a:pt x="145" y="251"/>
                  </a:lnTo>
                  <a:lnTo>
                    <a:pt x="132" y="260"/>
                  </a:lnTo>
                  <a:lnTo>
                    <a:pt x="115" y="260"/>
                  </a:lnTo>
                  <a:lnTo>
                    <a:pt x="97" y="255"/>
                  </a:lnTo>
                  <a:lnTo>
                    <a:pt x="22" y="282"/>
                  </a:lnTo>
                  <a:lnTo>
                    <a:pt x="22" y="282"/>
                  </a:lnTo>
                  <a:lnTo>
                    <a:pt x="14" y="273"/>
                  </a:lnTo>
                  <a:lnTo>
                    <a:pt x="5" y="255"/>
                  </a:lnTo>
                  <a:lnTo>
                    <a:pt x="5" y="238"/>
                  </a:lnTo>
                  <a:lnTo>
                    <a:pt x="0" y="216"/>
                  </a:lnTo>
                  <a:lnTo>
                    <a:pt x="5" y="189"/>
                  </a:lnTo>
                  <a:lnTo>
                    <a:pt x="14" y="159"/>
                  </a:lnTo>
                  <a:lnTo>
                    <a:pt x="14" y="159"/>
                  </a:lnTo>
                  <a:close/>
                </a:path>
              </a:pathLst>
            </a:custGeom>
            <a:solidFill>
              <a:srgbClr val="D7D8D9">
                <a:lumMod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89" name="Freeform 73"/>
            <p:cNvSpPr>
              <a:spLocks/>
            </p:cNvSpPr>
            <p:nvPr/>
          </p:nvSpPr>
          <p:spPr bwMode="auto">
            <a:xfrm>
              <a:off x="985776" y="5686553"/>
              <a:ext cx="142242" cy="155304"/>
            </a:xfrm>
            <a:custGeom>
              <a:avLst/>
              <a:gdLst>
                <a:gd name="T0" fmla="*/ 47625 w 153"/>
                <a:gd name="T1" fmla="*/ 0 h 167"/>
                <a:gd name="T2" fmla="*/ 47625 w 153"/>
                <a:gd name="T3" fmla="*/ 0 h 167"/>
                <a:gd name="T4" fmla="*/ 103188 w 153"/>
                <a:gd name="T5" fmla="*/ 6350 h 167"/>
                <a:gd name="T6" fmla="*/ 160338 w 153"/>
                <a:gd name="T7" fmla="*/ 6350 h 167"/>
                <a:gd name="T8" fmla="*/ 215900 w 153"/>
                <a:gd name="T9" fmla="*/ 0 h 167"/>
                <a:gd name="T10" fmla="*/ 215900 w 153"/>
                <a:gd name="T11" fmla="*/ 0 h 167"/>
                <a:gd name="T12" fmla="*/ 207963 w 153"/>
                <a:gd name="T13" fmla="*/ 20637 h 167"/>
                <a:gd name="T14" fmla="*/ 195263 w 153"/>
                <a:gd name="T15" fmla="*/ 76200 h 167"/>
                <a:gd name="T16" fmla="*/ 195263 w 153"/>
                <a:gd name="T17" fmla="*/ 111125 h 167"/>
                <a:gd name="T18" fmla="*/ 201613 w 153"/>
                <a:gd name="T19" fmla="*/ 153987 h 167"/>
                <a:gd name="T20" fmla="*/ 215900 w 153"/>
                <a:gd name="T21" fmla="*/ 195262 h 167"/>
                <a:gd name="T22" fmla="*/ 242888 w 153"/>
                <a:gd name="T23" fmla="*/ 236537 h 167"/>
                <a:gd name="T24" fmla="*/ 242888 w 153"/>
                <a:gd name="T25" fmla="*/ 236537 h 167"/>
                <a:gd name="T26" fmla="*/ 166688 w 153"/>
                <a:gd name="T27" fmla="*/ 244475 h 167"/>
                <a:gd name="T28" fmla="*/ 96838 w 153"/>
                <a:gd name="T29" fmla="*/ 250825 h 167"/>
                <a:gd name="T30" fmla="*/ 34925 w 153"/>
                <a:gd name="T31" fmla="*/ 265112 h 167"/>
                <a:gd name="T32" fmla="*/ 34925 w 153"/>
                <a:gd name="T33" fmla="*/ 265112 h 167"/>
                <a:gd name="T34" fmla="*/ 20638 w 153"/>
                <a:gd name="T35" fmla="*/ 244475 h 167"/>
                <a:gd name="T36" fmla="*/ 12700 w 153"/>
                <a:gd name="T37" fmla="*/ 215900 h 167"/>
                <a:gd name="T38" fmla="*/ 0 w 153"/>
                <a:gd name="T39" fmla="*/ 180975 h 167"/>
                <a:gd name="T40" fmla="*/ 0 w 153"/>
                <a:gd name="T41" fmla="*/ 146050 h 167"/>
                <a:gd name="T42" fmla="*/ 6350 w 153"/>
                <a:gd name="T43" fmla="*/ 98425 h 167"/>
                <a:gd name="T44" fmla="*/ 20638 w 153"/>
                <a:gd name="T45" fmla="*/ 49212 h 167"/>
                <a:gd name="T46" fmla="*/ 47625 w 153"/>
                <a:gd name="T47" fmla="*/ 0 h 167"/>
                <a:gd name="T48" fmla="*/ 47625 w 153"/>
                <a:gd name="T49" fmla="*/ 0 h 1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53"/>
                <a:gd name="T76" fmla="*/ 0 h 167"/>
                <a:gd name="T77" fmla="*/ 153 w 153"/>
                <a:gd name="T78" fmla="*/ 167 h 16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53" h="167">
                  <a:moveTo>
                    <a:pt x="30" y="0"/>
                  </a:moveTo>
                  <a:lnTo>
                    <a:pt x="30" y="0"/>
                  </a:lnTo>
                  <a:lnTo>
                    <a:pt x="65" y="4"/>
                  </a:lnTo>
                  <a:lnTo>
                    <a:pt x="101" y="4"/>
                  </a:lnTo>
                  <a:lnTo>
                    <a:pt x="136" y="0"/>
                  </a:lnTo>
                  <a:lnTo>
                    <a:pt x="131" y="13"/>
                  </a:lnTo>
                  <a:lnTo>
                    <a:pt x="123" y="48"/>
                  </a:lnTo>
                  <a:lnTo>
                    <a:pt x="123" y="70"/>
                  </a:lnTo>
                  <a:lnTo>
                    <a:pt x="127" y="97"/>
                  </a:lnTo>
                  <a:lnTo>
                    <a:pt x="136" y="123"/>
                  </a:lnTo>
                  <a:lnTo>
                    <a:pt x="153" y="149"/>
                  </a:lnTo>
                  <a:lnTo>
                    <a:pt x="105" y="154"/>
                  </a:lnTo>
                  <a:lnTo>
                    <a:pt x="61" y="158"/>
                  </a:lnTo>
                  <a:lnTo>
                    <a:pt x="22" y="167"/>
                  </a:lnTo>
                  <a:lnTo>
                    <a:pt x="13" y="154"/>
                  </a:lnTo>
                  <a:lnTo>
                    <a:pt x="8" y="136"/>
                  </a:lnTo>
                  <a:lnTo>
                    <a:pt x="0" y="114"/>
                  </a:lnTo>
                  <a:lnTo>
                    <a:pt x="0" y="92"/>
                  </a:lnTo>
                  <a:lnTo>
                    <a:pt x="4" y="62"/>
                  </a:lnTo>
                  <a:lnTo>
                    <a:pt x="13" y="31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90" name="Freeform 76"/>
            <p:cNvSpPr>
              <a:spLocks/>
            </p:cNvSpPr>
            <p:nvPr/>
          </p:nvSpPr>
          <p:spPr bwMode="auto">
            <a:xfrm>
              <a:off x="1334609" y="5129487"/>
              <a:ext cx="47414" cy="33762"/>
            </a:xfrm>
            <a:custGeom>
              <a:avLst/>
              <a:gdLst>
                <a:gd name="T0" fmla="*/ 69850 w 44"/>
                <a:gd name="T1" fmla="*/ 55563 h 44"/>
                <a:gd name="T2" fmla="*/ 69850 w 44"/>
                <a:gd name="T3" fmla="*/ 55563 h 44"/>
                <a:gd name="T4" fmla="*/ 61913 w 44"/>
                <a:gd name="T5" fmla="*/ 55563 h 44"/>
                <a:gd name="T6" fmla="*/ 55563 w 44"/>
                <a:gd name="T7" fmla="*/ 61913 h 44"/>
                <a:gd name="T8" fmla="*/ 49212 w 44"/>
                <a:gd name="T9" fmla="*/ 69850 h 44"/>
                <a:gd name="T10" fmla="*/ 0 w 44"/>
                <a:gd name="T11" fmla="*/ 20637 h 44"/>
                <a:gd name="T12" fmla="*/ 0 w 44"/>
                <a:gd name="T13" fmla="*/ 20637 h 44"/>
                <a:gd name="T14" fmla="*/ 0 w 44"/>
                <a:gd name="T15" fmla="*/ 6350 h 44"/>
                <a:gd name="T16" fmla="*/ 6350 w 44"/>
                <a:gd name="T17" fmla="*/ 6350 h 44"/>
                <a:gd name="T18" fmla="*/ 14288 w 44"/>
                <a:gd name="T19" fmla="*/ 0 h 44"/>
                <a:gd name="T20" fmla="*/ 69850 w 44"/>
                <a:gd name="T21" fmla="*/ 55563 h 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4"/>
                <a:gd name="T34" fmla="*/ 0 h 44"/>
                <a:gd name="T35" fmla="*/ 44 w 44"/>
                <a:gd name="T36" fmla="*/ 44 h 4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4" h="44">
                  <a:moveTo>
                    <a:pt x="44" y="35"/>
                  </a:moveTo>
                  <a:lnTo>
                    <a:pt x="44" y="35"/>
                  </a:lnTo>
                  <a:lnTo>
                    <a:pt x="39" y="35"/>
                  </a:lnTo>
                  <a:lnTo>
                    <a:pt x="35" y="39"/>
                  </a:lnTo>
                  <a:lnTo>
                    <a:pt x="31" y="44"/>
                  </a:lnTo>
                  <a:lnTo>
                    <a:pt x="0" y="13"/>
                  </a:lnTo>
                  <a:lnTo>
                    <a:pt x="0" y="4"/>
                  </a:lnTo>
                  <a:lnTo>
                    <a:pt x="4" y="4"/>
                  </a:lnTo>
                  <a:lnTo>
                    <a:pt x="9" y="0"/>
                  </a:lnTo>
                  <a:lnTo>
                    <a:pt x="44" y="35"/>
                  </a:lnTo>
                  <a:close/>
                </a:path>
              </a:pathLst>
            </a:custGeom>
            <a:solidFill>
              <a:srgbClr val="8082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91" name="Freeform 77"/>
            <p:cNvSpPr>
              <a:spLocks/>
            </p:cNvSpPr>
            <p:nvPr/>
          </p:nvSpPr>
          <p:spPr bwMode="auto">
            <a:xfrm>
              <a:off x="1134791" y="5129487"/>
              <a:ext cx="1154870" cy="806902"/>
            </a:xfrm>
            <a:custGeom>
              <a:avLst/>
              <a:gdLst>
                <a:gd name="T0" fmla="*/ 1938338 w 1221"/>
                <a:gd name="T1" fmla="*/ 82550 h 865"/>
                <a:gd name="T2" fmla="*/ 1889126 w 1221"/>
                <a:gd name="T3" fmla="*/ 41275 h 865"/>
                <a:gd name="T4" fmla="*/ 334963 w 1221"/>
                <a:gd name="T5" fmla="*/ 0 h 865"/>
                <a:gd name="T6" fmla="*/ 0 w 1221"/>
                <a:gd name="T7" fmla="*/ 1303337 h 865"/>
                <a:gd name="T8" fmla="*/ 41275 w 1221"/>
                <a:gd name="T9" fmla="*/ 1373187 h 865"/>
                <a:gd name="T10" fmla="*/ 1527175 w 1221"/>
                <a:gd name="T11" fmla="*/ 1338262 h 865"/>
                <a:gd name="T12" fmla="*/ 1938338 w 1221"/>
                <a:gd name="T13" fmla="*/ 82550 h 8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21"/>
                <a:gd name="T22" fmla="*/ 0 h 865"/>
                <a:gd name="T23" fmla="*/ 1221 w 1221"/>
                <a:gd name="T24" fmla="*/ 865 h 86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21" h="865">
                  <a:moveTo>
                    <a:pt x="1221" y="52"/>
                  </a:moveTo>
                  <a:lnTo>
                    <a:pt x="1190" y="26"/>
                  </a:lnTo>
                  <a:lnTo>
                    <a:pt x="211" y="0"/>
                  </a:lnTo>
                  <a:lnTo>
                    <a:pt x="0" y="821"/>
                  </a:lnTo>
                  <a:lnTo>
                    <a:pt x="26" y="865"/>
                  </a:lnTo>
                  <a:lnTo>
                    <a:pt x="962" y="843"/>
                  </a:lnTo>
                  <a:lnTo>
                    <a:pt x="1221" y="52"/>
                  </a:lnTo>
                  <a:close/>
                </a:path>
              </a:pathLst>
            </a:custGeom>
            <a:solidFill>
              <a:srgbClr val="D6CFD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92" name="Freeform 78"/>
            <p:cNvSpPr>
              <a:spLocks/>
            </p:cNvSpPr>
            <p:nvPr/>
          </p:nvSpPr>
          <p:spPr bwMode="auto">
            <a:xfrm>
              <a:off x="1158500" y="5163248"/>
              <a:ext cx="1131162" cy="773141"/>
            </a:xfrm>
            <a:custGeom>
              <a:avLst/>
              <a:gdLst>
                <a:gd name="T0" fmla="*/ 1903413 w 1199"/>
                <a:gd name="T1" fmla="*/ 20637 h 826"/>
                <a:gd name="T2" fmla="*/ 355600 w 1199"/>
                <a:gd name="T3" fmla="*/ 0 h 826"/>
                <a:gd name="T4" fmla="*/ 0 w 1199"/>
                <a:gd name="T5" fmla="*/ 1311275 h 826"/>
                <a:gd name="T6" fmla="*/ 1519238 w 1199"/>
                <a:gd name="T7" fmla="*/ 1282700 h 826"/>
                <a:gd name="T8" fmla="*/ 1903413 w 1199"/>
                <a:gd name="T9" fmla="*/ 20637 h 8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99"/>
                <a:gd name="T16" fmla="*/ 0 h 826"/>
                <a:gd name="T17" fmla="*/ 1199 w 1199"/>
                <a:gd name="T18" fmla="*/ 826 h 82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99" h="826">
                  <a:moveTo>
                    <a:pt x="1199" y="13"/>
                  </a:moveTo>
                  <a:lnTo>
                    <a:pt x="224" y="0"/>
                  </a:lnTo>
                  <a:lnTo>
                    <a:pt x="0" y="826"/>
                  </a:lnTo>
                  <a:lnTo>
                    <a:pt x="957" y="808"/>
                  </a:lnTo>
                  <a:lnTo>
                    <a:pt x="1199" y="1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93" name="Freeform 49"/>
            <p:cNvSpPr>
              <a:spLocks/>
            </p:cNvSpPr>
            <p:nvPr/>
          </p:nvSpPr>
          <p:spPr bwMode="auto">
            <a:xfrm>
              <a:off x="850308" y="5105853"/>
              <a:ext cx="352218" cy="3241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31" y="17"/>
                </a:cxn>
                <a:cxn ang="0">
                  <a:pos x="66" y="35"/>
                </a:cxn>
                <a:cxn ang="0">
                  <a:pos x="114" y="48"/>
                </a:cxn>
                <a:cxn ang="0">
                  <a:pos x="167" y="57"/>
                </a:cxn>
                <a:cxn ang="0">
                  <a:pos x="198" y="57"/>
                </a:cxn>
                <a:cxn ang="0">
                  <a:pos x="228" y="57"/>
                </a:cxn>
                <a:cxn ang="0">
                  <a:pos x="264" y="48"/>
                </a:cxn>
                <a:cxn ang="0">
                  <a:pos x="294" y="39"/>
                </a:cxn>
                <a:cxn ang="0">
                  <a:pos x="329" y="22"/>
                </a:cxn>
                <a:cxn ang="0">
                  <a:pos x="365" y="0"/>
                </a:cxn>
                <a:cxn ang="0">
                  <a:pos x="365" y="0"/>
                </a:cxn>
                <a:cxn ang="0">
                  <a:pos x="369" y="35"/>
                </a:cxn>
                <a:cxn ang="0">
                  <a:pos x="365" y="74"/>
                </a:cxn>
                <a:cxn ang="0">
                  <a:pos x="360" y="123"/>
                </a:cxn>
                <a:cxn ang="0">
                  <a:pos x="347" y="180"/>
                </a:cxn>
                <a:cxn ang="0">
                  <a:pos x="329" y="237"/>
                </a:cxn>
                <a:cxn ang="0">
                  <a:pos x="312" y="263"/>
                </a:cxn>
                <a:cxn ang="0">
                  <a:pos x="294" y="294"/>
                </a:cxn>
                <a:cxn ang="0">
                  <a:pos x="272" y="320"/>
                </a:cxn>
                <a:cxn ang="0">
                  <a:pos x="246" y="347"/>
                </a:cxn>
                <a:cxn ang="0">
                  <a:pos x="246" y="347"/>
                </a:cxn>
                <a:cxn ang="0">
                  <a:pos x="228" y="329"/>
                </a:cxn>
                <a:cxn ang="0">
                  <a:pos x="211" y="312"/>
                </a:cxn>
                <a:cxn ang="0">
                  <a:pos x="180" y="281"/>
                </a:cxn>
                <a:cxn ang="0">
                  <a:pos x="145" y="232"/>
                </a:cxn>
                <a:cxn ang="0">
                  <a:pos x="105" y="175"/>
                </a:cxn>
                <a:cxn ang="0">
                  <a:pos x="53" y="96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69" h="347">
                  <a:moveTo>
                    <a:pt x="0" y="0"/>
                  </a:moveTo>
                  <a:lnTo>
                    <a:pt x="0" y="0"/>
                  </a:lnTo>
                  <a:lnTo>
                    <a:pt x="31" y="17"/>
                  </a:lnTo>
                  <a:lnTo>
                    <a:pt x="66" y="35"/>
                  </a:lnTo>
                  <a:lnTo>
                    <a:pt x="114" y="48"/>
                  </a:lnTo>
                  <a:lnTo>
                    <a:pt x="167" y="57"/>
                  </a:lnTo>
                  <a:lnTo>
                    <a:pt x="198" y="57"/>
                  </a:lnTo>
                  <a:lnTo>
                    <a:pt x="228" y="57"/>
                  </a:lnTo>
                  <a:lnTo>
                    <a:pt x="264" y="48"/>
                  </a:lnTo>
                  <a:lnTo>
                    <a:pt x="294" y="39"/>
                  </a:lnTo>
                  <a:lnTo>
                    <a:pt x="329" y="22"/>
                  </a:lnTo>
                  <a:lnTo>
                    <a:pt x="365" y="0"/>
                  </a:lnTo>
                  <a:lnTo>
                    <a:pt x="365" y="0"/>
                  </a:lnTo>
                  <a:lnTo>
                    <a:pt x="369" y="35"/>
                  </a:lnTo>
                  <a:lnTo>
                    <a:pt x="365" y="74"/>
                  </a:lnTo>
                  <a:lnTo>
                    <a:pt x="360" y="123"/>
                  </a:lnTo>
                  <a:lnTo>
                    <a:pt x="347" y="180"/>
                  </a:lnTo>
                  <a:lnTo>
                    <a:pt x="329" y="237"/>
                  </a:lnTo>
                  <a:lnTo>
                    <a:pt x="312" y="263"/>
                  </a:lnTo>
                  <a:lnTo>
                    <a:pt x="294" y="294"/>
                  </a:lnTo>
                  <a:lnTo>
                    <a:pt x="272" y="320"/>
                  </a:lnTo>
                  <a:lnTo>
                    <a:pt x="246" y="347"/>
                  </a:lnTo>
                  <a:lnTo>
                    <a:pt x="246" y="347"/>
                  </a:lnTo>
                  <a:lnTo>
                    <a:pt x="228" y="329"/>
                  </a:lnTo>
                  <a:lnTo>
                    <a:pt x="211" y="312"/>
                  </a:lnTo>
                  <a:lnTo>
                    <a:pt x="180" y="281"/>
                  </a:lnTo>
                  <a:lnTo>
                    <a:pt x="145" y="232"/>
                  </a:lnTo>
                  <a:lnTo>
                    <a:pt x="105" y="175"/>
                  </a:lnTo>
                  <a:lnTo>
                    <a:pt x="53" y="9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grpSp>
          <p:nvGrpSpPr>
            <p:cNvPr id="94" name="Gruppe 91"/>
            <p:cNvGrpSpPr>
              <a:grpSpLocks/>
            </p:cNvGrpSpPr>
            <p:nvPr/>
          </p:nvGrpSpPr>
          <p:grpSpPr bwMode="auto">
            <a:xfrm>
              <a:off x="780579" y="4871471"/>
              <a:ext cx="509258" cy="610260"/>
              <a:chOff x="3208509" y="3417809"/>
              <a:chExt cx="857819" cy="1027717"/>
            </a:xfrm>
          </p:grpSpPr>
          <p:sp>
            <p:nvSpPr>
              <p:cNvPr id="95" name="Freeform 50"/>
              <p:cNvSpPr>
                <a:spLocks/>
              </p:cNvSpPr>
              <p:nvPr/>
            </p:nvSpPr>
            <p:spPr bwMode="auto">
              <a:xfrm>
                <a:off x="3200459" y="3420212"/>
                <a:ext cx="519134" cy="938136"/>
              </a:xfrm>
              <a:custGeom>
                <a:avLst/>
                <a:gdLst>
                  <a:gd name="T0" fmla="*/ 250825 w 321"/>
                  <a:gd name="T1" fmla="*/ 0 h 589"/>
                  <a:gd name="T2" fmla="*/ 250825 w 321"/>
                  <a:gd name="T3" fmla="*/ 0 h 589"/>
                  <a:gd name="T4" fmla="*/ 244475 w 321"/>
                  <a:gd name="T5" fmla="*/ 20637 h 589"/>
                  <a:gd name="T6" fmla="*/ 223838 w 321"/>
                  <a:gd name="T7" fmla="*/ 76200 h 589"/>
                  <a:gd name="T8" fmla="*/ 209550 w 321"/>
                  <a:gd name="T9" fmla="*/ 166687 h 589"/>
                  <a:gd name="T10" fmla="*/ 203200 w 321"/>
                  <a:gd name="T11" fmla="*/ 215900 h 589"/>
                  <a:gd name="T12" fmla="*/ 203200 w 321"/>
                  <a:gd name="T13" fmla="*/ 279400 h 589"/>
                  <a:gd name="T14" fmla="*/ 203200 w 321"/>
                  <a:gd name="T15" fmla="*/ 349250 h 589"/>
                  <a:gd name="T16" fmla="*/ 215900 w 321"/>
                  <a:gd name="T17" fmla="*/ 419100 h 589"/>
                  <a:gd name="T18" fmla="*/ 238125 w 321"/>
                  <a:gd name="T19" fmla="*/ 495300 h 589"/>
                  <a:gd name="T20" fmla="*/ 265113 w 321"/>
                  <a:gd name="T21" fmla="*/ 571500 h 589"/>
                  <a:gd name="T22" fmla="*/ 307975 w 321"/>
                  <a:gd name="T23" fmla="*/ 661987 h 589"/>
                  <a:gd name="T24" fmla="*/ 363538 w 321"/>
                  <a:gd name="T25" fmla="*/ 746124 h 589"/>
                  <a:gd name="T26" fmla="*/ 425450 w 321"/>
                  <a:gd name="T27" fmla="*/ 836612 h 589"/>
                  <a:gd name="T28" fmla="*/ 509588 w 321"/>
                  <a:gd name="T29" fmla="*/ 935037 h 589"/>
                  <a:gd name="T30" fmla="*/ 509588 w 321"/>
                  <a:gd name="T31" fmla="*/ 935037 h 589"/>
                  <a:gd name="T32" fmla="*/ 468313 w 321"/>
                  <a:gd name="T33" fmla="*/ 906462 h 589"/>
                  <a:gd name="T34" fmla="*/ 355600 w 321"/>
                  <a:gd name="T35" fmla="*/ 836612 h 589"/>
                  <a:gd name="T36" fmla="*/ 285750 w 321"/>
                  <a:gd name="T37" fmla="*/ 787399 h 589"/>
                  <a:gd name="T38" fmla="*/ 215900 w 321"/>
                  <a:gd name="T39" fmla="*/ 731837 h 589"/>
                  <a:gd name="T40" fmla="*/ 147638 w 321"/>
                  <a:gd name="T41" fmla="*/ 669925 h 589"/>
                  <a:gd name="T42" fmla="*/ 77788 w 321"/>
                  <a:gd name="T43" fmla="*/ 600075 h 589"/>
                  <a:gd name="T44" fmla="*/ 112713 w 321"/>
                  <a:gd name="T45" fmla="*/ 515937 h 589"/>
                  <a:gd name="T46" fmla="*/ 0 w 321"/>
                  <a:gd name="T47" fmla="*/ 431800 h 589"/>
                  <a:gd name="T48" fmla="*/ 0 w 321"/>
                  <a:gd name="T49" fmla="*/ 431800 h 589"/>
                  <a:gd name="T50" fmla="*/ 7938 w 321"/>
                  <a:gd name="T51" fmla="*/ 384175 h 589"/>
                  <a:gd name="T52" fmla="*/ 22225 w 321"/>
                  <a:gd name="T53" fmla="*/ 328612 h 589"/>
                  <a:gd name="T54" fmla="*/ 42863 w 321"/>
                  <a:gd name="T55" fmla="*/ 265112 h 589"/>
                  <a:gd name="T56" fmla="*/ 69850 w 321"/>
                  <a:gd name="T57" fmla="*/ 195262 h 589"/>
                  <a:gd name="T58" fmla="*/ 112713 w 321"/>
                  <a:gd name="T59" fmla="*/ 125412 h 589"/>
                  <a:gd name="T60" fmla="*/ 139700 w 321"/>
                  <a:gd name="T61" fmla="*/ 90487 h 589"/>
                  <a:gd name="T62" fmla="*/ 174625 w 321"/>
                  <a:gd name="T63" fmla="*/ 55562 h 589"/>
                  <a:gd name="T64" fmla="*/ 209550 w 321"/>
                  <a:gd name="T65" fmla="*/ 28575 h 589"/>
                  <a:gd name="T66" fmla="*/ 250825 w 321"/>
                  <a:gd name="T67" fmla="*/ 0 h 589"/>
                  <a:gd name="T68" fmla="*/ 250825 w 321"/>
                  <a:gd name="T69" fmla="*/ 0 h 58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21"/>
                  <a:gd name="T106" fmla="*/ 0 h 589"/>
                  <a:gd name="T107" fmla="*/ 321 w 321"/>
                  <a:gd name="T108" fmla="*/ 589 h 589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21" h="589">
                    <a:moveTo>
                      <a:pt x="158" y="0"/>
                    </a:moveTo>
                    <a:lnTo>
                      <a:pt x="158" y="0"/>
                    </a:lnTo>
                    <a:lnTo>
                      <a:pt x="154" y="13"/>
                    </a:lnTo>
                    <a:lnTo>
                      <a:pt x="141" y="48"/>
                    </a:lnTo>
                    <a:lnTo>
                      <a:pt x="132" y="105"/>
                    </a:lnTo>
                    <a:lnTo>
                      <a:pt x="128" y="136"/>
                    </a:lnTo>
                    <a:lnTo>
                      <a:pt x="128" y="176"/>
                    </a:lnTo>
                    <a:lnTo>
                      <a:pt x="128" y="220"/>
                    </a:lnTo>
                    <a:lnTo>
                      <a:pt x="136" y="264"/>
                    </a:lnTo>
                    <a:lnTo>
                      <a:pt x="150" y="312"/>
                    </a:lnTo>
                    <a:lnTo>
                      <a:pt x="167" y="360"/>
                    </a:lnTo>
                    <a:lnTo>
                      <a:pt x="194" y="417"/>
                    </a:lnTo>
                    <a:lnTo>
                      <a:pt x="229" y="470"/>
                    </a:lnTo>
                    <a:lnTo>
                      <a:pt x="268" y="527"/>
                    </a:lnTo>
                    <a:lnTo>
                      <a:pt x="321" y="589"/>
                    </a:lnTo>
                    <a:lnTo>
                      <a:pt x="295" y="571"/>
                    </a:lnTo>
                    <a:lnTo>
                      <a:pt x="224" y="527"/>
                    </a:lnTo>
                    <a:lnTo>
                      <a:pt x="180" y="496"/>
                    </a:lnTo>
                    <a:lnTo>
                      <a:pt x="136" y="461"/>
                    </a:lnTo>
                    <a:lnTo>
                      <a:pt x="93" y="422"/>
                    </a:lnTo>
                    <a:lnTo>
                      <a:pt x="49" y="378"/>
                    </a:lnTo>
                    <a:lnTo>
                      <a:pt x="71" y="325"/>
                    </a:lnTo>
                    <a:lnTo>
                      <a:pt x="0" y="272"/>
                    </a:lnTo>
                    <a:lnTo>
                      <a:pt x="5" y="242"/>
                    </a:lnTo>
                    <a:lnTo>
                      <a:pt x="14" y="207"/>
                    </a:lnTo>
                    <a:lnTo>
                      <a:pt x="27" y="167"/>
                    </a:lnTo>
                    <a:lnTo>
                      <a:pt x="44" y="123"/>
                    </a:lnTo>
                    <a:lnTo>
                      <a:pt x="71" y="79"/>
                    </a:lnTo>
                    <a:lnTo>
                      <a:pt x="88" y="57"/>
                    </a:lnTo>
                    <a:lnTo>
                      <a:pt x="110" y="35"/>
                    </a:lnTo>
                    <a:lnTo>
                      <a:pt x="132" y="18"/>
                    </a:lnTo>
                    <a:lnTo>
                      <a:pt x="158" y="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6" name="Freeform 51"/>
              <p:cNvSpPr>
                <a:spLocks/>
              </p:cNvSpPr>
              <p:nvPr/>
            </p:nvSpPr>
            <p:spPr bwMode="auto">
              <a:xfrm>
                <a:off x="3645430" y="3579411"/>
                <a:ext cx="422152" cy="858536"/>
              </a:xfrm>
              <a:custGeom>
                <a:avLst/>
                <a:gdLst>
                  <a:gd name="T0" fmla="*/ 187325 w 268"/>
                  <a:gd name="T1" fmla="*/ 34925 h 536"/>
                  <a:gd name="T2" fmla="*/ 187325 w 268"/>
                  <a:gd name="T3" fmla="*/ 34925 h 536"/>
                  <a:gd name="T4" fmla="*/ 201612 w 268"/>
                  <a:gd name="T5" fmla="*/ 112712 h 536"/>
                  <a:gd name="T6" fmla="*/ 215900 w 268"/>
                  <a:gd name="T7" fmla="*/ 195262 h 536"/>
                  <a:gd name="T8" fmla="*/ 215900 w 268"/>
                  <a:gd name="T9" fmla="*/ 300037 h 536"/>
                  <a:gd name="T10" fmla="*/ 215900 w 268"/>
                  <a:gd name="T11" fmla="*/ 363537 h 536"/>
                  <a:gd name="T12" fmla="*/ 207963 w 268"/>
                  <a:gd name="T13" fmla="*/ 425450 h 536"/>
                  <a:gd name="T14" fmla="*/ 195262 w 268"/>
                  <a:gd name="T15" fmla="*/ 495300 h 536"/>
                  <a:gd name="T16" fmla="*/ 166687 w 268"/>
                  <a:gd name="T17" fmla="*/ 558800 h 536"/>
                  <a:gd name="T18" fmla="*/ 138112 w 268"/>
                  <a:gd name="T19" fmla="*/ 635000 h 536"/>
                  <a:gd name="T20" fmla="*/ 104775 w 268"/>
                  <a:gd name="T21" fmla="*/ 704850 h 536"/>
                  <a:gd name="T22" fmla="*/ 55562 w 268"/>
                  <a:gd name="T23" fmla="*/ 781050 h 536"/>
                  <a:gd name="T24" fmla="*/ 0 w 268"/>
                  <a:gd name="T25" fmla="*/ 850900 h 536"/>
                  <a:gd name="T26" fmla="*/ 0 w 268"/>
                  <a:gd name="T27" fmla="*/ 850900 h 536"/>
                  <a:gd name="T28" fmla="*/ 41275 w 268"/>
                  <a:gd name="T29" fmla="*/ 809625 h 536"/>
                  <a:gd name="T30" fmla="*/ 146050 w 268"/>
                  <a:gd name="T31" fmla="*/ 704850 h 536"/>
                  <a:gd name="T32" fmla="*/ 207963 w 268"/>
                  <a:gd name="T33" fmla="*/ 635000 h 536"/>
                  <a:gd name="T34" fmla="*/ 271462 w 268"/>
                  <a:gd name="T35" fmla="*/ 552450 h 536"/>
                  <a:gd name="T36" fmla="*/ 327025 w 268"/>
                  <a:gd name="T37" fmla="*/ 460375 h 536"/>
                  <a:gd name="T38" fmla="*/ 376237 w 268"/>
                  <a:gd name="T39" fmla="*/ 357187 h 536"/>
                  <a:gd name="T40" fmla="*/ 376237 w 268"/>
                  <a:gd name="T41" fmla="*/ 357187 h 536"/>
                  <a:gd name="T42" fmla="*/ 361950 w 268"/>
                  <a:gd name="T43" fmla="*/ 334962 h 536"/>
                  <a:gd name="T44" fmla="*/ 341312 w 268"/>
                  <a:gd name="T45" fmla="*/ 314325 h 536"/>
                  <a:gd name="T46" fmla="*/ 306387 w 268"/>
                  <a:gd name="T47" fmla="*/ 287337 h 536"/>
                  <a:gd name="T48" fmla="*/ 425450 w 268"/>
                  <a:gd name="T49" fmla="*/ 273050 h 536"/>
                  <a:gd name="T50" fmla="*/ 425450 w 268"/>
                  <a:gd name="T51" fmla="*/ 273050 h 536"/>
                  <a:gd name="T52" fmla="*/ 368300 w 268"/>
                  <a:gd name="T53" fmla="*/ 168275 h 536"/>
                  <a:gd name="T54" fmla="*/ 312737 w 268"/>
                  <a:gd name="T55" fmla="*/ 77787 h 536"/>
                  <a:gd name="T56" fmla="*/ 250825 w 268"/>
                  <a:gd name="T57" fmla="*/ 0 h 536"/>
                  <a:gd name="T58" fmla="*/ 187325 w 268"/>
                  <a:gd name="T59" fmla="*/ 34925 h 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268"/>
                  <a:gd name="T91" fmla="*/ 0 h 536"/>
                  <a:gd name="T92" fmla="*/ 268 w 268"/>
                  <a:gd name="T93" fmla="*/ 536 h 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268" h="536">
                    <a:moveTo>
                      <a:pt x="118" y="22"/>
                    </a:moveTo>
                    <a:lnTo>
                      <a:pt x="118" y="22"/>
                    </a:lnTo>
                    <a:lnTo>
                      <a:pt x="127" y="71"/>
                    </a:lnTo>
                    <a:lnTo>
                      <a:pt x="136" y="123"/>
                    </a:lnTo>
                    <a:lnTo>
                      <a:pt x="136" y="189"/>
                    </a:lnTo>
                    <a:lnTo>
                      <a:pt x="136" y="229"/>
                    </a:lnTo>
                    <a:lnTo>
                      <a:pt x="131" y="268"/>
                    </a:lnTo>
                    <a:lnTo>
                      <a:pt x="123" y="312"/>
                    </a:lnTo>
                    <a:lnTo>
                      <a:pt x="105" y="352"/>
                    </a:lnTo>
                    <a:lnTo>
                      <a:pt x="87" y="400"/>
                    </a:lnTo>
                    <a:lnTo>
                      <a:pt x="66" y="444"/>
                    </a:lnTo>
                    <a:lnTo>
                      <a:pt x="35" y="492"/>
                    </a:lnTo>
                    <a:lnTo>
                      <a:pt x="0" y="536"/>
                    </a:lnTo>
                    <a:lnTo>
                      <a:pt x="26" y="510"/>
                    </a:lnTo>
                    <a:lnTo>
                      <a:pt x="92" y="444"/>
                    </a:lnTo>
                    <a:lnTo>
                      <a:pt x="131" y="400"/>
                    </a:lnTo>
                    <a:lnTo>
                      <a:pt x="171" y="348"/>
                    </a:lnTo>
                    <a:lnTo>
                      <a:pt x="206" y="290"/>
                    </a:lnTo>
                    <a:lnTo>
                      <a:pt x="237" y="225"/>
                    </a:lnTo>
                    <a:lnTo>
                      <a:pt x="228" y="211"/>
                    </a:lnTo>
                    <a:lnTo>
                      <a:pt x="215" y="198"/>
                    </a:lnTo>
                    <a:lnTo>
                      <a:pt x="193" y="181"/>
                    </a:lnTo>
                    <a:lnTo>
                      <a:pt x="268" y="172"/>
                    </a:lnTo>
                    <a:lnTo>
                      <a:pt x="232" y="106"/>
                    </a:lnTo>
                    <a:lnTo>
                      <a:pt x="197" y="49"/>
                    </a:lnTo>
                    <a:lnTo>
                      <a:pt x="158" y="0"/>
                    </a:lnTo>
                    <a:lnTo>
                      <a:pt x="118" y="22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108" name="Gruppe 179"/>
          <p:cNvGrpSpPr>
            <a:grpSpLocks/>
          </p:cNvGrpSpPr>
          <p:nvPr/>
        </p:nvGrpSpPr>
        <p:grpSpPr bwMode="auto">
          <a:xfrm>
            <a:off x="1693937" y="4576452"/>
            <a:ext cx="650875" cy="501650"/>
            <a:chOff x="4700923" y="3673354"/>
            <a:chExt cx="4275505" cy="3310059"/>
          </a:xfrm>
          <a:gradFill>
            <a:gsLst>
              <a:gs pos="0">
                <a:srgbClr val="00B050"/>
              </a:gs>
              <a:gs pos="50000">
                <a:schemeClr val="accent2">
                  <a:lumMod val="75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grpSpPr>
        <p:sp>
          <p:nvSpPr>
            <p:cNvPr id="109" name="Freeform 5"/>
            <p:cNvSpPr>
              <a:spLocks/>
            </p:cNvSpPr>
            <p:nvPr/>
          </p:nvSpPr>
          <p:spPr bwMode="auto">
            <a:xfrm>
              <a:off x="4700923" y="3673354"/>
              <a:ext cx="729964" cy="3310059"/>
            </a:xfrm>
            <a:custGeom>
              <a:avLst/>
              <a:gdLst/>
              <a:ahLst/>
              <a:cxnLst>
                <a:cxn ang="0">
                  <a:pos x="305" y="5"/>
                </a:cxn>
                <a:cxn ang="0">
                  <a:pos x="298" y="12"/>
                </a:cxn>
                <a:cxn ang="0">
                  <a:pos x="293" y="28"/>
                </a:cxn>
                <a:cxn ang="0">
                  <a:pos x="289" y="54"/>
                </a:cxn>
                <a:cxn ang="0">
                  <a:pos x="288" y="164"/>
                </a:cxn>
                <a:cxn ang="0">
                  <a:pos x="278" y="344"/>
                </a:cxn>
                <a:cxn ang="0">
                  <a:pos x="261" y="523"/>
                </a:cxn>
                <a:cxn ang="0">
                  <a:pos x="238" y="701"/>
                </a:cxn>
                <a:cxn ang="0">
                  <a:pos x="223" y="824"/>
                </a:cxn>
                <a:cxn ang="0">
                  <a:pos x="218" y="910"/>
                </a:cxn>
                <a:cxn ang="0">
                  <a:pos x="211" y="1002"/>
                </a:cxn>
                <a:cxn ang="0">
                  <a:pos x="194" y="1083"/>
                </a:cxn>
                <a:cxn ang="0">
                  <a:pos x="156" y="1114"/>
                </a:cxn>
                <a:cxn ang="0">
                  <a:pos x="111" y="1103"/>
                </a:cxn>
                <a:cxn ang="0">
                  <a:pos x="69" y="1087"/>
                </a:cxn>
                <a:cxn ang="0">
                  <a:pos x="26" y="1071"/>
                </a:cxn>
                <a:cxn ang="0">
                  <a:pos x="0" y="1065"/>
                </a:cxn>
                <a:cxn ang="0">
                  <a:pos x="1" y="1070"/>
                </a:cxn>
                <a:cxn ang="0">
                  <a:pos x="11" y="1082"/>
                </a:cxn>
                <a:cxn ang="0">
                  <a:pos x="62" y="1126"/>
                </a:cxn>
                <a:cxn ang="0">
                  <a:pos x="119" y="1169"/>
                </a:cxn>
                <a:cxn ang="0">
                  <a:pos x="150" y="1196"/>
                </a:cxn>
                <a:cxn ang="0">
                  <a:pos x="165" y="1225"/>
                </a:cxn>
                <a:cxn ang="0">
                  <a:pos x="169" y="1279"/>
                </a:cxn>
                <a:cxn ang="0">
                  <a:pos x="152" y="1479"/>
                </a:cxn>
                <a:cxn ang="0">
                  <a:pos x="119" y="1758"/>
                </a:cxn>
                <a:cxn ang="0">
                  <a:pos x="85" y="1996"/>
                </a:cxn>
                <a:cxn ang="0">
                  <a:pos x="84" y="2076"/>
                </a:cxn>
                <a:cxn ang="0">
                  <a:pos x="118" y="2087"/>
                </a:cxn>
                <a:cxn ang="0">
                  <a:pos x="157" y="2079"/>
                </a:cxn>
                <a:cxn ang="0">
                  <a:pos x="192" y="2058"/>
                </a:cxn>
                <a:cxn ang="0">
                  <a:pos x="200" y="1951"/>
                </a:cxn>
                <a:cxn ang="0">
                  <a:pos x="199" y="1762"/>
                </a:cxn>
                <a:cxn ang="0">
                  <a:pos x="209" y="1572"/>
                </a:cxn>
                <a:cxn ang="0">
                  <a:pos x="235" y="1384"/>
                </a:cxn>
                <a:cxn ang="0">
                  <a:pos x="256" y="1245"/>
                </a:cxn>
                <a:cxn ang="0">
                  <a:pos x="256" y="1147"/>
                </a:cxn>
                <a:cxn ang="0">
                  <a:pos x="261" y="1047"/>
                </a:cxn>
                <a:cxn ang="0">
                  <a:pos x="279" y="949"/>
                </a:cxn>
                <a:cxn ang="0">
                  <a:pos x="316" y="870"/>
                </a:cxn>
                <a:cxn ang="0">
                  <a:pos x="353" y="825"/>
                </a:cxn>
                <a:cxn ang="0">
                  <a:pos x="390" y="788"/>
                </a:cxn>
                <a:cxn ang="0">
                  <a:pos x="436" y="747"/>
                </a:cxn>
                <a:cxn ang="0">
                  <a:pos x="463" y="712"/>
                </a:cxn>
                <a:cxn ang="0">
                  <a:pos x="461" y="705"/>
                </a:cxn>
                <a:cxn ang="0">
                  <a:pos x="432" y="719"/>
                </a:cxn>
                <a:cxn ang="0">
                  <a:pos x="386" y="751"/>
                </a:cxn>
                <a:cxn ang="0">
                  <a:pos x="350" y="781"/>
                </a:cxn>
                <a:cxn ang="0">
                  <a:pos x="316" y="804"/>
                </a:cxn>
                <a:cxn ang="0">
                  <a:pos x="296" y="785"/>
                </a:cxn>
                <a:cxn ang="0">
                  <a:pos x="298" y="727"/>
                </a:cxn>
                <a:cxn ang="0">
                  <a:pos x="304" y="667"/>
                </a:cxn>
                <a:cxn ang="0">
                  <a:pos x="311" y="607"/>
                </a:cxn>
                <a:cxn ang="0">
                  <a:pos x="322" y="508"/>
                </a:cxn>
                <a:cxn ang="0">
                  <a:pos x="337" y="366"/>
                </a:cxn>
                <a:cxn ang="0">
                  <a:pos x="350" y="224"/>
                </a:cxn>
                <a:cxn ang="0">
                  <a:pos x="365" y="81"/>
                </a:cxn>
                <a:cxn ang="0">
                  <a:pos x="373" y="8"/>
                </a:cxn>
                <a:cxn ang="0">
                  <a:pos x="365" y="3"/>
                </a:cxn>
                <a:cxn ang="0">
                  <a:pos x="351" y="0"/>
                </a:cxn>
                <a:cxn ang="0">
                  <a:pos x="325" y="1"/>
                </a:cxn>
              </a:cxnLst>
              <a:rect l="0" t="0" r="r" b="b"/>
              <a:pathLst>
                <a:path w="466" h="2087">
                  <a:moveTo>
                    <a:pt x="310" y="5"/>
                  </a:moveTo>
                  <a:lnTo>
                    <a:pt x="305" y="5"/>
                  </a:lnTo>
                  <a:lnTo>
                    <a:pt x="301" y="8"/>
                  </a:lnTo>
                  <a:lnTo>
                    <a:pt x="298" y="12"/>
                  </a:lnTo>
                  <a:lnTo>
                    <a:pt x="296" y="19"/>
                  </a:lnTo>
                  <a:lnTo>
                    <a:pt x="293" y="28"/>
                  </a:lnTo>
                  <a:lnTo>
                    <a:pt x="291" y="40"/>
                  </a:lnTo>
                  <a:lnTo>
                    <a:pt x="289" y="54"/>
                  </a:lnTo>
                  <a:lnTo>
                    <a:pt x="289" y="74"/>
                  </a:lnTo>
                  <a:lnTo>
                    <a:pt x="288" y="164"/>
                  </a:lnTo>
                  <a:lnTo>
                    <a:pt x="285" y="254"/>
                  </a:lnTo>
                  <a:lnTo>
                    <a:pt x="278" y="344"/>
                  </a:lnTo>
                  <a:lnTo>
                    <a:pt x="271" y="434"/>
                  </a:lnTo>
                  <a:lnTo>
                    <a:pt x="261" y="523"/>
                  </a:lnTo>
                  <a:lnTo>
                    <a:pt x="251" y="612"/>
                  </a:lnTo>
                  <a:lnTo>
                    <a:pt x="238" y="701"/>
                  </a:lnTo>
                  <a:lnTo>
                    <a:pt x="225" y="789"/>
                  </a:lnTo>
                  <a:lnTo>
                    <a:pt x="223" y="824"/>
                  </a:lnTo>
                  <a:lnTo>
                    <a:pt x="221" y="865"/>
                  </a:lnTo>
                  <a:lnTo>
                    <a:pt x="218" y="910"/>
                  </a:lnTo>
                  <a:lnTo>
                    <a:pt x="216" y="956"/>
                  </a:lnTo>
                  <a:lnTo>
                    <a:pt x="211" y="1002"/>
                  </a:lnTo>
                  <a:lnTo>
                    <a:pt x="204" y="1044"/>
                  </a:lnTo>
                  <a:lnTo>
                    <a:pt x="194" y="1083"/>
                  </a:lnTo>
                  <a:lnTo>
                    <a:pt x="182" y="1116"/>
                  </a:lnTo>
                  <a:lnTo>
                    <a:pt x="156" y="1114"/>
                  </a:lnTo>
                  <a:lnTo>
                    <a:pt x="133" y="1109"/>
                  </a:lnTo>
                  <a:lnTo>
                    <a:pt x="111" y="1103"/>
                  </a:lnTo>
                  <a:lnTo>
                    <a:pt x="91" y="1096"/>
                  </a:lnTo>
                  <a:lnTo>
                    <a:pt x="69" y="1087"/>
                  </a:lnTo>
                  <a:lnTo>
                    <a:pt x="48" y="1078"/>
                  </a:lnTo>
                  <a:lnTo>
                    <a:pt x="26" y="1071"/>
                  </a:lnTo>
                  <a:lnTo>
                    <a:pt x="3" y="1065"/>
                  </a:lnTo>
                  <a:lnTo>
                    <a:pt x="0" y="1065"/>
                  </a:lnTo>
                  <a:lnTo>
                    <a:pt x="0" y="1068"/>
                  </a:lnTo>
                  <a:lnTo>
                    <a:pt x="1" y="1070"/>
                  </a:lnTo>
                  <a:lnTo>
                    <a:pt x="5" y="1075"/>
                  </a:lnTo>
                  <a:lnTo>
                    <a:pt x="11" y="1082"/>
                  </a:lnTo>
                  <a:lnTo>
                    <a:pt x="23" y="1093"/>
                  </a:lnTo>
                  <a:lnTo>
                    <a:pt x="62" y="1126"/>
                  </a:lnTo>
                  <a:lnTo>
                    <a:pt x="95" y="1151"/>
                  </a:lnTo>
                  <a:lnTo>
                    <a:pt x="119" y="1169"/>
                  </a:lnTo>
                  <a:lnTo>
                    <a:pt x="138" y="1184"/>
                  </a:lnTo>
                  <a:lnTo>
                    <a:pt x="150" y="1196"/>
                  </a:lnTo>
                  <a:lnTo>
                    <a:pt x="160" y="1209"/>
                  </a:lnTo>
                  <a:lnTo>
                    <a:pt x="165" y="1225"/>
                  </a:lnTo>
                  <a:lnTo>
                    <a:pt x="169" y="1246"/>
                  </a:lnTo>
                  <a:lnTo>
                    <a:pt x="169" y="1279"/>
                  </a:lnTo>
                  <a:lnTo>
                    <a:pt x="163" y="1362"/>
                  </a:lnTo>
                  <a:lnTo>
                    <a:pt x="152" y="1479"/>
                  </a:lnTo>
                  <a:lnTo>
                    <a:pt x="137" y="1617"/>
                  </a:lnTo>
                  <a:lnTo>
                    <a:pt x="119" y="1758"/>
                  </a:lnTo>
                  <a:lnTo>
                    <a:pt x="101" y="1889"/>
                  </a:lnTo>
                  <a:lnTo>
                    <a:pt x="85" y="1996"/>
                  </a:lnTo>
                  <a:lnTo>
                    <a:pt x="71" y="2064"/>
                  </a:lnTo>
                  <a:lnTo>
                    <a:pt x="84" y="2076"/>
                  </a:lnTo>
                  <a:lnTo>
                    <a:pt x="100" y="2084"/>
                  </a:lnTo>
                  <a:lnTo>
                    <a:pt x="118" y="2087"/>
                  </a:lnTo>
                  <a:lnTo>
                    <a:pt x="138" y="2086"/>
                  </a:lnTo>
                  <a:lnTo>
                    <a:pt x="157" y="2079"/>
                  </a:lnTo>
                  <a:lnTo>
                    <a:pt x="175" y="2071"/>
                  </a:lnTo>
                  <a:lnTo>
                    <a:pt x="192" y="2058"/>
                  </a:lnTo>
                  <a:lnTo>
                    <a:pt x="205" y="2043"/>
                  </a:lnTo>
                  <a:lnTo>
                    <a:pt x="200" y="1951"/>
                  </a:lnTo>
                  <a:lnTo>
                    <a:pt x="198" y="1858"/>
                  </a:lnTo>
                  <a:lnTo>
                    <a:pt x="199" y="1762"/>
                  </a:lnTo>
                  <a:lnTo>
                    <a:pt x="203" y="1667"/>
                  </a:lnTo>
                  <a:lnTo>
                    <a:pt x="209" y="1572"/>
                  </a:lnTo>
                  <a:lnTo>
                    <a:pt x="221" y="1477"/>
                  </a:lnTo>
                  <a:lnTo>
                    <a:pt x="235" y="1384"/>
                  </a:lnTo>
                  <a:lnTo>
                    <a:pt x="256" y="1294"/>
                  </a:lnTo>
                  <a:lnTo>
                    <a:pt x="256" y="1245"/>
                  </a:lnTo>
                  <a:lnTo>
                    <a:pt x="256" y="1197"/>
                  </a:lnTo>
                  <a:lnTo>
                    <a:pt x="256" y="1147"/>
                  </a:lnTo>
                  <a:lnTo>
                    <a:pt x="258" y="1098"/>
                  </a:lnTo>
                  <a:lnTo>
                    <a:pt x="261" y="1047"/>
                  </a:lnTo>
                  <a:lnTo>
                    <a:pt x="268" y="998"/>
                  </a:lnTo>
                  <a:lnTo>
                    <a:pt x="279" y="949"/>
                  </a:lnTo>
                  <a:lnTo>
                    <a:pt x="294" y="901"/>
                  </a:lnTo>
                  <a:lnTo>
                    <a:pt x="316" y="870"/>
                  </a:lnTo>
                  <a:lnTo>
                    <a:pt x="336" y="846"/>
                  </a:lnTo>
                  <a:lnTo>
                    <a:pt x="353" y="825"/>
                  </a:lnTo>
                  <a:lnTo>
                    <a:pt x="372" y="807"/>
                  </a:lnTo>
                  <a:lnTo>
                    <a:pt x="390" y="788"/>
                  </a:lnTo>
                  <a:lnTo>
                    <a:pt x="412" y="769"/>
                  </a:lnTo>
                  <a:lnTo>
                    <a:pt x="436" y="747"/>
                  </a:lnTo>
                  <a:lnTo>
                    <a:pt x="466" y="720"/>
                  </a:lnTo>
                  <a:lnTo>
                    <a:pt x="463" y="712"/>
                  </a:lnTo>
                  <a:lnTo>
                    <a:pt x="463" y="708"/>
                  </a:lnTo>
                  <a:lnTo>
                    <a:pt x="461" y="705"/>
                  </a:lnTo>
                  <a:lnTo>
                    <a:pt x="460" y="704"/>
                  </a:lnTo>
                  <a:lnTo>
                    <a:pt x="432" y="719"/>
                  </a:lnTo>
                  <a:lnTo>
                    <a:pt x="409" y="735"/>
                  </a:lnTo>
                  <a:lnTo>
                    <a:pt x="386" y="751"/>
                  </a:lnTo>
                  <a:lnTo>
                    <a:pt x="368" y="767"/>
                  </a:lnTo>
                  <a:lnTo>
                    <a:pt x="350" y="781"/>
                  </a:lnTo>
                  <a:lnTo>
                    <a:pt x="332" y="794"/>
                  </a:lnTo>
                  <a:lnTo>
                    <a:pt x="316" y="804"/>
                  </a:lnTo>
                  <a:lnTo>
                    <a:pt x="299" y="812"/>
                  </a:lnTo>
                  <a:lnTo>
                    <a:pt x="296" y="785"/>
                  </a:lnTo>
                  <a:lnTo>
                    <a:pt x="297" y="757"/>
                  </a:lnTo>
                  <a:lnTo>
                    <a:pt x="298" y="727"/>
                  </a:lnTo>
                  <a:lnTo>
                    <a:pt x="301" y="698"/>
                  </a:lnTo>
                  <a:lnTo>
                    <a:pt x="304" y="667"/>
                  </a:lnTo>
                  <a:lnTo>
                    <a:pt x="308" y="637"/>
                  </a:lnTo>
                  <a:lnTo>
                    <a:pt x="311" y="607"/>
                  </a:lnTo>
                  <a:lnTo>
                    <a:pt x="315" y="579"/>
                  </a:lnTo>
                  <a:lnTo>
                    <a:pt x="322" y="508"/>
                  </a:lnTo>
                  <a:lnTo>
                    <a:pt x="330" y="437"/>
                  </a:lnTo>
                  <a:lnTo>
                    <a:pt x="337" y="366"/>
                  </a:lnTo>
                  <a:lnTo>
                    <a:pt x="344" y="296"/>
                  </a:lnTo>
                  <a:lnTo>
                    <a:pt x="350" y="224"/>
                  </a:lnTo>
                  <a:lnTo>
                    <a:pt x="357" y="153"/>
                  </a:lnTo>
                  <a:lnTo>
                    <a:pt x="365" y="81"/>
                  </a:lnTo>
                  <a:lnTo>
                    <a:pt x="374" y="10"/>
                  </a:lnTo>
                  <a:lnTo>
                    <a:pt x="373" y="8"/>
                  </a:lnTo>
                  <a:lnTo>
                    <a:pt x="370" y="6"/>
                  </a:lnTo>
                  <a:lnTo>
                    <a:pt x="365" y="3"/>
                  </a:lnTo>
                  <a:lnTo>
                    <a:pt x="359" y="2"/>
                  </a:lnTo>
                  <a:lnTo>
                    <a:pt x="351" y="0"/>
                  </a:lnTo>
                  <a:lnTo>
                    <a:pt x="340" y="0"/>
                  </a:lnTo>
                  <a:lnTo>
                    <a:pt x="325" y="1"/>
                  </a:lnTo>
                  <a:lnTo>
                    <a:pt x="310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grpSp>
          <p:nvGrpSpPr>
            <p:cNvPr id="110" name="Gruppe 16"/>
            <p:cNvGrpSpPr>
              <a:grpSpLocks/>
            </p:cNvGrpSpPr>
            <p:nvPr/>
          </p:nvGrpSpPr>
          <p:grpSpPr bwMode="auto">
            <a:xfrm rot="779215">
              <a:off x="5280751" y="4277222"/>
              <a:ext cx="3695677" cy="1457469"/>
              <a:chOff x="-2008740" y="-2867880"/>
              <a:chExt cx="11232662" cy="5961314"/>
            </a:xfrm>
            <a:grpFill/>
          </p:grpSpPr>
          <p:sp>
            <p:nvSpPr>
              <p:cNvPr id="111" name="Freeform 6"/>
              <p:cNvSpPr>
                <a:spLocks/>
              </p:cNvSpPr>
              <p:nvPr/>
            </p:nvSpPr>
            <p:spPr bwMode="auto">
              <a:xfrm>
                <a:off x="-1993894" y="-2850254"/>
                <a:ext cx="11188359" cy="5955350"/>
              </a:xfrm>
              <a:custGeom>
                <a:avLst/>
                <a:gdLst>
                  <a:gd name="T0" fmla="*/ 5438 w 7036"/>
                  <a:gd name="T1" fmla="*/ 1364 h 3760"/>
                  <a:gd name="T2" fmla="*/ 5644 w 7036"/>
                  <a:gd name="T3" fmla="*/ 1612 h 3760"/>
                  <a:gd name="T4" fmla="*/ 5850 w 7036"/>
                  <a:gd name="T5" fmla="*/ 1824 h 3760"/>
                  <a:gd name="T6" fmla="*/ 6160 w 7036"/>
                  <a:gd name="T7" fmla="*/ 2088 h 3760"/>
                  <a:gd name="T8" fmla="*/ 6584 w 7036"/>
                  <a:gd name="T9" fmla="*/ 2390 h 3760"/>
                  <a:gd name="T10" fmla="*/ 7036 w 7036"/>
                  <a:gd name="T11" fmla="*/ 2696 h 3760"/>
                  <a:gd name="T12" fmla="*/ 5784 w 7036"/>
                  <a:gd name="T13" fmla="*/ 3094 h 3760"/>
                  <a:gd name="T14" fmla="*/ 4056 w 7036"/>
                  <a:gd name="T15" fmla="*/ 3600 h 3760"/>
                  <a:gd name="T16" fmla="*/ 3546 w 7036"/>
                  <a:gd name="T17" fmla="*/ 3734 h 3760"/>
                  <a:gd name="T18" fmla="*/ 3242 w 7036"/>
                  <a:gd name="T19" fmla="*/ 3756 h 3760"/>
                  <a:gd name="T20" fmla="*/ 2782 w 7036"/>
                  <a:gd name="T21" fmla="*/ 3750 h 3760"/>
                  <a:gd name="T22" fmla="*/ 2492 w 7036"/>
                  <a:gd name="T23" fmla="*/ 3716 h 3760"/>
                  <a:gd name="T24" fmla="*/ 2210 w 7036"/>
                  <a:gd name="T25" fmla="*/ 3654 h 3760"/>
                  <a:gd name="T26" fmla="*/ 1960 w 7036"/>
                  <a:gd name="T27" fmla="*/ 3550 h 3760"/>
                  <a:gd name="T28" fmla="*/ 1832 w 7036"/>
                  <a:gd name="T29" fmla="*/ 3462 h 3760"/>
                  <a:gd name="T30" fmla="*/ 1750 w 7036"/>
                  <a:gd name="T31" fmla="*/ 3378 h 3760"/>
                  <a:gd name="T32" fmla="*/ 1638 w 7036"/>
                  <a:gd name="T33" fmla="*/ 3208 h 3760"/>
                  <a:gd name="T34" fmla="*/ 1508 w 7036"/>
                  <a:gd name="T35" fmla="*/ 2948 h 3760"/>
                  <a:gd name="T36" fmla="*/ 1434 w 7036"/>
                  <a:gd name="T37" fmla="*/ 2732 h 3760"/>
                  <a:gd name="T38" fmla="*/ 1382 w 7036"/>
                  <a:gd name="T39" fmla="*/ 2480 h 3760"/>
                  <a:gd name="T40" fmla="*/ 1344 w 7036"/>
                  <a:gd name="T41" fmla="*/ 2330 h 3760"/>
                  <a:gd name="T42" fmla="*/ 1284 w 7036"/>
                  <a:gd name="T43" fmla="*/ 2244 h 3760"/>
                  <a:gd name="T44" fmla="*/ 1176 w 7036"/>
                  <a:gd name="T45" fmla="*/ 2182 h 3760"/>
                  <a:gd name="T46" fmla="*/ 1048 w 7036"/>
                  <a:gd name="T47" fmla="*/ 2152 h 3760"/>
                  <a:gd name="T48" fmla="*/ 928 w 7036"/>
                  <a:gd name="T49" fmla="*/ 2168 h 3760"/>
                  <a:gd name="T50" fmla="*/ 784 w 7036"/>
                  <a:gd name="T51" fmla="*/ 2238 h 3760"/>
                  <a:gd name="T52" fmla="*/ 548 w 7036"/>
                  <a:gd name="T53" fmla="*/ 2406 h 3760"/>
                  <a:gd name="T54" fmla="*/ 206 w 7036"/>
                  <a:gd name="T55" fmla="*/ 2712 h 3760"/>
                  <a:gd name="T56" fmla="*/ 88 w 7036"/>
                  <a:gd name="T57" fmla="*/ 2816 h 3760"/>
                  <a:gd name="T58" fmla="*/ 34 w 7036"/>
                  <a:gd name="T59" fmla="*/ 2758 h 3760"/>
                  <a:gd name="T60" fmla="*/ 2 w 7036"/>
                  <a:gd name="T61" fmla="*/ 2676 h 3760"/>
                  <a:gd name="T62" fmla="*/ 10 w 7036"/>
                  <a:gd name="T63" fmla="*/ 2592 h 3760"/>
                  <a:gd name="T64" fmla="*/ 54 w 7036"/>
                  <a:gd name="T65" fmla="*/ 2506 h 3760"/>
                  <a:gd name="T66" fmla="*/ 150 w 7036"/>
                  <a:gd name="T67" fmla="*/ 2396 h 3760"/>
                  <a:gd name="T68" fmla="*/ 372 w 7036"/>
                  <a:gd name="T69" fmla="*/ 2222 h 3760"/>
                  <a:gd name="T70" fmla="*/ 648 w 7036"/>
                  <a:gd name="T71" fmla="*/ 2052 h 3760"/>
                  <a:gd name="T72" fmla="*/ 1240 w 7036"/>
                  <a:gd name="T73" fmla="*/ 1724 h 3760"/>
                  <a:gd name="T74" fmla="*/ 1396 w 7036"/>
                  <a:gd name="T75" fmla="*/ 1618 h 3760"/>
                  <a:gd name="T76" fmla="*/ 1506 w 7036"/>
                  <a:gd name="T77" fmla="*/ 1478 h 3760"/>
                  <a:gd name="T78" fmla="*/ 1662 w 7036"/>
                  <a:gd name="T79" fmla="*/ 1226 h 3760"/>
                  <a:gd name="T80" fmla="*/ 1912 w 7036"/>
                  <a:gd name="T81" fmla="*/ 776 h 3760"/>
                  <a:gd name="T82" fmla="*/ 2070 w 7036"/>
                  <a:gd name="T83" fmla="*/ 534 h 3760"/>
                  <a:gd name="T84" fmla="*/ 2264 w 7036"/>
                  <a:gd name="T85" fmla="*/ 322 h 3760"/>
                  <a:gd name="T86" fmla="*/ 2444 w 7036"/>
                  <a:gd name="T87" fmla="*/ 192 h 3760"/>
                  <a:gd name="T88" fmla="*/ 2584 w 7036"/>
                  <a:gd name="T89" fmla="*/ 120 h 3760"/>
                  <a:gd name="T90" fmla="*/ 2742 w 7036"/>
                  <a:gd name="T91" fmla="*/ 64 h 3760"/>
                  <a:gd name="T92" fmla="*/ 2922 w 7036"/>
                  <a:gd name="T93" fmla="*/ 24 h 3760"/>
                  <a:gd name="T94" fmla="*/ 3126 w 7036"/>
                  <a:gd name="T95" fmla="*/ 2 h 3760"/>
                  <a:gd name="T96" fmla="*/ 3288 w 7036"/>
                  <a:gd name="T97" fmla="*/ 2 h 3760"/>
                  <a:gd name="T98" fmla="*/ 3500 w 7036"/>
                  <a:gd name="T99" fmla="*/ 26 h 3760"/>
                  <a:gd name="T100" fmla="*/ 3706 w 7036"/>
                  <a:gd name="T101" fmla="*/ 74 h 3760"/>
                  <a:gd name="T102" fmla="*/ 3956 w 7036"/>
                  <a:gd name="T103" fmla="*/ 166 h 3760"/>
                  <a:gd name="T104" fmla="*/ 4330 w 7036"/>
                  <a:gd name="T105" fmla="*/ 360 h 3760"/>
                  <a:gd name="T106" fmla="*/ 4660 w 7036"/>
                  <a:gd name="T107" fmla="*/ 588 h 3760"/>
                  <a:gd name="T108" fmla="*/ 4938 w 7036"/>
                  <a:gd name="T109" fmla="*/ 820 h 3760"/>
                  <a:gd name="T110" fmla="*/ 5228 w 7036"/>
                  <a:gd name="T111" fmla="*/ 1104 h 3760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7036"/>
                  <a:gd name="T169" fmla="*/ 0 h 3760"/>
                  <a:gd name="T170" fmla="*/ 7036 w 7036"/>
                  <a:gd name="T171" fmla="*/ 3760 h 3760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7036" h="3760">
                    <a:moveTo>
                      <a:pt x="5332" y="1222"/>
                    </a:moveTo>
                    <a:lnTo>
                      <a:pt x="5332" y="1222"/>
                    </a:lnTo>
                    <a:lnTo>
                      <a:pt x="5386" y="1294"/>
                    </a:lnTo>
                    <a:lnTo>
                      <a:pt x="5438" y="1364"/>
                    </a:lnTo>
                    <a:lnTo>
                      <a:pt x="5490" y="1430"/>
                    </a:lnTo>
                    <a:lnTo>
                      <a:pt x="5542" y="1494"/>
                    </a:lnTo>
                    <a:lnTo>
                      <a:pt x="5594" y="1554"/>
                    </a:lnTo>
                    <a:lnTo>
                      <a:pt x="5644" y="1612"/>
                    </a:lnTo>
                    <a:lnTo>
                      <a:pt x="5696" y="1668"/>
                    </a:lnTo>
                    <a:lnTo>
                      <a:pt x="5748" y="1722"/>
                    </a:lnTo>
                    <a:lnTo>
                      <a:pt x="5800" y="1774"/>
                    </a:lnTo>
                    <a:lnTo>
                      <a:pt x="5850" y="1824"/>
                    </a:lnTo>
                    <a:lnTo>
                      <a:pt x="5902" y="1872"/>
                    </a:lnTo>
                    <a:lnTo>
                      <a:pt x="5954" y="1918"/>
                    </a:lnTo>
                    <a:lnTo>
                      <a:pt x="6056" y="2006"/>
                    </a:lnTo>
                    <a:lnTo>
                      <a:pt x="6160" y="2088"/>
                    </a:lnTo>
                    <a:lnTo>
                      <a:pt x="6264" y="2168"/>
                    </a:lnTo>
                    <a:lnTo>
                      <a:pt x="6370" y="2242"/>
                    </a:lnTo>
                    <a:lnTo>
                      <a:pt x="6476" y="2316"/>
                    </a:lnTo>
                    <a:lnTo>
                      <a:pt x="6584" y="2390"/>
                    </a:lnTo>
                    <a:lnTo>
                      <a:pt x="6806" y="2538"/>
                    </a:lnTo>
                    <a:lnTo>
                      <a:pt x="6920" y="2616"/>
                    </a:lnTo>
                    <a:lnTo>
                      <a:pt x="7036" y="2696"/>
                    </a:lnTo>
                    <a:lnTo>
                      <a:pt x="6882" y="2748"/>
                    </a:lnTo>
                    <a:lnTo>
                      <a:pt x="6700" y="2808"/>
                    </a:lnTo>
                    <a:lnTo>
                      <a:pt x="6272" y="2944"/>
                    </a:lnTo>
                    <a:lnTo>
                      <a:pt x="5784" y="3094"/>
                    </a:lnTo>
                    <a:lnTo>
                      <a:pt x="5266" y="3250"/>
                    </a:lnTo>
                    <a:lnTo>
                      <a:pt x="4752" y="3400"/>
                    </a:lnTo>
                    <a:lnTo>
                      <a:pt x="4272" y="3538"/>
                    </a:lnTo>
                    <a:lnTo>
                      <a:pt x="4056" y="3600"/>
                    </a:lnTo>
                    <a:lnTo>
                      <a:pt x="3860" y="3652"/>
                    </a:lnTo>
                    <a:lnTo>
                      <a:pt x="3690" y="3698"/>
                    </a:lnTo>
                    <a:lnTo>
                      <a:pt x="3546" y="3734"/>
                    </a:lnTo>
                    <a:lnTo>
                      <a:pt x="3502" y="3740"/>
                    </a:lnTo>
                    <a:lnTo>
                      <a:pt x="3434" y="3746"/>
                    </a:lnTo>
                    <a:lnTo>
                      <a:pt x="3346" y="3752"/>
                    </a:lnTo>
                    <a:lnTo>
                      <a:pt x="3242" y="3756"/>
                    </a:lnTo>
                    <a:lnTo>
                      <a:pt x="3122" y="3760"/>
                    </a:lnTo>
                    <a:lnTo>
                      <a:pt x="2992" y="3758"/>
                    </a:lnTo>
                    <a:lnTo>
                      <a:pt x="2854" y="3754"/>
                    </a:lnTo>
                    <a:lnTo>
                      <a:pt x="2782" y="3750"/>
                    </a:lnTo>
                    <a:lnTo>
                      <a:pt x="2710" y="3744"/>
                    </a:lnTo>
                    <a:lnTo>
                      <a:pt x="2638" y="3736"/>
                    </a:lnTo>
                    <a:lnTo>
                      <a:pt x="2564" y="3728"/>
                    </a:lnTo>
                    <a:lnTo>
                      <a:pt x="2492" y="3716"/>
                    </a:lnTo>
                    <a:lnTo>
                      <a:pt x="2420" y="3704"/>
                    </a:lnTo>
                    <a:lnTo>
                      <a:pt x="2348" y="3690"/>
                    </a:lnTo>
                    <a:lnTo>
                      <a:pt x="2278" y="3672"/>
                    </a:lnTo>
                    <a:lnTo>
                      <a:pt x="2210" y="3654"/>
                    </a:lnTo>
                    <a:lnTo>
                      <a:pt x="2144" y="3632"/>
                    </a:lnTo>
                    <a:lnTo>
                      <a:pt x="2080" y="3608"/>
                    </a:lnTo>
                    <a:lnTo>
                      <a:pt x="2018" y="3580"/>
                    </a:lnTo>
                    <a:lnTo>
                      <a:pt x="1960" y="3550"/>
                    </a:lnTo>
                    <a:lnTo>
                      <a:pt x="1906" y="3518"/>
                    </a:lnTo>
                    <a:lnTo>
                      <a:pt x="1880" y="3500"/>
                    </a:lnTo>
                    <a:lnTo>
                      <a:pt x="1856" y="3482"/>
                    </a:lnTo>
                    <a:lnTo>
                      <a:pt x="1832" y="3462"/>
                    </a:lnTo>
                    <a:lnTo>
                      <a:pt x="1810" y="3444"/>
                    </a:lnTo>
                    <a:lnTo>
                      <a:pt x="1788" y="3422"/>
                    </a:lnTo>
                    <a:lnTo>
                      <a:pt x="1768" y="3400"/>
                    </a:lnTo>
                    <a:lnTo>
                      <a:pt x="1750" y="3378"/>
                    </a:lnTo>
                    <a:lnTo>
                      <a:pt x="1732" y="3356"/>
                    </a:lnTo>
                    <a:lnTo>
                      <a:pt x="1682" y="3280"/>
                    </a:lnTo>
                    <a:lnTo>
                      <a:pt x="1638" y="3208"/>
                    </a:lnTo>
                    <a:lnTo>
                      <a:pt x="1600" y="3138"/>
                    </a:lnTo>
                    <a:lnTo>
                      <a:pt x="1564" y="3072"/>
                    </a:lnTo>
                    <a:lnTo>
                      <a:pt x="1534" y="3010"/>
                    </a:lnTo>
                    <a:lnTo>
                      <a:pt x="1508" y="2948"/>
                    </a:lnTo>
                    <a:lnTo>
                      <a:pt x="1484" y="2890"/>
                    </a:lnTo>
                    <a:lnTo>
                      <a:pt x="1466" y="2836"/>
                    </a:lnTo>
                    <a:lnTo>
                      <a:pt x="1448" y="2782"/>
                    </a:lnTo>
                    <a:lnTo>
                      <a:pt x="1434" y="2732"/>
                    </a:lnTo>
                    <a:lnTo>
                      <a:pt x="1422" y="2684"/>
                    </a:lnTo>
                    <a:lnTo>
                      <a:pt x="1412" y="2640"/>
                    </a:lnTo>
                    <a:lnTo>
                      <a:pt x="1396" y="2556"/>
                    </a:lnTo>
                    <a:lnTo>
                      <a:pt x="1382" y="2480"/>
                    </a:lnTo>
                    <a:lnTo>
                      <a:pt x="1368" y="2414"/>
                    </a:lnTo>
                    <a:lnTo>
                      <a:pt x="1362" y="2384"/>
                    </a:lnTo>
                    <a:lnTo>
                      <a:pt x="1354" y="2356"/>
                    </a:lnTo>
                    <a:lnTo>
                      <a:pt x="1344" y="2330"/>
                    </a:lnTo>
                    <a:lnTo>
                      <a:pt x="1332" y="2306"/>
                    </a:lnTo>
                    <a:lnTo>
                      <a:pt x="1318" y="2284"/>
                    </a:lnTo>
                    <a:lnTo>
                      <a:pt x="1302" y="2264"/>
                    </a:lnTo>
                    <a:lnTo>
                      <a:pt x="1284" y="2244"/>
                    </a:lnTo>
                    <a:lnTo>
                      <a:pt x="1262" y="2226"/>
                    </a:lnTo>
                    <a:lnTo>
                      <a:pt x="1238" y="2210"/>
                    </a:lnTo>
                    <a:lnTo>
                      <a:pt x="1208" y="2196"/>
                    </a:lnTo>
                    <a:lnTo>
                      <a:pt x="1176" y="2182"/>
                    </a:lnTo>
                    <a:lnTo>
                      <a:pt x="1138" y="2172"/>
                    </a:lnTo>
                    <a:lnTo>
                      <a:pt x="1096" y="2160"/>
                    </a:lnTo>
                    <a:lnTo>
                      <a:pt x="1048" y="2152"/>
                    </a:lnTo>
                    <a:lnTo>
                      <a:pt x="1020" y="2150"/>
                    </a:lnTo>
                    <a:lnTo>
                      <a:pt x="992" y="2152"/>
                    </a:lnTo>
                    <a:lnTo>
                      <a:pt x="962" y="2158"/>
                    </a:lnTo>
                    <a:lnTo>
                      <a:pt x="928" y="2168"/>
                    </a:lnTo>
                    <a:lnTo>
                      <a:pt x="894" y="2180"/>
                    </a:lnTo>
                    <a:lnTo>
                      <a:pt x="858" y="2198"/>
                    </a:lnTo>
                    <a:lnTo>
                      <a:pt x="822" y="2216"/>
                    </a:lnTo>
                    <a:lnTo>
                      <a:pt x="784" y="2238"/>
                    </a:lnTo>
                    <a:lnTo>
                      <a:pt x="746" y="2262"/>
                    </a:lnTo>
                    <a:lnTo>
                      <a:pt x="706" y="2288"/>
                    </a:lnTo>
                    <a:lnTo>
                      <a:pt x="628" y="2346"/>
                    </a:lnTo>
                    <a:lnTo>
                      <a:pt x="548" y="2406"/>
                    </a:lnTo>
                    <a:lnTo>
                      <a:pt x="470" y="2472"/>
                    </a:lnTo>
                    <a:lnTo>
                      <a:pt x="396" y="2536"/>
                    </a:lnTo>
                    <a:lnTo>
                      <a:pt x="326" y="2600"/>
                    </a:lnTo>
                    <a:lnTo>
                      <a:pt x="206" y="2712"/>
                    </a:lnTo>
                    <a:lnTo>
                      <a:pt x="122" y="2790"/>
                    </a:lnTo>
                    <a:lnTo>
                      <a:pt x="98" y="2810"/>
                    </a:lnTo>
                    <a:lnTo>
                      <a:pt x="90" y="2816"/>
                    </a:lnTo>
                    <a:lnTo>
                      <a:pt x="88" y="2816"/>
                    </a:lnTo>
                    <a:lnTo>
                      <a:pt x="66" y="2798"/>
                    </a:lnTo>
                    <a:lnTo>
                      <a:pt x="50" y="2778"/>
                    </a:lnTo>
                    <a:lnTo>
                      <a:pt x="34" y="2758"/>
                    </a:lnTo>
                    <a:lnTo>
                      <a:pt x="22" y="2738"/>
                    </a:lnTo>
                    <a:lnTo>
                      <a:pt x="14" y="2718"/>
                    </a:lnTo>
                    <a:lnTo>
                      <a:pt x="6" y="2698"/>
                    </a:lnTo>
                    <a:lnTo>
                      <a:pt x="2" y="2676"/>
                    </a:lnTo>
                    <a:lnTo>
                      <a:pt x="0" y="2656"/>
                    </a:lnTo>
                    <a:lnTo>
                      <a:pt x="2" y="2634"/>
                    </a:lnTo>
                    <a:lnTo>
                      <a:pt x="6" y="2614"/>
                    </a:lnTo>
                    <a:lnTo>
                      <a:pt x="10" y="2592"/>
                    </a:lnTo>
                    <a:lnTo>
                      <a:pt x="18" y="2570"/>
                    </a:lnTo>
                    <a:lnTo>
                      <a:pt x="28" y="2550"/>
                    </a:lnTo>
                    <a:lnTo>
                      <a:pt x="40" y="2528"/>
                    </a:lnTo>
                    <a:lnTo>
                      <a:pt x="54" y="2506"/>
                    </a:lnTo>
                    <a:lnTo>
                      <a:pt x="70" y="2484"/>
                    </a:lnTo>
                    <a:lnTo>
                      <a:pt x="86" y="2462"/>
                    </a:lnTo>
                    <a:lnTo>
                      <a:pt x="106" y="2440"/>
                    </a:lnTo>
                    <a:lnTo>
                      <a:pt x="150" y="2396"/>
                    </a:lnTo>
                    <a:lnTo>
                      <a:pt x="198" y="2352"/>
                    </a:lnTo>
                    <a:lnTo>
                      <a:pt x="252" y="2308"/>
                    </a:lnTo>
                    <a:lnTo>
                      <a:pt x="310" y="2264"/>
                    </a:lnTo>
                    <a:lnTo>
                      <a:pt x="372" y="2222"/>
                    </a:lnTo>
                    <a:lnTo>
                      <a:pt x="438" y="2178"/>
                    </a:lnTo>
                    <a:lnTo>
                      <a:pt x="506" y="2136"/>
                    </a:lnTo>
                    <a:lnTo>
                      <a:pt x="576" y="2092"/>
                    </a:lnTo>
                    <a:lnTo>
                      <a:pt x="648" y="2052"/>
                    </a:lnTo>
                    <a:lnTo>
                      <a:pt x="792" y="1970"/>
                    </a:lnTo>
                    <a:lnTo>
                      <a:pt x="1066" y="1822"/>
                    </a:lnTo>
                    <a:lnTo>
                      <a:pt x="1186" y="1754"/>
                    </a:lnTo>
                    <a:lnTo>
                      <a:pt x="1240" y="1724"/>
                    </a:lnTo>
                    <a:lnTo>
                      <a:pt x="1288" y="1694"/>
                    </a:lnTo>
                    <a:lnTo>
                      <a:pt x="1332" y="1666"/>
                    </a:lnTo>
                    <a:lnTo>
                      <a:pt x="1368" y="1640"/>
                    </a:lnTo>
                    <a:lnTo>
                      <a:pt x="1396" y="1618"/>
                    </a:lnTo>
                    <a:lnTo>
                      <a:pt x="1418" y="1596"/>
                    </a:lnTo>
                    <a:lnTo>
                      <a:pt x="1462" y="1538"/>
                    </a:lnTo>
                    <a:lnTo>
                      <a:pt x="1506" y="1478"/>
                    </a:lnTo>
                    <a:lnTo>
                      <a:pt x="1548" y="1416"/>
                    </a:lnTo>
                    <a:lnTo>
                      <a:pt x="1588" y="1354"/>
                    </a:lnTo>
                    <a:lnTo>
                      <a:pt x="1626" y="1290"/>
                    </a:lnTo>
                    <a:lnTo>
                      <a:pt x="1662" y="1226"/>
                    </a:lnTo>
                    <a:lnTo>
                      <a:pt x="1734" y="1096"/>
                    </a:lnTo>
                    <a:lnTo>
                      <a:pt x="1804" y="966"/>
                    </a:lnTo>
                    <a:lnTo>
                      <a:pt x="1874" y="838"/>
                    </a:lnTo>
                    <a:lnTo>
                      <a:pt x="1912" y="776"/>
                    </a:lnTo>
                    <a:lnTo>
                      <a:pt x="1948" y="714"/>
                    </a:lnTo>
                    <a:lnTo>
                      <a:pt x="1988" y="652"/>
                    </a:lnTo>
                    <a:lnTo>
                      <a:pt x="2028" y="592"/>
                    </a:lnTo>
                    <a:lnTo>
                      <a:pt x="2070" y="534"/>
                    </a:lnTo>
                    <a:lnTo>
                      <a:pt x="2116" y="478"/>
                    </a:lnTo>
                    <a:lnTo>
                      <a:pt x="2162" y="424"/>
                    </a:lnTo>
                    <a:lnTo>
                      <a:pt x="2212" y="372"/>
                    </a:lnTo>
                    <a:lnTo>
                      <a:pt x="2264" y="322"/>
                    </a:lnTo>
                    <a:lnTo>
                      <a:pt x="2320" y="276"/>
                    </a:lnTo>
                    <a:lnTo>
                      <a:pt x="2380" y="232"/>
                    </a:lnTo>
                    <a:lnTo>
                      <a:pt x="2412" y="212"/>
                    </a:lnTo>
                    <a:lnTo>
                      <a:pt x="2444" y="192"/>
                    </a:lnTo>
                    <a:lnTo>
                      <a:pt x="2478" y="172"/>
                    </a:lnTo>
                    <a:lnTo>
                      <a:pt x="2512" y="154"/>
                    </a:lnTo>
                    <a:lnTo>
                      <a:pt x="2548" y="136"/>
                    </a:lnTo>
                    <a:lnTo>
                      <a:pt x="2584" y="120"/>
                    </a:lnTo>
                    <a:lnTo>
                      <a:pt x="2622" y="104"/>
                    </a:lnTo>
                    <a:lnTo>
                      <a:pt x="2662" y="90"/>
                    </a:lnTo>
                    <a:lnTo>
                      <a:pt x="2702" y="76"/>
                    </a:lnTo>
                    <a:lnTo>
                      <a:pt x="2742" y="64"/>
                    </a:lnTo>
                    <a:lnTo>
                      <a:pt x="2786" y="52"/>
                    </a:lnTo>
                    <a:lnTo>
                      <a:pt x="2830" y="42"/>
                    </a:lnTo>
                    <a:lnTo>
                      <a:pt x="2876" y="32"/>
                    </a:lnTo>
                    <a:lnTo>
                      <a:pt x="2922" y="24"/>
                    </a:lnTo>
                    <a:lnTo>
                      <a:pt x="2972" y="16"/>
                    </a:lnTo>
                    <a:lnTo>
                      <a:pt x="3022" y="10"/>
                    </a:lnTo>
                    <a:lnTo>
                      <a:pt x="3074" y="6"/>
                    </a:lnTo>
                    <a:lnTo>
                      <a:pt x="3126" y="2"/>
                    </a:lnTo>
                    <a:lnTo>
                      <a:pt x="3180" y="0"/>
                    </a:lnTo>
                    <a:lnTo>
                      <a:pt x="3234" y="0"/>
                    </a:lnTo>
                    <a:lnTo>
                      <a:pt x="3288" y="2"/>
                    </a:lnTo>
                    <a:lnTo>
                      <a:pt x="3340" y="4"/>
                    </a:lnTo>
                    <a:lnTo>
                      <a:pt x="3394" y="10"/>
                    </a:lnTo>
                    <a:lnTo>
                      <a:pt x="3446" y="18"/>
                    </a:lnTo>
                    <a:lnTo>
                      <a:pt x="3500" y="26"/>
                    </a:lnTo>
                    <a:lnTo>
                      <a:pt x="3552" y="36"/>
                    </a:lnTo>
                    <a:lnTo>
                      <a:pt x="3604" y="48"/>
                    </a:lnTo>
                    <a:lnTo>
                      <a:pt x="3654" y="60"/>
                    </a:lnTo>
                    <a:lnTo>
                      <a:pt x="3706" y="74"/>
                    </a:lnTo>
                    <a:lnTo>
                      <a:pt x="3758" y="90"/>
                    </a:lnTo>
                    <a:lnTo>
                      <a:pt x="3808" y="108"/>
                    </a:lnTo>
                    <a:lnTo>
                      <a:pt x="3858" y="126"/>
                    </a:lnTo>
                    <a:lnTo>
                      <a:pt x="3956" y="166"/>
                    </a:lnTo>
                    <a:lnTo>
                      <a:pt x="4054" y="210"/>
                    </a:lnTo>
                    <a:lnTo>
                      <a:pt x="4148" y="256"/>
                    </a:lnTo>
                    <a:lnTo>
                      <a:pt x="4240" y="306"/>
                    </a:lnTo>
                    <a:lnTo>
                      <a:pt x="4330" y="360"/>
                    </a:lnTo>
                    <a:lnTo>
                      <a:pt x="4418" y="414"/>
                    </a:lnTo>
                    <a:lnTo>
                      <a:pt x="4502" y="472"/>
                    </a:lnTo>
                    <a:lnTo>
                      <a:pt x="4582" y="530"/>
                    </a:lnTo>
                    <a:lnTo>
                      <a:pt x="4660" y="588"/>
                    </a:lnTo>
                    <a:lnTo>
                      <a:pt x="4736" y="646"/>
                    </a:lnTo>
                    <a:lnTo>
                      <a:pt x="4806" y="706"/>
                    </a:lnTo>
                    <a:lnTo>
                      <a:pt x="4874" y="762"/>
                    </a:lnTo>
                    <a:lnTo>
                      <a:pt x="4938" y="820"/>
                    </a:lnTo>
                    <a:lnTo>
                      <a:pt x="4998" y="874"/>
                    </a:lnTo>
                    <a:lnTo>
                      <a:pt x="5052" y="926"/>
                    </a:lnTo>
                    <a:lnTo>
                      <a:pt x="5150" y="1022"/>
                    </a:lnTo>
                    <a:lnTo>
                      <a:pt x="5228" y="1104"/>
                    </a:lnTo>
                    <a:lnTo>
                      <a:pt x="5284" y="1166"/>
                    </a:lnTo>
                    <a:lnTo>
                      <a:pt x="5332" y="122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12" name="Freeform 7"/>
              <p:cNvSpPr>
                <a:spLocks/>
              </p:cNvSpPr>
              <p:nvPr/>
            </p:nvSpPr>
            <p:spPr bwMode="auto">
              <a:xfrm>
                <a:off x="-2278912" y="-3058591"/>
                <a:ext cx="11283454" cy="4541479"/>
              </a:xfrm>
              <a:custGeom>
                <a:avLst/>
                <a:gdLst>
                  <a:gd name="T0" fmla="*/ 2382 w 7034"/>
                  <a:gd name="T1" fmla="*/ 1714 h 2792"/>
                  <a:gd name="T2" fmla="*/ 2542 w 7034"/>
                  <a:gd name="T3" fmla="*/ 1702 h 2792"/>
                  <a:gd name="T4" fmla="*/ 2734 w 7034"/>
                  <a:gd name="T5" fmla="*/ 1704 h 2792"/>
                  <a:gd name="T6" fmla="*/ 2954 w 7034"/>
                  <a:gd name="T7" fmla="*/ 1722 h 2792"/>
                  <a:gd name="T8" fmla="*/ 3462 w 7034"/>
                  <a:gd name="T9" fmla="*/ 1794 h 2792"/>
                  <a:gd name="T10" fmla="*/ 4032 w 7034"/>
                  <a:gd name="T11" fmla="*/ 1902 h 2792"/>
                  <a:gd name="T12" fmla="*/ 4632 w 7034"/>
                  <a:gd name="T13" fmla="*/ 2038 h 2792"/>
                  <a:gd name="T14" fmla="*/ 5422 w 7034"/>
                  <a:gd name="T15" fmla="*/ 2238 h 2792"/>
                  <a:gd name="T16" fmla="*/ 6430 w 7034"/>
                  <a:gd name="T17" fmla="*/ 2518 h 2792"/>
                  <a:gd name="T18" fmla="*/ 7034 w 7034"/>
                  <a:gd name="T19" fmla="*/ 2696 h 2792"/>
                  <a:gd name="T20" fmla="*/ 6804 w 7034"/>
                  <a:gd name="T21" fmla="*/ 2538 h 2792"/>
                  <a:gd name="T22" fmla="*/ 6368 w 7034"/>
                  <a:gd name="T23" fmla="*/ 2242 h 2792"/>
                  <a:gd name="T24" fmla="*/ 6054 w 7034"/>
                  <a:gd name="T25" fmla="*/ 2006 h 2792"/>
                  <a:gd name="T26" fmla="*/ 5848 w 7034"/>
                  <a:gd name="T27" fmla="*/ 1824 h 2792"/>
                  <a:gd name="T28" fmla="*/ 5694 w 7034"/>
                  <a:gd name="T29" fmla="*/ 1668 h 2792"/>
                  <a:gd name="T30" fmla="*/ 5540 w 7034"/>
                  <a:gd name="T31" fmla="*/ 1494 h 2792"/>
                  <a:gd name="T32" fmla="*/ 5384 w 7034"/>
                  <a:gd name="T33" fmla="*/ 1294 h 2792"/>
                  <a:gd name="T34" fmla="*/ 5282 w 7034"/>
                  <a:gd name="T35" fmla="*/ 1166 h 2792"/>
                  <a:gd name="T36" fmla="*/ 5050 w 7034"/>
                  <a:gd name="T37" fmla="*/ 926 h 2792"/>
                  <a:gd name="T38" fmla="*/ 4872 w 7034"/>
                  <a:gd name="T39" fmla="*/ 762 h 2792"/>
                  <a:gd name="T40" fmla="*/ 4658 w 7034"/>
                  <a:gd name="T41" fmla="*/ 588 h 2792"/>
                  <a:gd name="T42" fmla="*/ 4416 w 7034"/>
                  <a:gd name="T43" fmla="*/ 414 h 2792"/>
                  <a:gd name="T44" fmla="*/ 4146 w 7034"/>
                  <a:gd name="T45" fmla="*/ 256 h 2792"/>
                  <a:gd name="T46" fmla="*/ 3856 w 7034"/>
                  <a:gd name="T47" fmla="*/ 126 h 2792"/>
                  <a:gd name="T48" fmla="*/ 3704 w 7034"/>
                  <a:gd name="T49" fmla="*/ 74 h 2792"/>
                  <a:gd name="T50" fmla="*/ 3550 w 7034"/>
                  <a:gd name="T51" fmla="*/ 36 h 2792"/>
                  <a:gd name="T52" fmla="*/ 3392 w 7034"/>
                  <a:gd name="T53" fmla="*/ 10 h 2792"/>
                  <a:gd name="T54" fmla="*/ 3232 w 7034"/>
                  <a:gd name="T55" fmla="*/ 0 h 2792"/>
                  <a:gd name="T56" fmla="*/ 3124 w 7034"/>
                  <a:gd name="T57" fmla="*/ 2 h 2792"/>
                  <a:gd name="T58" fmla="*/ 2970 w 7034"/>
                  <a:gd name="T59" fmla="*/ 16 h 2792"/>
                  <a:gd name="T60" fmla="*/ 2828 w 7034"/>
                  <a:gd name="T61" fmla="*/ 42 h 2792"/>
                  <a:gd name="T62" fmla="*/ 2700 w 7034"/>
                  <a:gd name="T63" fmla="*/ 76 h 2792"/>
                  <a:gd name="T64" fmla="*/ 2582 w 7034"/>
                  <a:gd name="T65" fmla="*/ 120 h 2792"/>
                  <a:gd name="T66" fmla="*/ 2476 w 7034"/>
                  <a:gd name="T67" fmla="*/ 172 h 2792"/>
                  <a:gd name="T68" fmla="*/ 2378 w 7034"/>
                  <a:gd name="T69" fmla="*/ 232 h 2792"/>
                  <a:gd name="T70" fmla="*/ 2210 w 7034"/>
                  <a:gd name="T71" fmla="*/ 372 h 2792"/>
                  <a:gd name="T72" fmla="*/ 2068 w 7034"/>
                  <a:gd name="T73" fmla="*/ 534 h 2792"/>
                  <a:gd name="T74" fmla="*/ 1946 w 7034"/>
                  <a:gd name="T75" fmla="*/ 714 h 2792"/>
                  <a:gd name="T76" fmla="*/ 1802 w 7034"/>
                  <a:gd name="T77" fmla="*/ 966 h 2792"/>
                  <a:gd name="T78" fmla="*/ 1624 w 7034"/>
                  <a:gd name="T79" fmla="*/ 1290 h 2792"/>
                  <a:gd name="T80" fmla="*/ 1504 w 7034"/>
                  <a:gd name="T81" fmla="*/ 1478 h 2792"/>
                  <a:gd name="T82" fmla="*/ 1416 w 7034"/>
                  <a:gd name="T83" fmla="*/ 1596 h 2792"/>
                  <a:gd name="T84" fmla="*/ 1332 w 7034"/>
                  <a:gd name="T85" fmla="*/ 1666 h 2792"/>
                  <a:gd name="T86" fmla="*/ 1192 w 7034"/>
                  <a:gd name="T87" fmla="*/ 1752 h 2792"/>
                  <a:gd name="T88" fmla="*/ 666 w 7034"/>
                  <a:gd name="T89" fmla="*/ 2040 h 2792"/>
                  <a:gd name="T90" fmla="*/ 394 w 7034"/>
                  <a:gd name="T91" fmla="*/ 2206 h 2792"/>
                  <a:gd name="T92" fmla="*/ 218 w 7034"/>
                  <a:gd name="T93" fmla="*/ 2334 h 2792"/>
                  <a:gd name="T94" fmla="*/ 84 w 7034"/>
                  <a:gd name="T95" fmla="*/ 2464 h 2792"/>
                  <a:gd name="T96" fmla="*/ 38 w 7034"/>
                  <a:gd name="T97" fmla="*/ 2528 h 2792"/>
                  <a:gd name="T98" fmla="*/ 10 w 7034"/>
                  <a:gd name="T99" fmla="*/ 2592 h 2792"/>
                  <a:gd name="T100" fmla="*/ 0 w 7034"/>
                  <a:gd name="T101" fmla="*/ 2654 h 2792"/>
                  <a:gd name="T102" fmla="*/ 10 w 7034"/>
                  <a:gd name="T103" fmla="*/ 2714 h 2792"/>
                  <a:gd name="T104" fmla="*/ 44 w 7034"/>
                  <a:gd name="T105" fmla="*/ 2774 h 2792"/>
                  <a:gd name="T106" fmla="*/ 80 w 7034"/>
                  <a:gd name="T107" fmla="*/ 2746 h 2792"/>
                  <a:gd name="T108" fmla="*/ 242 w 7034"/>
                  <a:gd name="T109" fmla="*/ 2532 h 2792"/>
                  <a:gd name="T110" fmla="*/ 416 w 7034"/>
                  <a:gd name="T111" fmla="*/ 2358 h 2792"/>
                  <a:gd name="T112" fmla="*/ 600 w 7034"/>
                  <a:gd name="T113" fmla="*/ 2218 h 2792"/>
                  <a:gd name="T114" fmla="*/ 796 w 7034"/>
                  <a:gd name="T115" fmla="*/ 2106 h 2792"/>
                  <a:gd name="T116" fmla="*/ 1000 w 7034"/>
                  <a:gd name="T117" fmla="*/ 2018 h 2792"/>
                  <a:gd name="T118" fmla="*/ 1214 w 7034"/>
                  <a:gd name="T119" fmla="*/ 1950 h 2792"/>
                  <a:gd name="T120" fmla="*/ 1438 w 7034"/>
                  <a:gd name="T121" fmla="*/ 1894 h 2792"/>
                  <a:gd name="T122" fmla="*/ 1832 w 7034"/>
                  <a:gd name="T123" fmla="*/ 1816 h 2792"/>
                  <a:gd name="T124" fmla="*/ 2336 w 7034"/>
                  <a:gd name="T125" fmla="*/ 1722 h 279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7034"/>
                  <a:gd name="T190" fmla="*/ 0 h 2792"/>
                  <a:gd name="T191" fmla="*/ 7034 w 7034"/>
                  <a:gd name="T192" fmla="*/ 2792 h 2792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7034" h="2792">
                    <a:moveTo>
                      <a:pt x="2336" y="1722"/>
                    </a:moveTo>
                    <a:lnTo>
                      <a:pt x="2336" y="1722"/>
                    </a:lnTo>
                    <a:lnTo>
                      <a:pt x="2382" y="1714"/>
                    </a:lnTo>
                    <a:lnTo>
                      <a:pt x="2432" y="1708"/>
                    </a:lnTo>
                    <a:lnTo>
                      <a:pt x="2484" y="1704"/>
                    </a:lnTo>
                    <a:lnTo>
                      <a:pt x="2542" y="1702"/>
                    </a:lnTo>
                    <a:lnTo>
                      <a:pt x="2602" y="1700"/>
                    </a:lnTo>
                    <a:lnTo>
                      <a:pt x="2666" y="1702"/>
                    </a:lnTo>
                    <a:lnTo>
                      <a:pt x="2734" y="1704"/>
                    </a:lnTo>
                    <a:lnTo>
                      <a:pt x="2804" y="1708"/>
                    </a:lnTo>
                    <a:lnTo>
                      <a:pt x="2878" y="1714"/>
                    </a:lnTo>
                    <a:lnTo>
                      <a:pt x="2954" y="1722"/>
                    </a:lnTo>
                    <a:lnTo>
                      <a:pt x="3114" y="1740"/>
                    </a:lnTo>
                    <a:lnTo>
                      <a:pt x="3284" y="1764"/>
                    </a:lnTo>
                    <a:lnTo>
                      <a:pt x="3462" y="1794"/>
                    </a:lnTo>
                    <a:lnTo>
                      <a:pt x="3646" y="1826"/>
                    </a:lnTo>
                    <a:lnTo>
                      <a:pt x="3836" y="1862"/>
                    </a:lnTo>
                    <a:lnTo>
                      <a:pt x="4032" y="1902"/>
                    </a:lnTo>
                    <a:lnTo>
                      <a:pt x="4230" y="1946"/>
                    </a:lnTo>
                    <a:lnTo>
                      <a:pt x="4430" y="1992"/>
                    </a:lnTo>
                    <a:lnTo>
                      <a:pt x="4632" y="2038"/>
                    </a:lnTo>
                    <a:lnTo>
                      <a:pt x="4834" y="2088"/>
                    </a:lnTo>
                    <a:lnTo>
                      <a:pt x="5032" y="2138"/>
                    </a:lnTo>
                    <a:lnTo>
                      <a:pt x="5422" y="2238"/>
                    </a:lnTo>
                    <a:lnTo>
                      <a:pt x="5792" y="2338"/>
                    </a:lnTo>
                    <a:lnTo>
                      <a:pt x="6132" y="2432"/>
                    </a:lnTo>
                    <a:lnTo>
                      <a:pt x="6430" y="2518"/>
                    </a:lnTo>
                    <a:lnTo>
                      <a:pt x="6680" y="2590"/>
                    </a:lnTo>
                    <a:lnTo>
                      <a:pt x="6870" y="2648"/>
                    </a:lnTo>
                    <a:lnTo>
                      <a:pt x="7034" y="2696"/>
                    </a:lnTo>
                    <a:lnTo>
                      <a:pt x="6918" y="2616"/>
                    </a:lnTo>
                    <a:lnTo>
                      <a:pt x="6804" y="2538"/>
                    </a:lnTo>
                    <a:lnTo>
                      <a:pt x="6582" y="2390"/>
                    </a:lnTo>
                    <a:lnTo>
                      <a:pt x="6474" y="2316"/>
                    </a:lnTo>
                    <a:lnTo>
                      <a:pt x="6368" y="2242"/>
                    </a:lnTo>
                    <a:lnTo>
                      <a:pt x="6262" y="2168"/>
                    </a:lnTo>
                    <a:lnTo>
                      <a:pt x="6158" y="2088"/>
                    </a:lnTo>
                    <a:lnTo>
                      <a:pt x="6054" y="2006"/>
                    </a:lnTo>
                    <a:lnTo>
                      <a:pt x="5952" y="1918"/>
                    </a:lnTo>
                    <a:lnTo>
                      <a:pt x="5900" y="1872"/>
                    </a:lnTo>
                    <a:lnTo>
                      <a:pt x="5848" y="1824"/>
                    </a:lnTo>
                    <a:lnTo>
                      <a:pt x="5798" y="1774"/>
                    </a:lnTo>
                    <a:lnTo>
                      <a:pt x="5746" y="1722"/>
                    </a:lnTo>
                    <a:lnTo>
                      <a:pt x="5694" y="1668"/>
                    </a:lnTo>
                    <a:lnTo>
                      <a:pt x="5642" y="1612"/>
                    </a:lnTo>
                    <a:lnTo>
                      <a:pt x="5592" y="1554"/>
                    </a:lnTo>
                    <a:lnTo>
                      <a:pt x="5540" y="1494"/>
                    </a:lnTo>
                    <a:lnTo>
                      <a:pt x="5488" y="1430"/>
                    </a:lnTo>
                    <a:lnTo>
                      <a:pt x="5436" y="1364"/>
                    </a:lnTo>
                    <a:lnTo>
                      <a:pt x="5384" y="1294"/>
                    </a:lnTo>
                    <a:lnTo>
                      <a:pt x="5330" y="1222"/>
                    </a:lnTo>
                    <a:lnTo>
                      <a:pt x="5282" y="1166"/>
                    </a:lnTo>
                    <a:lnTo>
                      <a:pt x="5226" y="1104"/>
                    </a:lnTo>
                    <a:lnTo>
                      <a:pt x="5148" y="1022"/>
                    </a:lnTo>
                    <a:lnTo>
                      <a:pt x="5050" y="926"/>
                    </a:lnTo>
                    <a:lnTo>
                      <a:pt x="4996" y="874"/>
                    </a:lnTo>
                    <a:lnTo>
                      <a:pt x="4936" y="820"/>
                    </a:lnTo>
                    <a:lnTo>
                      <a:pt x="4872" y="762"/>
                    </a:lnTo>
                    <a:lnTo>
                      <a:pt x="4804" y="706"/>
                    </a:lnTo>
                    <a:lnTo>
                      <a:pt x="4734" y="646"/>
                    </a:lnTo>
                    <a:lnTo>
                      <a:pt x="4658" y="588"/>
                    </a:lnTo>
                    <a:lnTo>
                      <a:pt x="4580" y="530"/>
                    </a:lnTo>
                    <a:lnTo>
                      <a:pt x="4500" y="472"/>
                    </a:lnTo>
                    <a:lnTo>
                      <a:pt x="4416" y="414"/>
                    </a:lnTo>
                    <a:lnTo>
                      <a:pt x="4328" y="360"/>
                    </a:lnTo>
                    <a:lnTo>
                      <a:pt x="4238" y="306"/>
                    </a:lnTo>
                    <a:lnTo>
                      <a:pt x="4146" y="256"/>
                    </a:lnTo>
                    <a:lnTo>
                      <a:pt x="4052" y="210"/>
                    </a:lnTo>
                    <a:lnTo>
                      <a:pt x="3954" y="166"/>
                    </a:lnTo>
                    <a:lnTo>
                      <a:pt x="3856" y="126"/>
                    </a:lnTo>
                    <a:lnTo>
                      <a:pt x="3806" y="108"/>
                    </a:lnTo>
                    <a:lnTo>
                      <a:pt x="3756" y="90"/>
                    </a:lnTo>
                    <a:lnTo>
                      <a:pt x="3704" y="74"/>
                    </a:lnTo>
                    <a:lnTo>
                      <a:pt x="3652" y="60"/>
                    </a:lnTo>
                    <a:lnTo>
                      <a:pt x="3602" y="48"/>
                    </a:lnTo>
                    <a:lnTo>
                      <a:pt x="3550" y="36"/>
                    </a:lnTo>
                    <a:lnTo>
                      <a:pt x="3498" y="26"/>
                    </a:lnTo>
                    <a:lnTo>
                      <a:pt x="3444" y="18"/>
                    </a:lnTo>
                    <a:lnTo>
                      <a:pt x="3392" y="10"/>
                    </a:lnTo>
                    <a:lnTo>
                      <a:pt x="3338" y="4"/>
                    </a:lnTo>
                    <a:lnTo>
                      <a:pt x="3286" y="2"/>
                    </a:lnTo>
                    <a:lnTo>
                      <a:pt x="3232" y="0"/>
                    </a:lnTo>
                    <a:lnTo>
                      <a:pt x="3178" y="0"/>
                    </a:lnTo>
                    <a:lnTo>
                      <a:pt x="3124" y="2"/>
                    </a:lnTo>
                    <a:lnTo>
                      <a:pt x="3072" y="6"/>
                    </a:lnTo>
                    <a:lnTo>
                      <a:pt x="3020" y="10"/>
                    </a:lnTo>
                    <a:lnTo>
                      <a:pt x="2970" y="16"/>
                    </a:lnTo>
                    <a:lnTo>
                      <a:pt x="2920" y="24"/>
                    </a:lnTo>
                    <a:lnTo>
                      <a:pt x="2874" y="32"/>
                    </a:lnTo>
                    <a:lnTo>
                      <a:pt x="2828" y="42"/>
                    </a:lnTo>
                    <a:lnTo>
                      <a:pt x="2784" y="52"/>
                    </a:lnTo>
                    <a:lnTo>
                      <a:pt x="2740" y="64"/>
                    </a:lnTo>
                    <a:lnTo>
                      <a:pt x="2700" y="76"/>
                    </a:lnTo>
                    <a:lnTo>
                      <a:pt x="2660" y="90"/>
                    </a:lnTo>
                    <a:lnTo>
                      <a:pt x="2620" y="104"/>
                    </a:lnTo>
                    <a:lnTo>
                      <a:pt x="2582" y="120"/>
                    </a:lnTo>
                    <a:lnTo>
                      <a:pt x="2546" y="136"/>
                    </a:lnTo>
                    <a:lnTo>
                      <a:pt x="2510" y="154"/>
                    </a:lnTo>
                    <a:lnTo>
                      <a:pt x="2476" y="172"/>
                    </a:lnTo>
                    <a:lnTo>
                      <a:pt x="2442" y="192"/>
                    </a:lnTo>
                    <a:lnTo>
                      <a:pt x="2410" y="212"/>
                    </a:lnTo>
                    <a:lnTo>
                      <a:pt x="2378" y="232"/>
                    </a:lnTo>
                    <a:lnTo>
                      <a:pt x="2318" y="276"/>
                    </a:lnTo>
                    <a:lnTo>
                      <a:pt x="2262" y="322"/>
                    </a:lnTo>
                    <a:lnTo>
                      <a:pt x="2210" y="372"/>
                    </a:lnTo>
                    <a:lnTo>
                      <a:pt x="2160" y="424"/>
                    </a:lnTo>
                    <a:lnTo>
                      <a:pt x="2114" y="478"/>
                    </a:lnTo>
                    <a:lnTo>
                      <a:pt x="2068" y="534"/>
                    </a:lnTo>
                    <a:lnTo>
                      <a:pt x="2026" y="592"/>
                    </a:lnTo>
                    <a:lnTo>
                      <a:pt x="1986" y="652"/>
                    </a:lnTo>
                    <a:lnTo>
                      <a:pt x="1946" y="714"/>
                    </a:lnTo>
                    <a:lnTo>
                      <a:pt x="1910" y="776"/>
                    </a:lnTo>
                    <a:lnTo>
                      <a:pt x="1872" y="838"/>
                    </a:lnTo>
                    <a:lnTo>
                      <a:pt x="1802" y="966"/>
                    </a:lnTo>
                    <a:lnTo>
                      <a:pt x="1732" y="1096"/>
                    </a:lnTo>
                    <a:lnTo>
                      <a:pt x="1660" y="1226"/>
                    </a:lnTo>
                    <a:lnTo>
                      <a:pt x="1624" y="1290"/>
                    </a:lnTo>
                    <a:lnTo>
                      <a:pt x="1586" y="1354"/>
                    </a:lnTo>
                    <a:lnTo>
                      <a:pt x="1546" y="1416"/>
                    </a:lnTo>
                    <a:lnTo>
                      <a:pt x="1504" y="1478"/>
                    </a:lnTo>
                    <a:lnTo>
                      <a:pt x="1460" y="1538"/>
                    </a:lnTo>
                    <a:lnTo>
                      <a:pt x="1416" y="1596"/>
                    </a:lnTo>
                    <a:lnTo>
                      <a:pt x="1394" y="1616"/>
                    </a:lnTo>
                    <a:lnTo>
                      <a:pt x="1366" y="1640"/>
                    </a:lnTo>
                    <a:lnTo>
                      <a:pt x="1332" y="1666"/>
                    </a:lnTo>
                    <a:lnTo>
                      <a:pt x="1290" y="1692"/>
                    </a:lnTo>
                    <a:lnTo>
                      <a:pt x="1244" y="1720"/>
                    </a:lnTo>
                    <a:lnTo>
                      <a:pt x="1192" y="1752"/>
                    </a:lnTo>
                    <a:lnTo>
                      <a:pt x="1074" y="1816"/>
                    </a:lnTo>
                    <a:lnTo>
                      <a:pt x="806" y="1962"/>
                    </a:lnTo>
                    <a:lnTo>
                      <a:pt x="666" y="2040"/>
                    </a:lnTo>
                    <a:lnTo>
                      <a:pt x="526" y="2122"/>
                    </a:lnTo>
                    <a:lnTo>
                      <a:pt x="458" y="2164"/>
                    </a:lnTo>
                    <a:lnTo>
                      <a:pt x="394" y="2206"/>
                    </a:lnTo>
                    <a:lnTo>
                      <a:pt x="330" y="2248"/>
                    </a:lnTo>
                    <a:lnTo>
                      <a:pt x="272" y="2292"/>
                    </a:lnTo>
                    <a:lnTo>
                      <a:pt x="218" y="2334"/>
                    </a:lnTo>
                    <a:lnTo>
                      <a:pt x="168" y="2378"/>
                    </a:lnTo>
                    <a:lnTo>
                      <a:pt x="122" y="2420"/>
                    </a:lnTo>
                    <a:lnTo>
                      <a:pt x="84" y="2464"/>
                    </a:lnTo>
                    <a:lnTo>
                      <a:pt x="66" y="2486"/>
                    </a:lnTo>
                    <a:lnTo>
                      <a:pt x="52" y="2506"/>
                    </a:lnTo>
                    <a:lnTo>
                      <a:pt x="38" y="2528"/>
                    </a:lnTo>
                    <a:lnTo>
                      <a:pt x="26" y="2550"/>
                    </a:lnTo>
                    <a:lnTo>
                      <a:pt x="16" y="2570"/>
                    </a:lnTo>
                    <a:lnTo>
                      <a:pt x="10" y="2592"/>
                    </a:lnTo>
                    <a:lnTo>
                      <a:pt x="4" y="2612"/>
                    </a:lnTo>
                    <a:lnTo>
                      <a:pt x="0" y="2632"/>
                    </a:lnTo>
                    <a:lnTo>
                      <a:pt x="0" y="2654"/>
                    </a:lnTo>
                    <a:lnTo>
                      <a:pt x="0" y="2674"/>
                    </a:lnTo>
                    <a:lnTo>
                      <a:pt x="4" y="2694"/>
                    </a:lnTo>
                    <a:lnTo>
                      <a:pt x="10" y="2714"/>
                    </a:lnTo>
                    <a:lnTo>
                      <a:pt x="18" y="2734"/>
                    </a:lnTo>
                    <a:lnTo>
                      <a:pt x="30" y="2754"/>
                    </a:lnTo>
                    <a:lnTo>
                      <a:pt x="44" y="2774"/>
                    </a:lnTo>
                    <a:lnTo>
                      <a:pt x="60" y="2792"/>
                    </a:lnTo>
                    <a:lnTo>
                      <a:pt x="80" y="2746"/>
                    </a:lnTo>
                    <a:lnTo>
                      <a:pt x="134" y="2670"/>
                    </a:lnTo>
                    <a:lnTo>
                      <a:pt x="188" y="2600"/>
                    </a:lnTo>
                    <a:lnTo>
                      <a:pt x="242" y="2532"/>
                    </a:lnTo>
                    <a:lnTo>
                      <a:pt x="300" y="2470"/>
                    </a:lnTo>
                    <a:lnTo>
                      <a:pt x="358" y="2412"/>
                    </a:lnTo>
                    <a:lnTo>
                      <a:pt x="416" y="2358"/>
                    </a:lnTo>
                    <a:lnTo>
                      <a:pt x="476" y="2308"/>
                    </a:lnTo>
                    <a:lnTo>
                      <a:pt x="538" y="2262"/>
                    </a:lnTo>
                    <a:lnTo>
                      <a:pt x="600" y="2218"/>
                    </a:lnTo>
                    <a:lnTo>
                      <a:pt x="664" y="2178"/>
                    </a:lnTo>
                    <a:lnTo>
                      <a:pt x="730" y="2142"/>
                    </a:lnTo>
                    <a:lnTo>
                      <a:pt x="796" y="2106"/>
                    </a:lnTo>
                    <a:lnTo>
                      <a:pt x="862" y="2076"/>
                    </a:lnTo>
                    <a:lnTo>
                      <a:pt x="930" y="2046"/>
                    </a:lnTo>
                    <a:lnTo>
                      <a:pt x="1000" y="2018"/>
                    </a:lnTo>
                    <a:lnTo>
                      <a:pt x="1070" y="1994"/>
                    </a:lnTo>
                    <a:lnTo>
                      <a:pt x="1142" y="1970"/>
                    </a:lnTo>
                    <a:lnTo>
                      <a:pt x="1214" y="1950"/>
                    </a:lnTo>
                    <a:lnTo>
                      <a:pt x="1288" y="1930"/>
                    </a:lnTo>
                    <a:lnTo>
                      <a:pt x="1362" y="1910"/>
                    </a:lnTo>
                    <a:lnTo>
                      <a:pt x="1438" y="1894"/>
                    </a:lnTo>
                    <a:lnTo>
                      <a:pt x="1514" y="1876"/>
                    </a:lnTo>
                    <a:lnTo>
                      <a:pt x="1670" y="1846"/>
                    </a:lnTo>
                    <a:lnTo>
                      <a:pt x="1832" y="1816"/>
                    </a:lnTo>
                    <a:lnTo>
                      <a:pt x="1996" y="1786"/>
                    </a:lnTo>
                    <a:lnTo>
                      <a:pt x="2164" y="1756"/>
                    </a:lnTo>
                    <a:lnTo>
                      <a:pt x="2336" y="172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113" name="Gruppe 16"/>
          <p:cNvGrpSpPr>
            <a:grpSpLocks/>
          </p:cNvGrpSpPr>
          <p:nvPr/>
        </p:nvGrpSpPr>
        <p:grpSpPr bwMode="auto">
          <a:xfrm rot="-3512246">
            <a:off x="1624087" y="4255777"/>
            <a:ext cx="463550" cy="273050"/>
            <a:chOff x="-1876607" y="-2919867"/>
            <a:chExt cx="11135373" cy="5998814"/>
          </a:xfrm>
          <a:gradFill>
            <a:gsLst>
              <a:gs pos="0">
                <a:srgbClr val="00B050"/>
              </a:gs>
              <a:gs pos="50000">
                <a:schemeClr val="accent2">
                  <a:lumMod val="75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grpSpPr>
        <p:sp>
          <p:nvSpPr>
            <p:cNvPr id="114" name="Freeform 6"/>
            <p:cNvSpPr>
              <a:spLocks/>
            </p:cNvSpPr>
            <p:nvPr/>
          </p:nvSpPr>
          <p:spPr bwMode="auto">
            <a:xfrm>
              <a:off x="-1470259" y="-3337461"/>
              <a:ext cx="10792147" cy="5998814"/>
            </a:xfrm>
            <a:custGeom>
              <a:avLst/>
              <a:gdLst>
                <a:gd name="T0" fmla="*/ 5438 w 7036"/>
                <a:gd name="T1" fmla="*/ 1364 h 3760"/>
                <a:gd name="T2" fmla="*/ 5644 w 7036"/>
                <a:gd name="T3" fmla="*/ 1612 h 3760"/>
                <a:gd name="T4" fmla="*/ 5850 w 7036"/>
                <a:gd name="T5" fmla="*/ 1824 h 3760"/>
                <a:gd name="T6" fmla="*/ 6160 w 7036"/>
                <a:gd name="T7" fmla="*/ 2088 h 3760"/>
                <a:gd name="T8" fmla="*/ 6584 w 7036"/>
                <a:gd name="T9" fmla="*/ 2390 h 3760"/>
                <a:gd name="T10" fmla="*/ 7036 w 7036"/>
                <a:gd name="T11" fmla="*/ 2696 h 3760"/>
                <a:gd name="T12" fmla="*/ 5784 w 7036"/>
                <a:gd name="T13" fmla="*/ 3094 h 3760"/>
                <a:gd name="T14" fmla="*/ 4056 w 7036"/>
                <a:gd name="T15" fmla="*/ 3600 h 3760"/>
                <a:gd name="T16" fmla="*/ 3546 w 7036"/>
                <a:gd name="T17" fmla="*/ 3734 h 3760"/>
                <a:gd name="T18" fmla="*/ 3242 w 7036"/>
                <a:gd name="T19" fmla="*/ 3756 h 3760"/>
                <a:gd name="T20" fmla="*/ 2782 w 7036"/>
                <a:gd name="T21" fmla="*/ 3750 h 3760"/>
                <a:gd name="T22" fmla="*/ 2492 w 7036"/>
                <a:gd name="T23" fmla="*/ 3716 h 3760"/>
                <a:gd name="T24" fmla="*/ 2210 w 7036"/>
                <a:gd name="T25" fmla="*/ 3654 h 3760"/>
                <a:gd name="T26" fmla="*/ 1960 w 7036"/>
                <a:gd name="T27" fmla="*/ 3550 h 3760"/>
                <a:gd name="T28" fmla="*/ 1832 w 7036"/>
                <a:gd name="T29" fmla="*/ 3462 h 3760"/>
                <a:gd name="T30" fmla="*/ 1750 w 7036"/>
                <a:gd name="T31" fmla="*/ 3378 h 3760"/>
                <a:gd name="T32" fmla="*/ 1638 w 7036"/>
                <a:gd name="T33" fmla="*/ 3208 h 3760"/>
                <a:gd name="T34" fmla="*/ 1508 w 7036"/>
                <a:gd name="T35" fmla="*/ 2948 h 3760"/>
                <a:gd name="T36" fmla="*/ 1434 w 7036"/>
                <a:gd name="T37" fmla="*/ 2732 h 3760"/>
                <a:gd name="T38" fmla="*/ 1382 w 7036"/>
                <a:gd name="T39" fmla="*/ 2480 h 3760"/>
                <a:gd name="T40" fmla="*/ 1344 w 7036"/>
                <a:gd name="T41" fmla="*/ 2330 h 3760"/>
                <a:gd name="T42" fmla="*/ 1284 w 7036"/>
                <a:gd name="T43" fmla="*/ 2244 h 3760"/>
                <a:gd name="T44" fmla="*/ 1176 w 7036"/>
                <a:gd name="T45" fmla="*/ 2182 h 3760"/>
                <a:gd name="T46" fmla="*/ 1048 w 7036"/>
                <a:gd name="T47" fmla="*/ 2152 h 3760"/>
                <a:gd name="T48" fmla="*/ 928 w 7036"/>
                <a:gd name="T49" fmla="*/ 2168 h 3760"/>
                <a:gd name="T50" fmla="*/ 784 w 7036"/>
                <a:gd name="T51" fmla="*/ 2238 h 3760"/>
                <a:gd name="T52" fmla="*/ 548 w 7036"/>
                <a:gd name="T53" fmla="*/ 2406 h 3760"/>
                <a:gd name="T54" fmla="*/ 206 w 7036"/>
                <a:gd name="T55" fmla="*/ 2712 h 3760"/>
                <a:gd name="T56" fmla="*/ 88 w 7036"/>
                <a:gd name="T57" fmla="*/ 2816 h 3760"/>
                <a:gd name="T58" fmla="*/ 34 w 7036"/>
                <a:gd name="T59" fmla="*/ 2758 h 3760"/>
                <a:gd name="T60" fmla="*/ 2 w 7036"/>
                <a:gd name="T61" fmla="*/ 2676 h 3760"/>
                <a:gd name="T62" fmla="*/ 10 w 7036"/>
                <a:gd name="T63" fmla="*/ 2592 h 3760"/>
                <a:gd name="T64" fmla="*/ 54 w 7036"/>
                <a:gd name="T65" fmla="*/ 2506 h 3760"/>
                <a:gd name="T66" fmla="*/ 150 w 7036"/>
                <a:gd name="T67" fmla="*/ 2396 h 3760"/>
                <a:gd name="T68" fmla="*/ 372 w 7036"/>
                <a:gd name="T69" fmla="*/ 2222 h 3760"/>
                <a:gd name="T70" fmla="*/ 648 w 7036"/>
                <a:gd name="T71" fmla="*/ 2052 h 3760"/>
                <a:gd name="T72" fmla="*/ 1240 w 7036"/>
                <a:gd name="T73" fmla="*/ 1724 h 3760"/>
                <a:gd name="T74" fmla="*/ 1396 w 7036"/>
                <a:gd name="T75" fmla="*/ 1618 h 3760"/>
                <a:gd name="T76" fmla="*/ 1506 w 7036"/>
                <a:gd name="T77" fmla="*/ 1478 h 3760"/>
                <a:gd name="T78" fmla="*/ 1662 w 7036"/>
                <a:gd name="T79" fmla="*/ 1226 h 3760"/>
                <a:gd name="T80" fmla="*/ 1912 w 7036"/>
                <a:gd name="T81" fmla="*/ 776 h 3760"/>
                <a:gd name="T82" fmla="*/ 2070 w 7036"/>
                <a:gd name="T83" fmla="*/ 534 h 3760"/>
                <a:gd name="T84" fmla="*/ 2264 w 7036"/>
                <a:gd name="T85" fmla="*/ 322 h 3760"/>
                <a:gd name="T86" fmla="*/ 2444 w 7036"/>
                <a:gd name="T87" fmla="*/ 192 h 3760"/>
                <a:gd name="T88" fmla="*/ 2584 w 7036"/>
                <a:gd name="T89" fmla="*/ 120 h 3760"/>
                <a:gd name="T90" fmla="*/ 2742 w 7036"/>
                <a:gd name="T91" fmla="*/ 64 h 3760"/>
                <a:gd name="T92" fmla="*/ 2922 w 7036"/>
                <a:gd name="T93" fmla="*/ 24 h 3760"/>
                <a:gd name="T94" fmla="*/ 3126 w 7036"/>
                <a:gd name="T95" fmla="*/ 2 h 3760"/>
                <a:gd name="T96" fmla="*/ 3288 w 7036"/>
                <a:gd name="T97" fmla="*/ 2 h 3760"/>
                <a:gd name="T98" fmla="*/ 3500 w 7036"/>
                <a:gd name="T99" fmla="*/ 26 h 3760"/>
                <a:gd name="T100" fmla="*/ 3706 w 7036"/>
                <a:gd name="T101" fmla="*/ 74 h 3760"/>
                <a:gd name="T102" fmla="*/ 3956 w 7036"/>
                <a:gd name="T103" fmla="*/ 166 h 3760"/>
                <a:gd name="T104" fmla="*/ 4330 w 7036"/>
                <a:gd name="T105" fmla="*/ 360 h 3760"/>
                <a:gd name="T106" fmla="*/ 4660 w 7036"/>
                <a:gd name="T107" fmla="*/ 588 h 3760"/>
                <a:gd name="T108" fmla="*/ 4938 w 7036"/>
                <a:gd name="T109" fmla="*/ 820 h 3760"/>
                <a:gd name="T110" fmla="*/ 5228 w 7036"/>
                <a:gd name="T111" fmla="*/ 1104 h 376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036"/>
                <a:gd name="T169" fmla="*/ 0 h 3760"/>
                <a:gd name="T170" fmla="*/ 7036 w 7036"/>
                <a:gd name="T171" fmla="*/ 3760 h 376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036" h="3760">
                  <a:moveTo>
                    <a:pt x="5332" y="1222"/>
                  </a:moveTo>
                  <a:lnTo>
                    <a:pt x="5332" y="1222"/>
                  </a:lnTo>
                  <a:lnTo>
                    <a:pt x="5386" y="1294"/>
                  </a:lnTo>
                  <a:lnTo>
                    <a:pt x="5438" y="1364"/>
                  </a:lnTo>
                  <a:lnTo>
                    <a:pt x="5490" y="1430"/>
                  </a:lnTo>
                  <a:lnTo>
                    <a:pt x="5542" y="1494"/>
                  </a:lnTo>
                  <a:lnTo>
                    <a:pt x="5594" y="1554"/>
                  </a:lnTo>
                  <a:lnTo>
                    <a:pt x="5644" y="1612"/>
                  </a:lnTo>
                  <a:lnTo>
                    <a:pt x="5696" y="1668"/>
                  </a:lnTo>
                  <a:lnTo>
                    <a:pt x="5748" y="1722"/>
                  </a:lnTo>
                  <a:lnTo>
                    <a:pt x="5800" y="1774"/>
                  </a:lnTo>
                  <a:lnTo>
                    <a:pt x="5850" y="1824"/>
                  </a:lnTo>
                  <a:lnTo>
                    <a:pt x="5902" y="1872"/>
                  </a:lnTo>
                  <a:lnTo>
                    <a:pt x="5954" y="1918"/>
                  </a:lnTo>
                  <a:lnTo>
                    <a:pt x="6056" y="2006"/>
                  </a:lnTo>
                  <a:lnTo>
                    <a:pt x="6160" y="2088"/>
                  </a:lnTo>
                  <a:lnTo>
                    <a:pt x="6264" y="2168"/>
                  </a:lnTo>
                  <a:lnTo>
                    <a:pt x="6370" y="2242"/>
                  </a:lnTo>
                  <a:lnTo>
                    <a:pt x="6476" y="2316"/>
                  </a:lnTo>
                  <a:lnTo>
                    <a:pt x="6584" y="2390"/>
                  </a:lnTo>
                  <a:lnTo>
                    <a:pt x="6806" y="2538"/>
                  </a:lnTo>
                  <a:lnTo>
                    <a:pt x="6920" y="2616"/>
                  </a:lnTo>
                  <a:lnTo>
                    <a:pt x="7036" y="2696"/>
                  </a:lnTo>
                  <a:lnTo>
                    <a:pt x="6882" y="2748"/>
                  </a:lnTo>
                  <a:lnTo>
                    <a:pt x="6700" y="2808"/>
                  </a:lnTo>
                  <a:lnTo>
                    <a:pt x="6272" y="2944"/>
                  </a:lnTo>
                  <a:lnTo>
                    <a:pt x="5784" y="3094"/>
                  </a:lnTo>
                  <a:lnTo>
                    <a:pt x="5266" y="3250"/>
                  </a:lnTo>
                  <a:lnTo>
                    <a:pt x="4752" y="3400"/>
                  </a:lnTo>
                  <a:lnTo>
                    <a:pt x="4272" y="3538"/>
                  </a:lnTo>
                  <a:lnTo>
                    <a:pt x="4056" y="3600"/>
                  </a:lnTo>
                  <a:lnTo>
                    <a:pt x="3860" y="3652"/>
                  </a:lnTo>
                  <a:lnTo>
                    <a:pt x="3690" y="3698"/>
                  </a:lnTo>
                  <a:lnTo>
                    <a:pt x="3546" y="3734"/>
                  </a:lnTo>
                  <a:lnTo>
                    <a:pt x="3502" y="3740"/>
                  </a:lnTo>
                  <a:lnTo>
                    <a:pt x="3434" y="3746"/>
                  </a:lnTo>
                  <a:lnTo>
                    <a:pt x="3346" y="3752"/>
                  </a:lnTo>
                  <a:lnTo>
                    <a:pt x="3242" y="3756"/>
                  </a:lnTo>
                  <a:lnTo>
                    <a:pt x="3122" y="3760"/>
                  </a:lnTo>
                  <a:lnTo>
                    <a:pt x="2992" y="3758"/>
                  </a:lnTo>
                  <a:lnTo>
                    <a:pt x="2854" y="3754"/>
                  </a:lnTo>
                  <a:lnTo>
                    <a:pt x="2782" y="3750"/>
                  </a:lnTo>
                  <a:lnTo>
                    <a:pt x="2710" y="3744"/>
                  </a:lnTo>
                  <a:lnTo>
                    <a:pt x="2638" y="3736"/>
                  </a:lnTo>
                  <a:lnTo>
                    <a:pt x="2564" y="3728"/>
                  </a:lnTo>
                  <a:lnTo>
                    <a:pt x="2492" y="3716"/>
                  </a:lnTo>
                  <a:lnTo>
                    <a:pt x="2420" y="3704"/>
                  </a:lnTo>
                  <a:lnTo>
                    <a:pt x="2348" y="3690"/>
                  </a:lnTo>
                  <a:lnTo>
                    <a:pt x="2278" y="3672"/>
                  </a:lnTo>
                  <a:lnTo>
                    <a:pt x="2210" y="3654"/>
                  </a:lnTo>
                  <a:lnTo>
                    <a:pt x="2144" y="3632"/>
                  </a:lnTo>
                  <a:lnTo>
                    <a:pt x="2080" y="3608"/>
                  </a:lnTo>
                  <a:lnTo>
                    <a:pt x="2018" y="3580"/>
                  </a:lnTo>
                  <a:lnTo>
                    <a:pt x="1960" y="3550"/>
                  </a:lnTo>
                  <a:lnTo>
                    <a:pt x="1906" y="3518"/>
                  </a:lnTo>
                  <a:lnTo>
                    <a:pt x="1880" y="3500"/>
                  </a:lnTo>
                  <a:lnTo>
                    <a:pt x="1856" y="3482"/>
                  </a:lnTo>
                  <a:lnTo>
                    <a:pt x="1832" y="3462"/>
                  </a:lnTo>
                  <a:lnTo>
                    <a:pt x="1810" y="3444"/>
                  </a:lnTo>
                  <a:lnTo>
                    <a:pt x="1788" y="3422"/>
                  </a:lnTo>
                  <a:lnTo>
                    <a:pt x="1768" y="3400"/>
                  </a:lnTo>
                  <a:lnTo>
                    <a:pt x="1750" y="3378"/>
                  </a:lnTo>
                  <a:lnTo>
                    <a:pt x="1732" y="3356"/>
                  </a:lnTo>
                  <a:lnTo>
                    <a:pt x="1682" y="3280"/>
                  </a:lnTo>
                  <a:lnTo>
                    <a:pt x="1638" y="3208"/>
                  </a:lnTo>
                  <a:lnTo>
                    <a:pt x="1600" y="3138"/>
                  </a:lnTo>
                  <a:lnTo>
                    <a:pt x="1564" y="3072"/>
                  </a:lnTo>
                  <a:lnTo>
                    <a:pt x="1534" y="3010"/>
                  </a:lnTo>
                  <a:lnTo>
                    <a:pt x="1508" y="2948"/>
                  </a:lnTo>
                  <a:lnTo>
                    <a:pt x="1484" y="2890"/>
                  </a:lnTo>
                  <a:lnTo>
                    <a:pt x="1466" y="2836"/>
                  </a:lnTo>
                  <a:lnTo>
                    <a:pt x="1448" y="2782"/>
                  </a:lnTo>
                  <a:lnTo>
                    <a:pt x="1434" y="2732"/>
                  </a:lnTo>
                  <a:lnTo>
                    <a:pt x="1422" y="2684"/>
                  </a:lnTo>
                  <a:lnTo>
                    <a:pt x="1412" y="2640"/>
                  </a:lnTo>
                  <a:lnTo>
                    <a:pt x="1396" y="2556"/>
                  </a:lnTo>
                  <a:lnTo>
                    <a:pt x="1382" y="2480"/>
                  </a:lnTo>
                  <a:lnTo>
                    <a:pt x="1368" y="2414"/>
                  </a:lnTo>
                  <a:lnTo>
                    <a:pt x="1362" y="2384"/>
                  </a:lnTo>
                  <a:lnTo>
                    <a:pt x="1354" y="2356"/>
                  </a:lnTo>
                  <a:lnTo>
                    <a:pt x="1344" y="2330"/>
                  </a:lnTo>
                  <a:lnTo>
                    <a:pt x="1332" y="2306"/>
                  </a:lnTo>
                  <a:lnTo>
                    <a:pt x="1318" y="2284"/>
                  </a:lnTo>
                  <a:lnTo>
                    <a:pt x="1302" y="2264"/>
                  </a:lnTo>
                  <a:lnTo>
                    <a:pt x="1284" y="2244"/>
                  </a:lnTo>
                  <a:lnTo>
                    <a:pt x="1262" y="2226"/>
                  </a:lnTo>
                  <a:lnTo>
                    <a:pt x="1238" y="2210"/>
                  </a:lnTo>
                  <a:lnTo>
                    <a:pt x="1208" y="2196"/>
                  </a:lnTo>
                  <a:lnTo>
                    <a:pt x="1176" y="2182"/>
                  </a:lnTo>
                  <a:lnTo>
                    <a:pt x="1138" y="2172"/>
                  </a:lnTo>
                  <a:lnTo>
                    <a:pt x="1096" y="2160"/>
                  </a:lnTo>
                  <a:lnTo>
                    <a:pt x="1048" y="2152"/>
                  </a:lnTo>
                  <a:lnTo>
                    <a:pt x="1020" y="2150"/>
                  </a:lnTo>
                  <a:lnTo>
                    <a:pt x="992" y="2152"/>
                  </a:lnTo>
                  <a:lnTo>
                    <a:pt x="962" y="2158"/>
                  </a:lnTo>
                  <a:lnTo>
                    <a:pt x="928" y="2168"/>
                  </a:lnTo>
                  <a:lnTo>
                    <a:pt x="894" y="2180"/>
                  </a:lnTo>
                  <a:lnTo>
                    <a:pt x="858" y="2198"/>
                  </a:lnTo>
                  <a:lnTo>
                    <a:pt x="822" y="2216"/>
                  </a:lnTo>
                  <a:lnTo>
                    <a:pt x="784" y="2238"/>
                  </a:lnTo>
                  <a:lnTo>
                    <a:pt x="746" y="2262"/>
                  </a:lnTo>
                  <a:lnTo>
                    <a:pt x="706" y="2288"/>
                  </a:lnTo>
                  <a:lnTo>
                    <a:pt x="628" y="2346"/>
                  </a:lnTo>
                  <a:lnTo>
                    <a:pt x="548" y="2406"/>
                  </a:lnTo>
                  <a:lnTo>
                    <a:pt x="470" y="2472"/>
                  </a:lnTo>
                  <a:lnTo>
                    <a:pt x="396" y="2536"/>
                  </a:lnTo>
                  <a:lnTo>
                    <a:pt x="326" y="2600"/>
                  </a:lnTo>
                  <a:lnTo>
                    <a:pt x="206" y="2712"/>
                  </a:lnTo>
                  <a:lnTo>
                    <a:pt x="122" y="2790"/>
                  </a:lnTo>
                  <a:lnTo>
                    <a:pt x="98" y="2810"/>
                  </a:lnTo>
                  <a:lnTo>
                    <a:pt x="90" y="2816"/>
                  </a:lnTo>
                  <a:lnTo>
                    <a:pt x="88" y="2816"/>
                  </a:lnTo>
                  <a:lnTo>
                    <a:pt x="66" y="2798"/>
                  </a:lnTo>
                  <a:lnTo>
                    <a:pt x="50" y="2778"/>
                  </a:lnTo>
                  <a:lnTo>
                    <a:pt x="34" y="2758"/>
                  </a:lnTo>
                  <a:lnTo>
                    <a:pt x="22" y="2738"/>
                  </a:lnTo>
                  <a:lnTo>
                    <a:pt x="14" y="2718"/>
                  </a:lnTo>
                  <a:lnTo>
                    <a:pt x="6" y="2698"/>
                  </a:lnTo>
                  <a:lnTo>
                    <a:pt x="2" y="2676"/>
                  </a:lnTo>
                  <a:lnTo>
                    <a:pt x="0" y="2656"/>
                  </a:lnTo>
                  <a:lnTo>
                    <a:pt x="2" y="2634"/>
                  </a:lnTo>
                  <a:lnTo>
                    <a:pt x="6" y="2614"/>
                  </a:lnTo>
                  <a:lnTo>
                    <a:pt x="10" y="2592"/>
                  </a:lnTo>
                  <a:lnTo>
                    <a:pt x="18" y="2570"/>
                  </a:lnTo>
                  <a:lnTo>
                    <a:pt x="28" y="2550"/>
                  </a:lnTo>
                  <a:lnTo>
                    <a:pt x="40" y="2528"/>
                  </a:lnTo>
                  <a:lnTo>
                    <a:pt x="54" y="2506"/>
                  </a:lnTo>
                  <a:lnTo>
                    <a:pt x="70" y="2484"/>
                  </a:lnTo>
                  <a:lnTo>
                    <a:pt x="86" y="2462"/>
                  </a:lnTo>
                  <a:lnTo>
                    <a:pt x="106" y="2440"/>
                  </a:lnTo>
                  <a:lnTo>
                    <a:pt x="150" y="2396"/>
                  </a:lnTo>
                  <a:lnTo>
                    <a:pt x="198" y="2352"/>
                  </a:lnTo>
                  <a:lnTo>
                    <a:pt x="252" y="2308"/>
                  </a:lnTo>
                  <a:lnTo>
                    <a:pt x="310" y="2264"/>
                  </a:lnTo>
                  <a:lnTo>
                    <a:pt x="372" y="2222"/>
                  </a:lnTo>
                  <a:lnTo>
                    <a:pt x="438" y="2178"/>
                  </a:lnTo>
                  <a:lnTo>
                    <a:pt x="506" y="2136"/>
                  </a:lnTo>
                  <a:lnTo>
                    <a:pt x="576" y="2092"/>
                  </a:lnTo>
                  <a:lnTo>
                    <a:pt x="648" y="2052"/>
                  </a:lnTo>
                  <a:lnTo>
                    <a:pt x="792" y="1970"/>
                  </a:lnTo>
                  <a:lnTo>
                    <a:pt x="1066" y="1822"/>
                  </a:lnTo>
                  <a:lnTo>
                    <a:pt x="1186" y="1754"/>
                  </a:lnTo>
                  <a:lnTo>
                    <a:pt x="1240" y="1724"/>
                  </a:lnTo>
                  <a:lnTo>
                    <a:pt x="1288" y="1694"/>
                  </a:lnTo>
                  <a:lnTo>
                    <a:pt x="1332" y="1666"/>
                  </a:lnTo>
                  <a:lnTo>
                    <a:pt x="1368" y="1640"/>
                  </a:lnTo>
                  <a:lnTo>
                    <a:pt x="1396" y="1618"/>
                  </a:lnTo>
                  <a:lnTo>
                    <a:pt x="1418" y="1596"/>
                  </a:lnTo>
                  <a:lnTo>
                    <a:pt x="1462" y="1538"/>
                  </a:lnTo>
                  <a:lnTo>
                    <a:pt x="1506" y="1478"/>
                  </a:lnTo>
                  <a:lnTo>
                    <a:pt x="1548" y="1416"/>
                  </a:lnTo>
                  <a:lnTo>
                    <a:pt x="1588" y="1354"/>
                  </a:lnTo>
                  <a:lnTo>
                    <a:pt x="1626" y="1290"/>
                  </a:lnTo>
                  <a:lnTo>
                    <a:pt x="1662" y="1226"/>
                  </a:lnTo>
                  <a:lnTo>
                    <a:pt x="1734" y="1096"/>
                  </a:lnTo>
                  <a:lnTo>
                    <a:pt x="1804" y="966"/>
                  </a:lnTo>
                  <a:lnTo>
                    <a:pt x="1874" y="838"/>
                  </a:lnTo>
                  <a:lnTo>
                    <a:pt x="1912" y="776"/>
                  </a:lnTo>
                  <a:lnTo>
                    <a:pt x="1948" y="714"/>
                  </a:lnTo>
                  <a:lnTo>
                    <a:pt x="1988" y="652"/>
                  </a:lnTo>
                  <a:lnTo>
                    <a:pt x="2028" y="592"/>
                  </a:lnTo>
                  <a:lnTo>
                    <a:pt x="2070" y="534"/>
                  </a:lnTo>
                  <a:lnTo>
                    <a:pt x="2116" y="478"/>
                  </a:lnTo>
                  <a:lnTo>
                    <a:pt x="2162" y="424"/>
                  </a:lnTo>
                  <a:lnTo>
                    <a:pt x="2212" y="372"/>
                  </a:lnTo>
                  <a:lnTo>
                    <a:pt x="2264" y="322"/>
                  </a:lnTo>
                  <a:lnTo>
                    <a:pt x="2320" y="276"/>
                  </a:lnTo>
                  <a:lnTo>
                    <a:pt x="2380" y="232"/>
                  </a:lnTo>
                  <a:lnTo>
                    <a:pt x="2412" y="212"/>
                  </a:lnTo>
                  <a:lnTo>
                    <a:pt x="2444" y="192"/>
                  </a:lnTo>
                  <a:lnTo>
                    <a:pt x="2478" y="172"/>
                  </a:lnTo>
                  <a:lnTo>
                    <a:pt x="2512" y="154"/>
                  </a:lnTo>
                  <a:lnTo>
                    <a:pt x="2548" y="136"/>
                  </a:lnTo>
                  <a:lnTo>
                    <a:pt x="2584" y="120"/>
                  </a:lnTo>
                  <a:lnTo>
                    <a:pt x="2622" y="104"/>
                  </a:lnTo>
                  <a:lnTo>
                    <a:pt x="2662" y="90"/>
                  </a:lnTo>
                  <a:lnTo>
                    <a:pt x="2702" y="76"/>
                  </a:lnTo>
                  <a:lnTo>
                    <a:pt x="2742" y="64"/>
                  </a:lnTo>
                  <a:lnTo>
                    <a:pt x="2786" y="52"/>
                  </a:lnTo>
                  <a:lnTo>
                    <a:pt x="2830" y="42"/>
                  </a:lnTo>
                  <a:lnTo>
                    <a:pt x="2876" y="32"/>
                  </a:lnTo>
                  <a:lnTo>
                    <a:pt x="2922" y="24"/>
                  </a:lnTo>
                  <a:lnTo>
                    <a:pt x="2972" y="16"/>
                  </a:lnTo>
                  <a:lnTo>
                    <a:pt x="3022" y="10"/>
                  </a:lnTo>
                  <a:lnTo>
                    <a:pt x="3074" y="6"/>
                  </a:lnTo>
                  <a:lnTo>
                    <a:pt x="3126" y="2"/>
                  </a:lnTo>
                  <a:lnTo>
                    <a:pt x="3180" y="0"/>
                  </a:lnTo>
                  <a:lnTo>
                    <a:pt x="3234" y="0"/>
                  </a:lnTo>
                  <a:lnTo>
                    <a:pt x="3288" y="2"/>
                  </a:lnTo>
                  <a:lnTo>
                    <a:pt x="3340" y="4"/>
                  </a:lnTo>
                  <a:lnTo>
                    <a:pt x="3394" y="10"/>
                  </a:lnTo>
                  <a:lnTo>
                    <a:pt x="3446" y="18"/>
                  </a:lnTo>
                  <a:lnTo>
                    <a:pt x="3500" y="26"/>
                  </a:lnTo>
                  <a:lnTo>
                    <a:pt x="3552" y="36"/>
                  </a:lnTo>
                  <a:lnTo>
                    <a:pt x="3604" y="48"/>
                  </a:lnTo>
                  <a:lnTo>
                    <a:pt x="3654" y="60"/>
                  </a:lnTo>
                  <a:lnTo>
                    <a:pt x="3706" y="74"/>
                  </a:lnTo>
                  <a:lnTo>
                    <a:pt x="3758" y="90"/>
                  </a:lnTo>
                  <a:lnTo>
                    <a:pt x="3808" y="108"/>
                  </a:lnTo>
                  <a:lnTo>
                    <a:pt x="3858" y="126"/>
                  </a:lnTo>
                  <a:lnTo>
                    <a:pt x="3956" y="166"/>
                  </a:lnTo>
                  <a:lnTo>
                    <a:pt x="4054" y="210"/>
                  </a:lnTo>
                  <a:lnTo>
                    <a:pt x="4148" y="256"/>
                  </a:lnTo>
                  <a:lnTo>
                    <a:pt x="4240" y="306"/>
                  </a:lnTo>
                  <a:lnTo>
                    <a:pt x="4330" y="360"/>
                  </a:lnTo>
                  <a:lnTo>
                    <a:pt x="4418" y="414"/>
                  </a:lnTo>
                  <a:lnTo>
                    <a:pt x="4502" y="472"/>
                  </a:lnTo>
                  <a:lnTo>
                    <a:pt x="4582" y="530"/>
                  </a:lnTo>
                  <a:lnTo>
                    <a:pt x="4660" y="588"/>
                  </a:lnTo>
                  <a:lnTo>
                    <a:pt x="4736" y="646"/>
                  </a:lnTo>
                  <a:lnTo>
                    <a:pt x="4806" y="706"/>
                  </a:lnTo>
                  <a:lnTo>
                    <a:pt x="4874" y="762"/>
                  </a:lnTo>
                  <a:lnTo>
                    <a:pt x="4938" y="820"/>
                  </a:lnTo>
                  <a:lnTo>
                    <a:pt x="4998" y="874"/>
                  </a:lnTo>
                  <a:lnTo>
                    <a:pt x="5052" y="926"/>
                  </a:lnTo>
                  <a:lnTo>
                    <a:pt x="5150" y="1022"/>
                  </a:lnTo>
                  <a:lnTo>
                    <a:pt x="5228" y="1104"/>
                  </a:lnTo>
                  <a:lnTo>
                    <a:pt x="5284" y="1166"/>
                  </a:lnTo>
                  <a:lnTo>
                    <a:pt x="5332" y="12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15" name="Freeform 7"/>
            <p:cNvSpPr>
              <a:spLocks/>
            </p:cNvSpPr>
            <p:nvPr/>
          </p:nvSpPr>
          <p:spPr bwMode="auto">
            <a:xfrm>
              <a:off x="-1458092" y="-3353841"/>
              <a:ext cx="10792147" cy="4464234"/>
            </a:xfrm>
            <a:custGeom>
              <a:avLst/>
              <a:gdLst>
                <a:gd name="T0" fmla="*/ 2382 w 7034"/>
                <a:gd name="T1" fmla="*/ 1714 h 2792"/>
                <a:gd name="T2" fmla="*/ 2542 w 7034"/>
                <a:gd name="T3" fmla="*/ 1702 h 2792"/>
                <a:gd name="T4" fmla="*/ 2734 w 7034"/>
                <a:gd name="T5" fmla="*/ 1704 h 2792"/>
                <a:gd name="T6" fmla="*/ 2954 w 7034"/>
                <a:gd name="T7" fmla="*/ 1722 h 2792"/>
                <a:gd name="T8" fmla="*/ 3462 w 7034"/>
                <a:gd name="T9" fmla="*/ 1794 h 2792"/>
                <a:gd name="T10" fmla="*/ 4032 w 7034"/>
                <a:gd name="T11" fmla="*/ 1902 h 2792"/>
                <a:gd name="T12" fmla="*/ 4632 w 7034"/>
                <a:gd name="T13" fmla="*/ 2038 h 2792"/>
                <a:gd name="T14" fmla="*/ 5422 w 7034"/>
                <a:gd name="T15" fmla="*/ 2238 h 2792"/>
                <a:gd name="T16" fmla="*/ 6430 w 7034"/>
                <a:gd name="T17" fmla="*/ 2518 h 2792"/>
                <a:gd name="T18" fmla="*/ 7034 w 7034"/>
                <a:gd name="T19" fmla="*/ 2696 h 2792"/>
                <a:gd name="T20" fmla="*/ 6804 w 7034"/>
                <a:gd name="T21" fmla="*/ 2538 h 2792"/>
                <a:gd name="T22" fmla="*/ 6368 w 7034"/>
                <a:gd name="T23" fmla="*/ 2242 h 2792"/>
                <a:gd name="T24" fmla="*/ 6054 w 7034"/>
                <a:gd name="T25" fmla="*/ 2006 h 2792"/>
                <a:gd name="T26" fmla="*/ 5848 w 7034"/>
                <a:gd name="T27" fmla="*/ 1824 h 2792"/>
                <a:gd name="T28" fmla="*/ 5694 w 7034"/>
                <a:gd name="T29" fmla="*/ 1668 h 2792"/>
                <a:gd name="T30" fmla="*/ 5540 w 7034"/>
                <a:gd name="T31" fmla="*/ 1494 h 2792"/>
                <a:gd name="T32" fmla="*/ 5384 w 7034"/>
                <a:gd name="T33" fmla="*/ 1294 h 2792"/>
                <a:gd name="T34" fmla="*/ 5282 w 7034"/>
                <a:gd name="T35" fmla="*/ 1166 h 2792"/>
                <a:gd name="T36" fmla="*/ 5050 w 7034"/>
                <a:gd name="T37" fmla="*/ 926 h 2792"/>
                <a:gd name="T38" fmla="*/ 4872 w 7034"/>
                <a:gd name="T39" fmla="*/ 762 h 2792"/>
                <a:gd name="T40" fmla="*/ 4658 w 7034"/>
                <a:gd name="T41" fmla="*/ 588 h 2792"/>
                <a:gd name="T42" fmla="*/ 4416 w 7034"/>
                <a:gd name="T43" fmla="*/ 414 h 2792"/>
                <a:gd name="T44" fmla="*/ 4146 w 7034"/>
                <a:gd name="T45" fmla="*/ 256 h 2792"/>
                <a:gd name="T46" fmla="*/ 3856 w 7034"/>
                <a:gd name="T47" fmla="*/ 126 h 2792"/>
                <a:gd name="T48" fmla="*/ 3704 w 7034"/>
                <a:gd name="T49" fmla="*/ 74 h 2792"/>
                <a:gd name="T50" fmla="*/ 3550 w 7034"/>
                <a:gd name="T51" fmla="*/ 36 h 2792"/>
                <a:gd name="T52" fmla="*/ 3392 w 7034"/>
                <a:gd name="T53" fmla="*/ 10 h 2792"/>
                <a:gd name="T54" fmla="*/ 3232 w 7034"/>
                <a:gd name="T55" fmla="*/ 0 h 2792"/>
                <a:gd name="T56" fmla="*/ 3124 w 7034"/>
                <a:gd name="T57" fmla="*/ 2 h 2792"/>
                <a:gd name="T58" fmla="*/ 2970 w 7034"/>
                <a:gd name="T59" fmla="*/ 16 h 2792"/>
                <a:gd name="T60" fmla="*/ 2828 w 7034"/>
                <a:gd name="T61" fmla="*/ 42 h 2792"/>
                <a:gd name="T62" fmla="*/ 2700 w 7034"/>
                <a:gd name="T63" fmla="*/ 76 h 2792"/>
                <a:gd name="T64" fmla="*/ 2582 w 7034"/>
                <a:gd name="T65" fmla="*/ 120 h 2792"/>
                <a:gd name="T66" fmla="*/ 2476 w 7034"/>
                <a:gd name="T67" fmla="*/ 172 h 2792"/>
                <a:gd name="T68" fmla="*/ 2378 w 7034"/>
                <a:gd name="T69" fmla="*/ 232 h 2792"/>
                <a:gd name="T70" fmla="*/ 2210 w 7034"/>
                <a:gd name="T71" fmla="*/ 372 h 2792"/>
                <a:gd name="T72" fmla="*/ 2068 w 7034"/>
                <a:gd name="T73" fmla="*/ 534 h 2792"/>
                <a:gd name="T74" fmla="*/ 1946 w 7034"/>
                <a:gd name="T75" fmla="*/ 714 h 2792"/>
                <a:gd name="T76" fmla="*/ 1802 w 7034"/>
                <a:gd name="T77" fmla="*/ 966 h 2792"/>
                <a:gd name="T78" fmla="*/ 1624 w 7034"/>
                <a:gd name="T79" fmla="*/ 1290 h 2792"/>
                <a:gd name="T80" fmla="*/ 1504 w 7034"/>
                <a:gd name="T81" fmla="*/ 1478 h 2792"/>
                <a:gd name="T82" fmla="*/ 1416 w 7034"/>
                <a:gd name="T83" fmla="*/ 1596 h 2792"/>
                <a:gd name="T84" fmla="*/ 1332 w 7034"/>
                <a:gd name="T85" fmla="*/ 1666 h 2792"/>
                <a:gd name="T86" fmla="*/ 1192 w 7034"/>
                <a:gd name="T87" fmla="*/ 1752 h 2792"/>
                <a:gd name="T88" fmla="*/ 666 w 7034"/>
                <a:gd name="T89" fmla="*/ 2040 h 2792"/>
                <a:gd name="T90" fmla="*/ 394 w 7034"/>
                <a:gd name="T91" fmla="*/ 2206 h 2792"/>
                <a:gd name="T92" fmla="*/ 218 w 7034"/>
                <a:gd name="T93" fmla="*/ 2334 h 2792"/>
                <a:gd name="T94" fmla="*/ 84 w 7034"/>
                <a:gd name="T95" fmla="*/ 2464 h 2792"/>
                <a:gd name="T96" fmla="*/ 38 w 7034"/>
                <a:gd name="T97" fmla="*/ 2528 h 2792"/>
                <a:gd name="T98" fmla="*/ 10 w 7034"/>
                <a:gd name="T99" fmla="*/ 2592 h 2792"/>
                <a:gd name="T100" fmla="*/ 0 w 7034"/>
                <a:gd name="T101" fmla="*/ 2654 h 2792"/>
                <a:gd name="T102" fmla="*/ 10 w 7034"/>
                <a:gd name="T103" fmla="*/ 2714 h 2792"/>
                <a:gd name="T104" fmla="*/ 44 w 7034"/>
                <a:gd name="T105" fmla="*/ 2774 h 2792"/>
                <a:gd name="T106" fmla="*/ 80 w 7034"/>
                <a:gd name="T107" fmla="*/ 2746 h 2792"/>
                <a:gd name="T108" fmla="*/ 242 w 7034"/>
                <a:gd name="T109" fmla="*/ 2532 h 2792"/>
                <a:gd name="T110" fmla="*/ 416 w 7034"/>
                <a:gd name="T111" fmla="*/ 2358 h 2792"/>
                <a:gd name="T112" fmla="*/ 600 w 7034"/>
                <a:gd name="T113" fmla="*/ 2218 h 2792"/>
                <a:gd name="T114" fmla="*/ 796 w 7034"/>
                <a:gd name="T115" fmla="*/ 2106 h 2792"/>
                <a:gd name="T116" fmla="*/ 1000 w 7034"/>
                <a:gd name="T117" fmla="*/ 2018 h 2792"/>
                <a:gd name="T118" fmla="*/ 1214 w 7034"/>
                <a:gd name="T119" fmla="*/ 1950 h 2792"/>
                <a:gd name="T120" fmla="*/ 1438 w 7034"/>
                <a:gd name="T121" fmla="*/ 1894 h 2792"/>
                <a:gd name="T122" fmla="*/ 1832 w 7034"/>
                <a:gd name="T123" fmla="*/ 1816 h 2792"/>
                <a:gd name="T124" fmla="*/ 2336 w 7034"/>
                <a:gd name="T125" fmla="*/ 1722 h 27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034"/>
                <a:gd name="T190" fmla="*/ 0 h 2792"/>
                <a:gd name="T191" fmla="*/ 7034 w 7034"/>
                <a:gd name="T192" fmla="*/ 2792 h 27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034" h="2792">
                  <a:moveTo>
                    <a:pt x="2336" y="1722"/>
                  </a:moveTo>
                  <a:lnTo>
                    <a:pt x="2336" y="1722"/>
                  </a:lnTo>
                  <a:lnTo>
                    <a:pt x="2382" y="1714"/>
                  </a:lnTo>
                  <a:lnTo>
                    <a:pt x="2432" y="1708"/>
                  </a:lnTo>
                  <a:lnTo>
                    <a:pt x="2484" y="1704"/>
                  </a:lnTo>
                  <a:lnTo>
                    <a:pt x="2542" y="1702"/>
                  </a:lnTo>
                  <a:lnTo>
                    <a:pt x="2602" y="1700"/>
                  </a:lnTo>
                  <a:lnTo>
                    <a:pt x="2666" y="1702"/>
                  </a:lnTo>
                  <a:lnTo>
                    <a:pt x="2734" y="1704"/>
                  </a:lnTo>
                  <a:lnTo>
                    <a:pt x="2804" y="1708"/>
                  </a:lnTo>
                  <a:lnTo>
                    <a:pt x="2878" y="1714"/>
                  </a:lnTo>
                  <a:lnTo>
                    <a:pt x="2954" y="1722"/>
                  </a:lnTo>
                  <a:lnTo>
                    <a:pt x="3114" y="1740"/>
                  </a:lnTo>
                  <a:lnTo>
                    <a:pt x="3284" y="1764"/>
                  </a:lnTo>
                  <a:lnTo>
                    <a:pt x="3462" y="1794"/>
                  </a:lnTo>
                  <a:lnTo>
                    <a:pt x="3646" y="1826"/>
                  </a:lnTo>
                  <a:lnTo>
                    <a:pt x="3836" y="1862"/>
                  </a:lnTo>
                  <a:lnTo>
                    <a:pt x="4032" y="1902"/>
                  </a:lnTo>
                  <a:lnTo>
                    <a:pt x="4230" y="1946"/>
                  </a:lnTo>
                  <a:lnTo>
                    <a:pt x="4430" y="1992"/>
                  </a:lnTo>
                  <a:lnTo>
                    <a:pt x="4632" y="2038"/>
                  </a:lnTo>
                  <a:lnTo>
                    <a:pt x="4834" y="2088"/>
                  </a:lnTo>
                  <a:lnTo>
                    <a:pt x="5032" y="2138"/>
                  </a:lnTo>
                  <a:lnTo>
                    <a:pt x="5422" y="2238"/>
                  </a:lnTo>
                  <a:lnTo>
                    <a:pt x="5792" y="2338"/>
                  </a:lnTo>
                  <a:lnTo>
                    <a:pt x="6132" y="2432"/>
                  </a:lnTo>
                  <a:lnTo>
                    <a:pt x="6430" y="2518"/>
                  </a:lnTo>
                  <a:lnTo>
                    <a:pt x="6680" y="2590"/>
                  </a:lnTo>
                  <a:lnTo>
                    <a:pt x="6870" y="2648"/>
                  </a:lnTo>
                  <a:lnTo>
                    <a:pt x="7034" y="2696"/>
                  </a:lnTo>
                  <a:lnTo>
                    <a:pt x="6918" y="2616"/>
                  </a:lnTo>
                  <a:lnTo>
                    <a:pt x="6804" y="2538"/>
                  </a:lnTo>
                  <a:lnTo>
                    <a:pt x="6582" y="2390"/>
                  </a:lnTo>
                  <a:lnTo>
                    <a:pt x="6474" y="2316"/>
                  </a:lnTo>
                  <a:lnTo>
                    <a:pt x="6368" y="2242"/>
                  </a:lnTo>
                  <a:lnTo>
                    <a:pt x="6262" y="2168"/>
                  </a:lnTo>
                  <a:lnTo>
                    <a:pt x="6158" y="2088"/>
                  </a:lnTo>
                  <a:lnTo>
                    <a:pt x="6054" y="2006"/>
                  </a:lnTo>
                  <a:lnTo>
                    <a:pt x="5952" y="1918"/>
                  </a:lnTo>
                  <a:lnTo>
                    <a:pt x="5900" y="1872"/>
                  </a:lnTo>
                  <a:lnTo>
                    <a:pt x="5848" y="1824"/>
                  </a:lnTo>
                  <a:lnTo>
                    <a:pt x="5798" y="1774"/>
                  </a:lnTo>
                  <a:lnTo>
                    <a:pt x="5746" y="1722"/>
                  </a:lnTo>
                  <a:lnTo>
                    <a:pt x="5694" y="1668"/>
                  </a:lnTo>
                  <a:lnTo>
                    <a:pt x="5642" y="1612"/>
                  </a:lnTo>
                  <a:lnTo>
                    <a:pt x="5592" y="1554"/>
                  </a:lnTo>
                  <a:lnTo>
                    <a:pt x="5540" y="1494"/>
                  </a:lnTo>
                  <a:lnTo>
                    <a:pt x="5488" y="1430"/>
                  </a:lnTo>
                  <a:lnTo>
                    <a:pt x="5436" y="1364"/>
                  </a:lnTo>
                  <a:lnTo>
                    <a:pt x="5384" y="1294"/>
                  </a:lnTo>
                  <a:lnTo>
                    <a:pt x="5330" y="1222"/>
                  </a:lnTo>
                  <a:lnTo>
                    <a:pt x="5282" y="1166"/>
                  </a:lnTo>
                  <a:lnTo>
                    <a:pt x="5226" y="1104"/>
                  </a:lnTo>
                  <a:lnTo>
                    <a:pt x="5148" y="1022"/>
                  </a:lnTo>
                  <a:lnTo>
                    <a:pt x="5050" y="926"/>
                  </a:lnTo>
                  <a:lnTo>
                    <a:pt x="4996" y="874"/>
                  </a:lnTo>
                  <a:lnTo>
                    <a:pt x="4936" y="820"/>
                  </a:lnTo>
                  <a:lnTo>
                    <a:pt x="4872" y="762"/>
                  </a:lnTo>
                  <a:lnTo>
                    <a:pt x="4804" y="706"/>
                  </a:lnTo>
                  <a:lnTo>
                    <a:pt x="4734" y="646"/>
                  </a:lnTo>
                  <a:lnTo>
                    <a:pt x="4658" y="588"/>
                  </a:lnTo>
                  <a:lnTo>
                    <a:pt x="4580" y="530"/>
                  </a:lnTo>
                  <a:lnTo>
                    <a:pt x="4500" y="472"/>
                  </a:lnTo>
                  <a:lnTo>
                    <a:pt x="4416" y="414"/>
                  </a:lnTo>
                  <a:lnTo>
                    <a:pt x="4328" y="360"/>
                  </a:lnTo>
                  <a:lnTo>
                    <a:pt x="4238" y="306"/>
                  </a:lnTo>
                  <a:lnTo>
                    <a:pt x="4146" y="256"/>
                  </a:lnTo>
                  <a:lnTo>
                    <a:pt x="4052" y="210"/>
                  </a:lnTo>
                  <a:lnTo>
                    <a:pt x="3954" y="166"/>
                  </a:lnTo>
                  <a:lnTo>
                    <a:pt x="3856" y="126"/>
                  </a:lnTo>
                  <a:lnTo>
                    <a:pt x="3806" y="108"/>
                  </a:lnTo>
                  <a:lnTo>
                    <a:pt x="3756" y="90"/>
                  </a:lnTo>
                  <a:lnTo>
                    <a:pt x="3704" y="74"/>
                  </a:lnTo>
                  <a:lnTo>
                    <a:pt x="3652" y="60"/>
                  </a:lnTo>
                  <a:lnTo>
                    <a:pt x="3602" y="48"/>
                  </a:lnTo>
                  <a:lnTo>
                    <a:pt x="3550" y="36"/>
                  </a:lnTo>
                  <a:lnTo>
                    <a:pt x="3498" y="26"/>
                  </a:lnTo>
                  <a:lnTo>
                    <a:pt x="3444" y="18"/>
                  </a:lnTo>
                  <a:lnTo>
                    <a:pt x="3392" y="10"/>
                  </a:lnTo>
                  <a:lnTo>
                    <a:pt x="3338" y="4"/>
                  </a:lnTo>
                  <a:lnTo>
                    <a:pt x="3286" y="2"/>
                  </a:lnTo>
                  <a:lnTo>
                    <a:pt x="3232" y="0"/>
                  </a:lnTo>
                  <a:lnTo>
                    <a:pt x="3178" y="0"/>
                  </a:lnTo>
                  <a:lnTo>
                    <a:pt x="3124" y="2"/>
                  </a:lnTo>
                  <a:lnTo>
                    <a:pt x="3072" y="6"/>
                  </a:lnTo>
                  <a:lnTo>
                    <a:pt x="3020" y="10"/>
                  </a:lnTo>
                  <a:lnTo>
                    <a:pt x="2970" y="16"/>
                  </a:lnTo>
                  <a:lnTo>
                    <a:pt x="2920" y="24"/>
                  </a:lnTo>
                  <a:lnTo>
                    <a:pt x="2874" y="32"/>
                  </a:lnTo>
                  <a:lnTo>
                    <a:pt x="2828" y="42"/>
                  </a:lnTo>
                  <a:lnTo>
                    <a:pt x="2784" y="52"/>
                  </a:lnTo>
                  <a:lnTo>
                    <a:pt x="2740" y="64"/>
                  </a:lnTo>
                  <a:lnTo>
                    <a:pt x="2700" y="76"/>
                  </a:lnTo>
                  <a:lnTo>
                    <a:pt x="2660" y="90"/>
                  </a:lnTo>
                  <a:lnTo>
                    <a:pt x="2620" y="104"/>
                  </a:lnTo>
                  <a:lnTo>
                    <a:pt x="2582" y="120"/>
                  </a:lnTo>
                  <a:lnTo>
                    <a:pt x="2546" y="136"/>
                  </a:lnTo>
                  <a:lnTo>
                    <a:pt x="2510" y="154"/>
                  </a:lnTo>
                  <a:lnTo>
                    <a:pt x="2476" y="172"/>
                  </a:lnTo>
                  <a:lnTo>
                    <a:pt x="2442" y="192"/>
                  </a:lnTo>
                  <a:lnTo>
                    <a:pt x="2410" y="212"/>
                  </a:lnTo>
                  <a:lnTo>
                    <a:pt x="2378" y="232"/>
                  </a:lnTo>
                  <a:lnTo>
                    <a:pt x="2318" y="276"/>
                  </a:lnTo>
                  <a:lnTo>
                    <a:pt x="2262" y="322"/>
                  </a:lnTo>
                  <a:lnTo>
                    <a:pt x="2210" y="372"/>
                  </a:lnTo>
                  <a:lnTo>
                    <a:pt x="2160" y="424"/>
                  </a:lnTo>
                  <a:lnTo>
                    <a:pt x="2114" y="478"/>
                  </a:lnTo>
                  <a:lnTo>
                    <a:pt x="2068" y="534"/>
                  </a:lnTo>
                  <a:lnTo>
                    <a:pt x="2026" y="592"/>
                  </a:lnTo>
                  <a:lnTo>
                    <a:pt x="1986" y="652"/>
                  </a:lnTo>
                  <a:lnTo>
                    <a:pt x="1946" y="714"/>
                  </a:lnTo>
                  <a:lnTo>
                    <a:pt x="1910" y="776"/>
                  </a:lnTo>
                  <a:lnTo>
                    <a:pt x="1872" y="838"/>
                  </a:lnTo>
                  <a:lnTo>
                    <a:pt x="1802" y="966"/>
                  </a:lnTo>
                  <a:lnTo>
                    <a:pt x="1732" y="1096"/>
                  </a:lnTo>
                  <a:lnTo>
                    <a:pt x="1660" y="1226"/>
                  </a:lnTo>
                  <a:lnTo>
                    <a:pt x="1624" y="1290"/>
                  </a:lnTo>
                  <a:lnTo>
                    <a:pt x="1586" y="1354"/>
                  </a:lnTo>
                  <a:lnTo>
                    <a:pt x="1546" y="1416"/>
                  </a:lnTo>
                  <a:lnTo>
                    <a:pt x="1504" y="1478"/>
                  </a:lnTo>
                  <a:lnTo>
                    <a:pt x="1460" y="1538"/>
                  </a:lnTo>
                  <a:lnTo>
                    <a:pt x="1416" y="1596"/>
                  </a:lnTo>
                  <a:lnTo>
                    <a:pt x="1394" y="1616"/>
                  </a:lnTo>
                  <a:lnTo>
                    <a:pt x="1366" y="1640"/>
                  </a:lnTo>
                  <a:lnTo>
                    <a:pt x="1332" y="1666"/>
                  </a:lnTo>
                  <a:lnTo>
                    <a:pt x="1290" y="1692"/>
                  </a:lnTo>
                  <a:lnTo>
                    <a:pt x="1244" y="1720"/>
                  </a:lnTo>
                  <a:lnTo>
                    <a:pt x="1192" y="1752"/>
                  </a:lnTo>
                  <a:lnTo>
                    <a:pt x="1074" y="1816"/>
                  </a:lnTo>
                  <a:lnTo>
                    <a:pt x="806" y="1962"/>
                  </a:lnTo>
                  <a:lnTo>
                    <a:pt x="666" y="2040"/>
                  </a:lnTo>
                  <a:lnTo>
                    <a:pt x="526" y="2122"/>
                  </a:lnTo>
                  <a:lnTo>
                    <a:pt x="458" y="2164"/>
                  </a:lnTo>
                  <a:lnTo>
                    <a:pt x="394" y="2206"/>
                  </a:lnTo>
                  <a:lnTo>
                    <a:pt x="330" y="2248"/>
                  </a:lnTo>
                  <a:lnTo>
                    <a:pt x="272" y="2292"/>
                  </a:lnTo>
                  <a:lnTo>
                    <a:pt x="218" y="2334"/>
                  </a:lnTo>
                  <a:lnTo>
                    <a:pt x="168" y="2378"/>
                  </a:lnTo>
                  <a:lnTo>
                    <a:pt x="122" y="2420"/>
                  </a:lnTo>
                  <a:lnTo>
                    <a:pt x="84" y="2464"/>
                  </a:lnTo>
                  <a:lnTo>
                    <a:pt x="66" y="2486"/>
                  </a:lnTo>
                  <a:lnTo>
                    <a:pt x="52" y="2506"/>
                  </a:lnTo>
                  <a:lnTo>
                    <a:pt x="38" y="2528"/>
                  </a:lnTo>
                  <a:lnTo>
                    <a:pt x="26" y="2550"/>
                  </a:lnTo>
                  <a:lnTo>
                    <a:pt x="16" y="2570"/>
                  </a:lnTo>
                  <a:lnTo>
                    <a:pt x="10" y="2592"/>
                  </a:lnTo>
                  <a:lnTo>
                    <a:pt x="4" y="2612"/>
                  </a:lnTo>
                  <a:lnTo>
                    <a:pt x="0" y="2632"/>
                  </a:lnTo>
                  <a:lnTo>
                    <a:pt x="0" y="2654"/>
                  </a:lnTo>
                  <a:lnTo>
                    <a:pt x="0" y="2674"/>
                  </a:lnTo>
                  <a:lnTo>
                    <a:pt x="4" y="2694"/>
                  </a:lnTo>
                  <a:lnTo>
                    <a:pt x="10" y="2714"/>
                  </a:lnTo>
                  <a:lnTo>
                    <a:pt x="18" y="2734"/>
                  </a:lnTo>
                  <a:lnTo>
                    <a:pt x="30" y="2754"/>
                  </a:lnTo>
                  <a:lnTo>
                    <a:pt x="44" y="2774"/>
                  </a:lnTo>
                  <a:lnTo>
                    <a:pt x="60" y="2792"/>
                  </a:lnTo>
                  <a:lnTo>
                    <a:pt x="80" y="2746"/>
                  </a:lnTo>
                  <a:lnTo>
                    <a:pt x="134" y="2670"/>
                  </a:lnTo>
                  <a:lnTo>
                    <a:pt x="188" y="2600"/>
                  </a:lnTo>
                  <a:lnTo>
                    <a:pt x="242" y="2532"/>
                  </a:lnTo>
                  <a:lnTo>
                    <a:pt x="300" y="2470"/>
                  </a:lnTo>
                  <a:lnTo>
                    <a:pt x="358" y="2412"/>
                  </a:lnTo>
                  <a:lnTo>
                    <a:pt x="416" y="2358"/>
                  </a:lnTo>
                  <a:lnTo>
                    <a:pt x="476" y="2308"/>
                  </a:lnTo>
                  <a:lnTo>
                    <a:pt x="538" y="2262"/>
                  </a:lnTo>
                  <a:lnTo>
                    <a:pt x="600" y="2218"/>
                  </a:lnTo>
                  <a:lnTo>
                    <a:pt x="664" y="2178"/>
                  </a:lnTo>
                  <a:lnTo>
                    <a:pt x="730" y="2142"/>
                  </a:lnTo>
                  <a:lnTo>
                    <a:pt x="796" y="2106"/>
                  </a:lnTo>
                  <a:lnTo>
                    <a:pt x="862" y="2076"/>
                  </a:lnTo>
                  <a:lnTo>
                    <a:pt x="930" y="2046"/>
                  </a:lnTo>
                  <a:lnTo>
                    <a:pt x="1000" y="2018"/>
                  </a:lnTo>
                  <a:lnTo>
                    <a:pt x="1070" y="1994"/>
                  </a:lnTo>
                  <a:lnTo>
                    <a:pt x="1142" y="1970"/>
                  </a:lnTo>
                  <a:lnTo>
                    <a:pt x="1214" y="1950"/>
                  </a:lnTo>
                  <a:lnTo>
                    <a:pt x="1288" y="1930"/>
                  </a:lnTo>
                  <a:lnTo>
                    <a:pt x="1362" y="1910"/>
                  </a:lnTo>
                  <a:lnTo>
                    <a:pt x="1438" y="1894"/>
                  </a:lnTo>
                  <a:lnTo>
                    <a:pt x="1514" y="1876"/>
                  </a:lnTo>
                  <a:lnTo>
                    <a:pt x="1670" y="1846"/>
                  </a:lnTo>
                  <a:lnTo>
                    <a:pt x="1832" y="1816"/>
                  </a:lnTo>
                  <a:lnTo>
                    <a:pt x="1996" y="1786"/>
                  </a:lnTo>
                  <a:lnTo>
                    <a:pt x="2164" y="1756"/>
                  </a:lnTo>
                  <a:lnTo>
                    <a:pt x="2336" y="17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16" name="Gruppe 16"/>
          <p:cNvGrpSpPr>
            <a:grpSpLocks/>
          </p:cNvGrpSpPr>
          <p:nvPr/>
        </p:nvGrpSpPr>
        <p:grpSpPr bwMode="auto">
          <a:xfrm rot="218200" flipH="1">
            <a:off x="1327224" y="4681227"/>
            <a:ext cx="403225" cy="222250"/>
            <a:chOff x="-1955845" y="-2861999"/>
            <a:chExt cx="11191841" cy="5957058"/>
          </a:xfrm>
          <a:gradFill>
            <a:gsLst>
              <a:gs pos="0">
                <a:srgbClr val="00B050"/>
              </a:gs>
              <a:gs pos="50000">
                <a:schemeClr val="accent2">
                  <a:lumMod val="75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grpSpPr>
        <p:sp>
          <p:nvSpPr>
            <p:cNvPr id="117" name="Freeform 6"/>
            <p:cNvSpPr>
              <a:spLocks/>
            </p:cNvSpPr>
            <p:nvPr/>
          </p:nvSpPr>
          <p:spPr bwMode="auto">
            <a:xfrm>
              <a:off x="-1911841" y="-2860650"/>
              <a:ext cx="11147793" cy="5957058"/>
            </a:xfrm>
            <a:custGeom>
              <a:avLst/>
              <a:gdLst>
                <a:gd name="T0" fmla="*/ 5438 w 7036"/>
                <a:gd name="T1" fmla="*/ 1364 h 3760"/>
                <a:gd name="T2" fmla="*/ 5644 w 7036"/>
                <a:gd name="T3" fmla="*/ 1612 h 3760"/>
                <a:gd name="T4" fmla="*/ 5850 w 7036"/>
                <a:gd name="T5" fmla="*/ 1824 h 3760"/>
                <a:gd name="T6" fmla="*/ 6160 w 7036"/>
                <a:gd name="T7" fmla="*/ 2088 h 3760"/>
                <a:gd name="T8" fmla="*/ 6584 w 7036"/>
                <a:gd name="T9" fmla="*/ 2390 h 3760"/>
                <a:gd name="T10" fmla="*/ 7036 w 7036"/>
                <a:gd name="T11" fmla="*/ 2696 h 3760"/>
                <a:gd name="T12" fmla="*/ 5784 w 7036"/>
                <a:gd name="T13" fmla="*/ 3094 h 3760"/>
                <a:gd name="T14" fmla="*/ 4056 w 7036"/>
                <a:gd name="T15" fmla="*/ 3600 h 3760"/>
                <a:gd name="T16" fmla="*/ 3546 w 7036"/>
                <a:gd name="T17" fmla="*/ 3734 h 3760"/>
                <a:gd name="T18" fmla="*/ 3242 w 7036"/>
                <a:gd name="T19" fmla="*/ 3756 h 3760"/>
                <a:gd name="T20" fmla="*/ 2782 w 7036"/>
                <a:gd name="T21" fmla="*/ 3750 h 3760"/>
                <a:gd name="T22" fmla="*/ 2492 w 7036"/>
                <a:gd name="T23" fmla="*/ 3716 h 3760"/>
                <a:gd name="T24" fmla="*/ 2210 w 7036"/>
                <a:gd name="T25" fmla="*/ 3654 h 3760"/>
                <a:gd name="T26" fmla="*/ 1960 w 7036"/>
                <a:gd name="T27" fmla="*/ 3550 h 3760"/>
                <a:gd name="T28" fmla="*/ 1832 w 7036"/>
                <a:gd name="T29" fmla="*/ 3462 h 3760"/>
                <a:gd name="T30" fmla="*/ 1750 w 7036"/>
                <a:gd name="T31" fmla="*/ 3378 h 3760"/>
                <a:gd name="T32" fmla="*/ 1638 w 7036"/>
                <a:gd name="T33" fmla="*/ 3208 h 3760"/>
                <a:gd name="T34" fmla="*/ 1508 w 7036"/>
                <a:gd name="T35" fmla="*/ 2948 h 3760"/>
                <a:gd name="T36" fmla="*/ 1434 w 7036"/>
                <a:gd name="T37" fmla="*/ 2732 h 3760"/>
                <a:gd name="T38" fmla="*/ 1382 w 7036"/>
                <a:gd name="T39" fmla="*/ 2480 h 3760"/>
                <a:gd name="T40" fmla="*/ 1344 w 7036"/>
                <a:gd name="T41" fmla="*/ 2330 h 3760"/>
                <a:gd name="T42" fmla="*/ 1284 w 7036"/>
                <a:gd name="T43" fmla="*/ 2244 h 3760"/>
                <a:gd name="T44" fmla="*/ 1176 w 7036"/>
                <a:gd name="T45" fmla="*/ 2182 h 3760"/>
                <a:gd name="T46" fmla="*/ 1048 w 7036"/>
                <a:gd name="T47" fmla="*/ 2152 h 3760"/>
                <a:gd name="T48" fmla="*/ 928 w 7036"/>
                <a:gd name="T49" fmla="*/ 2168 h 3760"/>
                <a:gd name="T50" fmla="*/ 784 w 7036"/>
                <a:gd name="T51" fmla="*/ 2238 h 3760"/>
                <a:gd name="T52" fmla="*/ 548 w 7036"/>
                <a:gd name="T53" fmla="*/ 2406 h 3760"/>
                <a:gd name="T54" fmla="*/ 206 w 7036"/>
                <a:gd name="T55" fmla="*/ 2712 h 3760"/>
                <a:gd name="T56" fmla="*/ 88 w 7036"/>
                <a:gd name="T57" fmla="*/ 2816 h 3760"/>
                <a:gd name="T58" fmla="*/ 34 w 7036"/>
                <a:gd name="T59" fmla="*/ 2758 h 3760"/>
                <a:gd name="T60" fmla="*/ 2 w 7036"/>
                <a:gd name="T61" fmla="*/ 2676 h 3760"/>
                <a:gd name="T62" fmla="*/ 10 w 7036"/>
                <a:gd name="T63" fmla="*/ 2592 h 3760"/>
                <a:gd name="T64" fmla="*/ 54 w 7036"/>
                <a:gd name="T65" fmla="*/ 2506 h 3760"/>
                <a:gd name="T66" fmla="*/ 150 w 7036"/>
                <a:gd name="T67" fmla="*/ 2396 h 3760"/>
                <a:gd name="T68" fmla="*/ 372 w 7036"/>
                <a:gd name="T69" fmla="*/ 2222 h 3760"/>
                <a:gd name="T70" fmla="*/ 648 w 7036"/>
                <a:gd name="T71" fmla="*/ 2052 h 3760"/>
                <a:gd name="T72" fmla="*/ 1240 w 7036"/>
                <a:gd name="T73" fmla="*/ 1724 h 3760"/>
                <a:gd name="T74" fmla="*/ 1396 w 7036"/>
                <a:gd name="T75" fmla="*/ 1618 h 3760"/>
                <a:gd name="T76" fmla="*/ 1506 w 7036"/>
                <a:gd name="T77" fmla="*/ 1478 h 3760"/>
                <a:gd name="T78" fmla="*/ 1662 w 7036"/>
                <a:gd name="T79" fmla="*/ 1226 h 3760"/>
                <a:gd name="T80" fmla="*/ 1912 w 7036"/>
                <a:gd name="T81" fmla="*/ 776 h 3760"/>
                <a:gd name="T82" fmla="*/ 2070 w 7036"/>
                <a:gd name="T83" fmla="*/ 534 h 3760"/>
                <a:gd name="T84" fmla="*/ 2264 w 7036"/>
                <a:gd name="T85" fmla="*/ 322 h 3760"/>
                <a:gd name="T86" fmla="*/ 2444 w 7036"/>
                <a:gd name="T87" fmla="*/ 192 h 3760"/>
                <a:gd name="T88" fmla="*/ 2584 w 7036"/>
                <a:gd name="T89" fmla="*/ 120 h 3760"/>
                <a:gd name="T90" fmla="*/ 2742 w 7036"/>
                <a:gd name="T91" fmla="*/ 64 h 3760"/>
                <a:gd name="T92" fmla="*/ 2922 w 7036"/>
                <a:gd name="T93" fmla="*/ 24 h 3760"/>
                <a:gd name="T94" fmla="*/ 3126 w 7036"/>
                <a:gd name="T95" fmla="*/ 2 h 3760"/>
                <a:gd name="T96" fmla="*/ 3288 w 7036"/>
                <a:gd name="T97" fmla="*/ 2 h 3760"/>
                <a:gd name="T98" fmla="*/ 3500 w 7036"/>
                <a:gd name="T99" fmla="*/ 26 h 3760"/>
                <a:gd name="T100" fmla="*/ 3706 w 7036"/>
                <a:gd name="T101" fmla="*/ 74 h 3760"/>
                <a:gd name="T102" fmla="*/ 3956 w 7036"/>
                <a:gd name="T103" fmla="*/ 166 h 3760"/>
                <a:gd name="T104" fmla="*/ 4330 w 7036"/>
                <a:gd name="T105" fmla="*/ 360 h 3760"/>
                <a:gd name="T106" fmla="*/ 4660 w 7036"/>
                <a:gd name="T107" fmla="*/ 588 h 3760"/>
                <a:gd name="T108" fmla="*/ 4938 w 7036"/>
                <a:gd name="T109" fmla="*/ 820 h 3760"/>
                <a:gd name="T110" fmla="*/ 5228 w 7036"/>
                <a:gd name="T111" fmla="*/ 1104 h 376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036"/>
                <a:gd name="T169" fmla="*/ 0 h 3760"/>
                <a:gd name="T170" fmla="*/ 7036 w 7036"/>
                <a:gd name="T171" fmla="*/ 3760 h 376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036" h="3760">
                  <a:moveTo>
                    <a:pt x="5332" y="1222"/>
                  </a:moveTo>
                  <a:lnTo>
                    <a:pt x="5332" y="1222"/>
                  </a:lnTo>
                  <a:lnTo>
                    <a:pt x="5386" y="1294"/>
                  </a:lnTo>
                  <a:lnTo>
                    <a:pt x="5438" y="1364"/>
                  </a:lnTo>
                  <a:lnTo>
                    <a:pt x="5490" y="1430"/>
                  </a:lnTo>
                  <a:lnTo>
                    <a:pt x="5542" y="1494"/>
                  </a:lnTo>
                  <a:lnTo>
                    <a:pt x="5594" y="1554"/>
                  </a:lnTo>
                  <a:lnTo>
                    <a:pt x="5644" y="1612"/>
                  </a:lnTo>
                  <a:lnTo>
                    <a:pt x="5696" y="1668"/>
                  </a:lnTo>
                  <a:lnTo>
                    <a:pt x="5748" y="1722"/>
                  </a:lnTo>
                  <a:lnTo>
                    <a:pt x="5800" y="1774"/>
                  </a:lnTo>
                  <a:lnTo>
                    <a:pt x="5850" y="1824"/>
                  </a:lnTo>
                  <a:lnTo>
                    <a:pt x="5902" y="1872"/>
                  </a:lnTo>
                  <a:lnTo>
                    <a:pt x="5954" y="1918"/>
                  </a:lnTo>
                  <a:lnTo>
                    <a:pt x="6056" y="2006"/>
                  </a:lnTo>
                  <a:lnTo>
                    <a:pt x="6160" y="2088"/>
                  </a:lnTo>
                  <a:lnTo>
                    <a:pt x="6264" y="2168"/>
                  </a:lnTo>
                  <a:lnTo>
                    <a:pt x="6370" y="2242"/>
                  </a:lnTo>
                  <a:lnTo>
                    <a:pt x="6476" y="2316"/>
                  </a:lnTo>
                  <a:lnTo>
                    <a:pt x="6584" y="2390"/>
                  </a:lnTo>
                  <a:lnTo>
                    <a:pt x="6806" y="2538"/>
                  </a:lnTo>
                  <a:lnTo>
                    <a:pt x="6920" y="2616"/>
                  </a:lnTo>
                  <a:lnTo>
                    <a:pt x="7036" y="2696"/>
                  </a:lnTo>
                  <a:lnTo>
                    <a:pt x="6882" y="2748"/>
                  </a:lnTo>
                  <a:lnTo>
                    <a:pt x="6700" y="2808"/>
                  </a:lnTo>
                  <a:lnTo>
                    <a:pt x="6272" y="2944"/>
                  </a:lnTo>
                  <a:lnTo>
                    <a:pt x="5784" y="3094"/>
                  </a:lnTo>
                  <a:lnTo>
                    <a:pt x="5266" y="3250"/>
                  </a:lnTo>
                  <a:lnTo>
                    <a:pt x="4752" y="3400"/>
                  </a:lnTo>
                  <a:lnTo>
                    <a:pt x="4272" y="3538"/>
                  </a:lnTo>
                  <a:lnTo>
                    <a:pt x="4056" y="3600"/>
                  </a:lnTo>
                  <a:lnTo>
                    <a:pt x="3860" y="3652"/>
                  </a:lnTo>
                  <a:lnTo>
                    <a:pt x="3690" y="3698"/>
                  </a:lnTo>
                  <a:lnTo>
                    <a:pt x="3546" y="3734"/>
                  </a:lnTo>
                  <a:lnTo>
                    <a:pt x="3502" y="3740"/>
                  </a:lnTo>
                  <a:lnTo>
                    <a:pt x="3434" y="3746"/>
                  </a:lnTo>
                  <a:lnTo>
                    <a:pt x="3346" y="3752"/>
                  </a:lnTo>
                  <a:lnTo>
                    <a:pt x="3242" y="3756"/>
                  </a:lnTo>
                  <a:lnTo>
                    <a:pt x="3122" y="3760"/>
                  </a:lnTo>
                  <a:lnTo>
                    <a:pt x="2992" y="3758"/>
                  </a:lnTo>
                  <a:lnTo>
                    <a:pt x="2854" y="3754"/>
                  </a:lnTo>
                  <a:lnTo>
                    <a:pt x="2782" y="3750"/>
                  </a:lnTo>
                  <a:lnTo>
                    <a:pt x="2710" y="3744"/>
                  </a:lnTo>
                  <a:lnTo>
                    <a:pt x="2638" y="3736"/>
                  </a:lnTo>
                  <a:lnTo>
                    <a:pt x="2564" y="3728"/>
                  </a:lnTo>
                  <a:lnTo>
                    <a:pt x="2492" y="3716"/>
                  </a:lnTo>
                  <a:lnTo>
                    <a:pt x="2420" y="3704"/>
                  </a:lnTo>
                  <a:lnTo>
                    <a:pt x="2348" y="3690"/>
                  </a:lnTo>
                  <a:lnTo>
                    <a:pt x="2278" y="3672"/>
                  </a:lnTo>
                  <a:lnTo>
                    <a:pt x="2210" y="3654"/>
                  </a:lnTo>
                  <a:lnTo>
                    <a:pt x="2144" y="3632"/>
                  </a:lnTo>
                  <a:lnTo>
                    <a:pt x="2080" y="3608"/>
                  </a:lnTo>
                  <a:lnTo>
                    <a:pt x="2018" y="3580"/>
                  </a:lnTo>
                  <a:lnTo>
                    <a:pt x="1960" y="3550"/>
                  </a:lnTo>
                  <a:lnTo>
                    <a:pt x="1906" y="3518"/>
                  </a:lnTo>
                  <a:lnTo>
                    <a:pt x="1880" y="3500"/>
                  </a:lnTo>
                  <a:lnTo>
                    <a:pt x="1856" y="3482"/>
                  </a:lnTo>
                  <a:lnTo>
                    <a:pt x="1832" y="3462"/>
                  </a:lnTo>
                  <a:lnTo>
                    <a:pt x="1810" y="3444"/>
                  </a:lnTo>
                  <a:lnTo>
                    <a:pt x="1788" y="3422"/>
                  </a:lnTo>
                  <a:lnTo>
                    <a:pt x="1768" y="3400"/>
                  </a:lnTo>
                  <a:lnTo>
                    <a:pt x="1750" y="3378"/>
                  </a:lnTo>
                  <a:lnTo>
                    <a:pt x="1732" y="3356"/>
                  </a:lnTo>
                  <a:lnTo>
                    <a:pt x="1682" y="3280"/>
                  </a:lnTo>
                  <a:lnTo>
                    <a:pt x="1638" y="3208"/>
                  </a:lnTo>
                  <a:lnTo>
                    <a:pt x="1600" y="3138"/>
                  </a:lnTo>
                  <a:lnTo>
                    <a:pt x="1564" y="3072"/>
                  </a:lnTo>
                  <a:lnTo>
                    <a:pt x="1534" y="3010"/>
                  </a:lnTo>
                  <a:lnTo>
                    <a:pt x="1508" y="2948"/>
                  </a:lnTo>
                  <a:lnTo>
                    <a:pt x="1484" y="2890"/>
                  </a:lnTo>
                  <a:lnTo>
                    <a:pt x="1466" y="2836"/>
                  </a:lnTo>
                  <a:lnTo>
                    <a:pt x="1448" y="2782"/>
                  </a:lnTo>
                  <a:lnTo>
                    <a:pt x="1434" y="2732"/>
                  </a:lnTo>
                  <a:lnTo>
                    <a:pt x="1422" y="2684"/>
                  </a:lnTo>
                  <a:lnTo>
                    <a:pt x="1412" y="2640"/>
                  </a:lnTo>
                  <a:lnTo>
                    <a:pt x="1396" y="2556"/>
                  </a:lnTo>
                  <a:lnTo>
                    <a:pt x="1382" y="2480"/>
                  </a:lnTo>
                  <a:lnTo>
                    <a:pt x="1368" y="2414"/>
                  </a:lnTo>
                  <a:lnTo>
                    <a:pt x="1362" y="2384"/>
                  </a:lnTo>
                  <a:lnTo>
                    <a:pt x="1354" y="2356"/>
                  </a:lnTo>
                  <a:lnTo>
                    <a:pt x="1344" y="2330"/>
                  </a:lnTo>
                  <a:lnTo>
                    <a:pt x="1332" y="2306"/>
                  </a:lnTo>
                  <a:lnTo>
                    <a:pt x="1318" y="2284"/>
                  </a:lnTo>
                  <a:lnTo>
                    <a:pt x="1302" y="2264"/>
                  </a:lnTo>
                  <a:lnTo>
                    <a:pt x="1284" y="2244"/>
                  </a:lnTo>
                  <a:lnTo>
                    <a:pt x="1262" y="2226"/>
                  </a:lnTo>
                  <a:lnTo>
                    <a:pt x="1238" y="2210"/>
                  </a:lnTo>
                  <a:lnTo>
                    <a:pt x="1208" y="2196"/>
                  </a:lnTo>
                  <a:lnTo>
                    <a:pt x="1176" y="2182"/>
                  </a:lnTo>
                  <a:lnTo>
                    <a:pt x="1138" y="2172"/>
                  </a:lnTo>
                  <a:lnTo>
                    <a:pt x="1096" y="2160"/>
                  </a:lnTo>
                  <a:lnTo>
                    <a:pt x="1048" y="2152"/>
                  </a:lnTo>
                  <a:lnTo>
                    <a:pt x="1020" y="2150"/>
                  </a:lnTo>
                  <a:lnTo>
                    <a:pt x="992" y="2152"/>
                  </a:lnTo>
                  <a:lnTo>
                    <a:pt x="962" y="2158"/>
                  </a:lnTo>
                  <a:lnTo>
                    <a:pt x="928" y="2168"/>
                  </a:lnTo>
                  <a:lnTo>
                    <a:pt x="894" y="2180"/>
                  </a:lnTo>
                  <a:lnTo>
                    <a:pt x="858" y="2198"/>
                  </a:lnTo>
                  <a:lnTo>
                    <a:pt x="822" y="2216"/>
                  </a:lnTo>
                  <a:lnTo>
                    <a:pt x="784" y="2238"/>
                  </a:lnTo>
                  <a:lnTo>
                    <a:pt x="746" y="2262"/>
                  </a:lnTo>
                  <a:lnTo>
                    <a:pt x="706" y="2288"/>
                  </a:lnTo>
                  <a:lnTo>
                    <a:pt x="628" y="2346"/>
                  </a:lnTo>
                  <a:lnTo>
                    <a:pt x="548" y="2406"/>
                  </a:lnTo>
                  <a:lnTo>
                    <a:pt x="470" y="2472"/>
                  </a:lnTo>
                  <a:lnTo>
                    <a:pt x="396" y="2536"/>
                  </a:lnTo>
                  <a:lnTo>
                    <a:pt x="326" y="2600"/>
                  </a:lnTo>
                  <a:lnTo>
                    <a:pt x="206" y="2712"/>
                  </a:lnTo>
                  <a:lnTo>
                    <a:pt x="122" y="2790"/>
                  </a:lnTo>
                  <a:lnTo>
                    <a:pt x="98" y="2810"/>
                  </a:lnTo>
                  <a:lnTo>
                    <a:pt x="90" y="2816"/>
                  </a:lnTo>
                  <a:lnTo>
                    <a:pt x="88" y="2816"/>
                  </a:lnTo>
                  <a:lnTo>
                    <a:pt x="66" y="2798"/>
                  </a:lnTo>
                  <a:lnTo>
                    <a:pt x="50" y="2778"/>
                  </a:lnTo>
                  <a:lnTo>
                    <a:pt x="34" y="2758"/>
                  </a:lnTo>
                  <a:lnTo>
                    <a:pt x="22" y="2738"/>
                  </a:lnTo>
                  <a:lnTo>
                    <a:pt x="14" y="2718"/>
                  </a:lnTo>
                  <a:lnTo>
                    <a:pt x="6" y="2698"/>
                  </a:lnTo>
                  <a:lnTo>
                    <a:pt x="2" y="2676"/>
                  </a:lnTo>
                  <a:lnTo>
                    <a:pt x="0" y="2656"/>
                  </a:lnTo>
                  <a:lnTo>
                    <a:pt x="2" y="2634"/>
                  </a:lnTo>
                  <a:lnTo>
                    <a:pt x="6" y="2614"/>
                  </a:lnTo>
                  <a:lnTo>
                    <a:pt x="10" y="2592"/>
                  </a:lnTo>
                  <a:lnTo>
                    <a:pt x="18" y="2570"/>
                  </a:lnTo>
                  <a:lnTo>
                    <a:pt x="28" y="2550"/>
                  </a:lnTo>
                  <a:lnTo>
                    <a:pt x="40" y="2528"/>
                  </a:lnTo>
                  <a:lnTo>
                    <a:pt x="54" y="2506"/>
                  </a:lnTo>
                  <a:lnTo>
                    <a:pt x="70" y="2484"/>
                  </a:lnTo>
                  <a:lnTo>
                    <a:pt x="86" y="2462"/>
                  </a:lnTo>
                  <a:lnTo>
                    <a:pt x="106" y="2440"/>
                  </a:lnTo>
                  <a:lnTo>
                    <a:pt x="150" y="2396"/>
                  </a:lnTo>
                  <a:lnTo>
                    <a:pt x="198" y="2352"/>
                  </a:lnTo>
                  <a:lnTo>
                    <a:pt x="252" y="2308"/>
                  </a:lnTo>
                  <a:lnTo>
                    <a:pt x="310" y="2264"/>
                  </a:lnTo>
                  <a:lnTo>
                    <a:pt x="372" y="2222"/>
                  </a:lnTo>
                  <a:lnTo>
                    <a:pt x="438" y="2178"/>
                  </a:lnTo>
                  <a:lnTo>
                    <a:pt x="506" y="2136"/>
                  </a:lnTo>
                  <a:lnTo>
                    <a:pt x="576" y="2092"/>
                  </a:lnTo>
                  <a:lnTo>
                    <a:pt x="648" y="2052"/>
                  </a:lnTo>
                  <a:lnTo>
                    <a:pt x="792" y="1970"/>
                  </a:lnTo>
                  <a:lnTo>
                    <a:pt x="1066" y="1822"/>
                  </a:lnTo>
                  <a:lnTo>
                    <a:pt x="1186" y="1754"/>
                  </a:lnTo>
                  <a:lnTo>
                    <a:pt x="1240" y="1724"/>
                  </a:lnTo>
                  <a:lnTo>
                    <a:pt x="1288" y="1694"/>
                  </a:lnTo>
                  <a:lnTo>
                    <a:pt x="1332" y="1666"/>
                  </a:lnTo>
                  <a:lnTo>
                    <a:pt x="1368" y="1640"/>
                  </a:lnTo>
                  <a:lnTo>
                    <a:pt x="1396" y="1618"/>
                  </a:lnTo>
                  <a:lnTo>
                    <a:pt x="1418" y="1596"/>
                  </a:lnTo>
                  <a:lnTo>
                    <a:pt x="1462" y="1538"/>
                  </a:lnTo>
                  <a:lnTo>
                    <a:pt x="1506" y="1478"/>
                  </a:lnTo>
                  <a:lnTo>
                    <a:pt x="1548" y="1416"/>
                  </a:lnTo>
                  <a:lnTo>
                    <a:pt x="1588" y="1354"/>
                  </a:lnTo>
                  <a:lnTo>
                    <a:pt x="1626" y="1290"/>
                  </a:lnTo>
                  <a:lnTo>
                    <a:pt x="1662" y="1226"/>
                  </a:lnTo>
                  <a:lnTo>
                    <a:pt x="1734" y="1096"/>
                  </a:lnTo>
                  <a:lnTo>
                    <a:pt x="1804" y="966"/>
                  </a:lnTo>
                  <a:lnTo>
                    <a:pt x="1874" y="838"/>
                  </a:lnTo>
                  <a:lnTo>
                    <a:pt x="1912" y="776"/>
                  </a:lnTo>
                  <a:lnTo>
                    <a:pt x="1948" y="714"/>
                  </a:lnTo>
                  <a:lnTo>
                    <a:pt x="1988" y="652"/>
                  </a:lnTo>
                  <a:lnTo>
                    <a:pt x="2028" y="592"/>
                  </a:lnTo>
                  <a:lnTo>
                    <a:pt x="2070" y="534"/>
                  </a:lnTo>
                  <a:lnTo>
                    <a:pt x="2116" y="478"/>
                  </a:lnTo>
                  <a:lnTo>
                    <a:pt x="2162" y="424"/>
                  </a:lnTo>
                  <a:lnTo>
                    <a:pt x="2212" y="372"/>
                  </a:lnTo>
                  <a:lnTo>
                    <a:pt x="2264" y="322"/>
                  </a:lnTo>
                  <a:lnTo>
                    <a:pt x="2320" y="276"/>
                  </a:lnTo>
                  <a:lnTo>
                    <a:pt x="2380" y="232"/>
                  </a:lnTo>
                  <a:lnTo>
                    <a:pt x="2412" y="212"/>
                  </a:lnTo>
                  <a:lnTo>
                    <a:pt x="2444" y="192"/>
                  </a:lnTo>
                  <a:lnTo>
                    <a:pt x="2478" y="172"/>
                  </a:lnTo>
                  <a:lnTo>
                    <a:pt x="2512" y="154"/>
                  </a:lnTo>
                  <a:lnTo>
                    <a:pt x="2548" y="136"/>
                  </a:lnTo>
                  <a:lnTo>
                    <a:pt x="2584" y="120"/>
                  </a:lnTo>
                  <a:lnTo>
                    <a:pt x="2622" y="104"/>
                  </a:lnTo>
                  <a:lnTo>
                    <a:pt x="2662" y="90"/>
                  </a:lnTo>
                  <a:lnTo>
                    <a:pt x="2702" y="76"/>
                  </a:lnTo>
                  <a:lnTo>
                    <a:pt x="2742" y="64"/>
                  </a:lnTo>
                  <a:lnTo>
                    <a:pt x="2786" y="52"/>
                  </a:lnTo>
                  <a:lnTo>
                    <a:pt x="2830" y="42"/>
                  </a:lnTo>
                  <a:lnTo>
                    <a:pt x="2876" y="32"/>
                  </a:lnTo>
                  <a:lnTo>
                    <a:pt x="2922" y="24"/>
                  </a:lnTo>
                  <a:lnTo>
                    <a:pt x="2972" y="16"/>
                  </a:lnTo>
                  <a:lnTo>
                    <a:pt x="3022" y="10"/>
                  </a:lnTo>
                  <a:lnTo>
                    <a:pt x="3074" y="6"/>
                  </a:lnTo>
                  <a:lnTo>
                    <a:pt x="3126" y="2"/>
                  </a:lnTo>
                  <a:lnTo>
                    <a:pt x="3180" y="0"/>
                  </a:lnTo>
                  <a:lnTo>
                    <a:pt x="3234" y="0"/>
                  </a:lnTo>
                  <a:lnTo>
                    <a:pt x="3288" y="2"/>
                  </a:lnTo>
                  <a:lnTo>
                    <a:pt x="3340" y="4"/>
                  </a:lnTo>
                  <a:lnTo>
                    <a:pt x="3394" y="10"/>
                  </a:lnTo>
                  <a:lnTo>
                    <a:pt x="3446" y="18"/>
                  </a:lnTo>
                  <a:lnTo>
                    <a:pt x="3500" y="26"/>
                  </a:lnTo>
                  <a:lnTo>
                    <a:pt x="3552" y="36"/>
                  </a:lnTo>
                  <a:lnTo>
                    <a:pt x="3604" y="48"/>
                  </a:lnTo>
                  <a:lnTo>
                    <a:pt x="3654" y="60"/>
                  </a:lnTo>
                  <a:lnTo>
                    <a:pt x="3706" y="74"/>
                  </a:lnTo>
                  <a:lnTo>
                    <a:pt x="3758" y="90"/>
                  </a:lnTo>
                  <a:lnTo>
                    <a:pt x="3808" y="108"/>
                  </a:lnTo>
                  <a:lnTo>
                    <a:pt x="3858" y="126"/>
                  </a:lnTo>
                  <a:lnTo>
                    <a:pt x="3956" y="166"/>
                  </a:lnTo>
                  <a:lnTo>
                    <a:pt x="4054" y="210"/>
                  </a:lnTo>
                  <a:lnTo>
                    <a:pt x="4148" y="256"/>
                  </a:lnTo>
                  <a:lnTo>
                    <a:pt x="4240" y="306"/>
                  </a:lnTo>
                  <a:lnTo>
                    <a:pt x="4330" y="360"/>
                  </a:lnTo>
                  <a:lnTo>
                    <a:pt x="4418" y="414"/>
                  </a:lnTo>
                  <a:lnTo>
                    <a:pt x="4502" y="472"/>
                  </a:lnTo>
                  <a:lnTo>
                    <a:pt x="4582" y="530"/>
                  </a:lnTo>
                  <a:lnTo>
                    <a:pt x="4660" y="588"/>
                  </a:lnTo>
                  <a:lnTo>
                    <a:pt x="4736" y="646"/>
                  </a:lnTo>
                  <a:lnTo>
                    <a:pt x="4806" y="706"/>
                  </a:lnTo>
                  <a:lnTo>
                    <a:pt x="4874" y="762"/>
                  </a:lnTo>
                  <a:lnTo>
                    <a:pt x="4938" y="820"/>
                  </a:lnTo>
                  <a:lnTo>
                    <a:pt x="4998" y="874"/>
                  </a:lnTo>
                  <a:lnTo>
                    <a:pt x="5052" y="926"/>
                  </a:lnTo>
                  <a:lnTo>
                    <a:pt x="5150" y="1022"/>
                  </a:lnTo>
                  <a:lnTo>
                    <a:pt x="5228" y="1104"/>
                  </a:lnTo>
                  <a:lnTo>
                    <a:pt x="5284" y="1166"/>
                  </a:lnTo>
                  <a:lnTo>
                    <a:pt x="5332" y="12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18" name="Freeform 7"/>
            <p:cNvSpPr>
              <a:spLocks/>
            </p:cNvSpPr>
            <p:nvPr/>
          </p:nvSpPr>
          <p:spPr bwMode="auto">
            <a:xfrm>
              <a:off x="-1622000" y="-3145552"/>
              <a:ext cx="11059640" cy="4425243"/>
            </a:xfrm>
            <a:custGeom>
              <a:avLst/>
              <a:gdLst>
                <a:gd name="T0" fmla="*/ 2382 w 7034"/>
                <a:gd name="T1" fmla="*/ 1714 h 2792"/>
                <a:gd name="T2" fmla="*/ 2542 w 7034"/>
                <a:gd name="T3" fmla="*/ 1702 h 2792"/>
                <a:gd name="T4" fmla="*/ 2734 w 7034"/>
                <a:gd name="T5" fmla="*/ 1704 h 2792"/>
                <a:gd name="T6" fmla="*/ 2954 w 7034"/>
                <a:gd name="T7" fmla="*/ 1722 h 2792"/>
                <a:gd name="T8" fmla="*/ 3462 w 7034"/>
                <a:gd name="T9" fmla="*/ 1794 h 2792"/>
                <a:gd name="T10" fmla="*/ 4032 w 7034"/>
                <a:gd name="T11" fmla="*/ 1902 h 2792"/>
                <a:gd name="T12" fmla="*/ 4632 w 7034"/>
                <a:gd name="T13" fmla="*/ 2038 h 2792"/>
                <a:gd name="T14" fmla="*/ 5422 w 7034"/>
                <a:gd name="T15" fmla="*/ 2238 h 2792"/>
                <a:gd name="T16" fmla="*/ 6430 w 7034"/>
                <a:gd name="T17" fmla="*/ 2518 h 2792"/>
                <a:gd name="T18" fmla="*/ 7034 w 7034"/>
                <a:gd name="T19" fmla="*/ 2696 h 2792"/>
                <a:gd name="T20" fmla="*/ 6804 w 7034"/>
                <a:gd name="T21" fmla="*/ 2538 h 2792"/>
                <a:gd name="T22" fmla="*/ 6368 w 7034"/>
                <a:gd name="T23" fmla="*/ 2242 h 2792"/>
                <a:gd name="T24" fmla="*/ 6054 w 7034"/>
                <a:gd name="T25" fmla="*/ 2006 h 2792"/>
                <a:gd name="T26" fmla="*/ 5848 w 7034"/>
                <a:gd name="T27" fmla="*/ 1824 h 2792"/>
                <a:gd name="T28" fmla="*/ 5694 w 7034"/>
                <a:gd name="T29" fmla="*/ 1668 h 2792"/>
                <a:gd name="T30" fmla="*/ 5540 w 7034"/>
                <a:gd name="T31" fmla="*/ 1494 h 2792"/>
                <a:gd name="T32" fmla="*/ 5384 w 7034"/>
                <a:gd name="T33" fmla="*/ 1294 h 2792"/>
                <a:gd name="T34" fmla="*/ 5282 w 7034"/>
                <a:gd name="T35" fmla="*/ 1166 h 2792"/>
                <a:gd name="T36" fmla="*/ 5050 w 7034"/>
                <a:gd name="T37" fmla="*/ 926 h 2792"/>
                <a:gd name="T38" fmla="*/ 4872 w 7034"/>
                <a:gd name="T39" fmla="*/ 762 h 2792"/>
                <a:gd name="T40" fmla="*/ 4658 w 7034"/>
                <a:gd name="T41" fmla="*/ 588 h 2792"/>
                <a:gd name="T42" fmla="*/ 4416 w 7034"/>
                <a:gd name="T43" fmla="*/ 414 h 2792"/>
                <a:gd name="T44" fmla="*/ 4146 w 7034"/>
                <a:gd name="T45" fmla="*/ 256 h 2792"/>
                <a:gd name="T46" fmla="*/ 3856 w 7034"/>
                <a:gd name="T47" fmla="*/ 126 h 2792"/>
                <a:gd name="T48" fmla="*/ 3704 w 7034"/>
                <a:gd name="T49" fmla="*/ 74 h 2792"/>
                <a:gd name="T50" fmla="*/ 3550 w 7034"/>
                <a:gd name="T51" fmla="*/ 36 h 2792"/>
                <a:gd name="T52" fmla="*/ 3392 w 7034"/>
                <a:gd name="T53" fmla="*/ 10 h 2792"/>
                <a:gd name="T54" fmla="*/ 3232 w 7034"/>
                <a:gd name="T55" fmla="*/ 0 h 2792"/>
                <a:gd name="T56" fmla="*/ 3124 w 7034"/>
                <a:gd name="T57" fmla="*/ 2 h 2792"/>
                <a:gd name="T58" fmla="*/ 2970 w 7034"/>
                <a:gd name="T59" fmla="*/ 16 h 2792"/>
                <a:gd name="T60" fmla="*/ 2828 w 7034"/>
                <a:gd name="T61" fmla="*/ 42 h 2792"/>
                <a:gd name="T62" fmla="*/ 2700 w 7034"/>
                <a:gd name="T63" fmla="*/ 76 h 2792"/>
                <a:gd name="T64" fmla="*/ 2582 w 7034"/>
                <a:gd name="T65" fmla="*/ 120 h 2792"/>
                <a:gd name="T66" fmla="*/ 2476 w 7034"/>
                <a:gd name="T67" fmla="*/ 172 h 2792"/>
                <a:gd name="T68" fmla="*/ 2378 w 7034"/>
                <a:gd name="T69" fmla="*/ 232 h 2792"/>
                <a:gd name="T70" fmla="*/ 2210 w 7034"/>
                <a:gd name="T71" fmla="*/ 372 h 2792"/>
                <a:gd name="T72" fmla="*/ 2068 w 7034"/>
                <a:gd name="T73" fmla="*/ 534 h 2792"/>
                <a:gd name="T74" fmla="*/ 1946 w 7034"/>
                <a:gd name="T75" fmla="*/ 714 h 2792"/>
                <a:gd name="T76" fmla="*/ 1802 w 7034"/>
                <a:gd name="T77" fmla="*/ 966 h 2792"/>
                <a:gd name="T78" fmla="*/ 1624 w 7034"/>
                <a:gd name="T79" fmla="*/ 1290 h 2792"/>
                <a:gd name="T80" fmla="*/ 1504 w 7034"/>
                <a:gd name="T81" fmla="*/ 1478 h 2792"/>
                <a:gd name="T82" fmla="*/ 1416 w 7034"/>
                <a:gd name="T83" fmla="*/ 1596 h 2792"/>
                <a:gd name="T84" fmla="*/ 1332 w 7034"/>
                <a:gd name="T85" fmla="*/ 1666 h 2792"/>
                <a:gd name="T86" fmla="*/ 1192 w 7034"/>
                <a:gd name="T87" fmla="*/ 1752 h 2792"/>
                <a:gd name="T88" fmla="*/ 666 w 7034"/>
                <a:gd name="T89" fmla="*/ 2040 h 2792"/>
                <a:gd name="T90" fmla="*/ 394 w 7034"/>
                <a:gd name="T91" fmla="*/ 2206 h 2792"/>
                <a:gd name="T92" fmla="*/ 218 w 7034"/>
                <a:gd name="T93" fmla="*/ 2334 h 2792"/>
                <a:gd name="T94" fmla="*/ 84 w 7034"/>
                <a:gd name="T95" fmla="*/ 2464 h 2792"/>
                <a:gd name="T96" fmla="*/ 38 w 7034"/>
                <a:gd name="T97" fmla="*/ 2528 h 2792"/>
                <a:gd name="T98" fmla="*/ 10 w 7034"/>
                <a:gd name="T99" fmla="*/ 2592 h 2792"/>
                <a:gd name="T100" fmla="*/ 0 w 7034"/>
                <a:gd name="T101" fmla="*/ 2654 h 2792"/>
                <a:gd name="T102" fmla="*/ 10 w 7034"/>
                <a:gd name="T103" fmla="*/ 2714 h 2792"/>
                <a:gd name="T104" fmla="*/ 44 w 7034"/>
                <a:gd name="T105" fmla="*/ 2774 h 2792"/>
                <a:gd name="T106" fmla="*/ 80 w 7034"/>
                <a:gd name="T107" fmla="*/ 2746 h 2792"/>
                <a:gd name="T108" fmla="*/ 242 w 7034"/>
                <a:gd name="T109" fmla="*/ 2532 h 2792"/>
                <a:gd name="T110" fmla="*/ 416 w 7034"/>
                <a:gd name="T111" fmla="*/ 2358 h 2792"/>
                <a:gd name="T112" fmla="*/ 600 w 7034"/>
                <a:gd name="T113" fmla="*/ 2218 h 2792"/>
                <a:gd name="T114" fmla="*/ 796 w 7034"/>
                <a:gd name="T115" fmla="*/ 2106 h 2792"/>
                <a:gd name="T116" fmla="*/ 1000 w 7034"/>
                <a:gd name="T117" fmla="*/ 2018 h 2792"/>
                <a:gd name="T118" fmla="*/ 1214 w 7034"/>
                <a:gd name="T119" fmla="*/ 1950 h 2792"/>
                <a:gd name="T120" fmla="*/ 1438 w 7034"/>
                <a:gd name="T121" fmla="*/ 1894 h 2792"/>
                <a:gd name="T122" fmla="*/ 1832 w 7034"/>
                <a:gd name="T123" fmla="*/ 1816 h 2792"/>
                <a:gd name="T124" fmla="*/ 2336 w 7034"/>
                <a:gd name="T125" fmla="*/ 1722 h 27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034"/>
                <a:gd name="T190" fmla="*/ 0 h 2792"/>
                <a:gd name="T191" fmla="*/ 7034 w 7034"/>
                <a:gd name="T192" fmla="*/ 2792 h 27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034" h="2792">
                  <a:moveTo>
                    <a:pt x="2336" y="1722"/>
                  </a:moveTo>
                  <a:lnTo>
                    <a:pt x="2336" y="1722"/>
                  </a:lnTo>
                  <a:lnTo>
                    <a:pt x="2382" y="1714"/>
                  </a:lnTo>
                  <a:lnTo>
                    <a:pt x="2432" y="1708"/>
                  </a:lnTo>
                  <a:lnTo>
                    <a:pt x="2484" y="1704"/>
                  </a:lnTo>
                  <a:lnTo>
                    <a:pt x="2542" y="1702"/>
                  </a:lnTo>
                  <a:lnTo>
                    <a:pt x="2602" y="1700"/>
                  </a:lnTo>
                  <a:lnTo>
                    <a:pt x="2666" y="1702"/>
                  </a:lnTo>
                  <a:lnTo>
                    <a:pt x="2734" y="1704"/>
                  </a:lnTo>
                  <a:lnTo>
                    <a:pt x="2804" y="1708"/>
                  </a:lnTo>
                  <a:lnTo>
                    <a:pt x="2878" y="1714"/>
                  </a:lnTo>
                  <a:lnTo>
                    <a:pt x="2954" y="1722"/>
                  </a:lnTo>
                  <a:lnTo>
                    <a:pt x="3114" y="1740"/>
                  </a:lnTo>
                  <a:lnTo>
                    <a:pt x="3284" y="1764"/>
                  </a:lnTo>
                  <a:lnTo>
                    <a:pt x="3462" y="1794"/>
                  </a:lnTo>
                  <a:lnTo>
                    <a:pt x="3646" y="1826"/>
                  </a:lnTo>
                  <a:lnTo>
                    <a:pt x="3836" y="1862"/>
                  </a:lnTo>
                  <a:lnTo>
                    <a:pt x="4032" y="1902"/>
                  </a:lnTo>
                  <a:lnTo>
                    <a:pt x="4230" y="1946"/>
                  </a:lnTo>
                  <a:lnTo>
                    <a:pt x="4430" y="1992"/>
                  </a:lnTo>
                  <a:lnTo>
                    <a:pt x="4632" y="2038"/>
                  </a:lnTo>
                  <a:lnTo>
                    <a:pt x="4834" y="2088"/>
                  </a:lnTo>
                  <a:lnTo>
                    <a:pt x="5032" y="2138"/>
                  </a:lnTo>
                  <a:lnTo>
                    <a:pt x="5422" y="2238"/>
                  </a:lnTo>
                  <a:lnTo>
                    <a:pt x="5792" y="2338"/>
                  </a:lnTo>
                  <a:lnTo>
                    <a:pt x="6132" y="2432"/>
                  </a:lnTo>
                  <a:lnTo>
                    <a:pt x="6430" y="2518"/>
                  </a:lnTo>
                  <a:lnTo>
                    <a:pt x="6680" y="2590"/>
                  </a:lnTo>
                  <a:lnTo>
                    <a:pt x="6870" y="2648"/>
                  </a:lnTo>
                  <a:lnTo>
                    <a:pt x="7034" y="2696"/>
                  </a:lnTo>
                  <a:lnTo>
                    <a:pt x="6918" y="2616"/>
                  </a:lnTo>
                  <a:lnTo>
                    <a:pt x="6804" y="2538"/>
                  </a:lnTo>
                  <a:lnTo>
                    <a:pt x="6582" y="2390"/>
                  </a:lnTo>
                  <a:lnTo>
                    <a:pt x="6474" y="2316"/>
                  </a:lnTo>
                  <a:lnTo>
                    <a:pt x="6368" y="2242"/>
                  </a:lnTo>
                  <a:lnTo>
                    <a:pt x="6262" y="2168"/>
                  </a:lnTo>
                  <a:lnTo>
                    <a:pt x="6158" y="2088"/>
                  </a:lnTo>
                  <a:lnTo>
                    <a:pt x="6054" y="2006"/>
                  </a:lnTo>
                  <a:lnTo>
                    <a:pt x="5952" y="1918"/>
                  </a:lnTo>
                  <a:lnTo>
                    <a:pt x="5900" y="1872"/>
                  </a:lnTo>
                  <a:lnTo>
                    <a:pt x="5848" y="1824"/>
                  </a:lnTo>
                  <a:lnTo>
                    <a:pt x="5798" y="1774"/>
                  </a:lnTo>
                  <a:lnTo>
                    <a:pt x="5746" y="1722"/>
                  </a:lnTo>
                  <a:lnTo>
                    <a:pt x="5694" y="1668"/>
                  </a:lnTo>
                  <a:lnTo>
                    <a:pt x="5642" y="1612"/>
                  </a:lnTo>
                  <a:lnTo>
                    <a:pt x="5592" y="1554"/>
                  </a:lnTo>
                  <a:lnTo>
                    <a:pt x="5540" y="1494"/>
                  </a:lnTo>
                  <a:lnTo>
                    <a:pt x="5488" y="1430"/>
                  </a:lnTo>
                  <a:lnTo>
                    <a:pt x="5436" y="1364"/>
                  </a:lnTo>
                  <a:lnTo>
                    <a:pt x="5384" y="1294"/>
                  </a:lnTo>
                  <a:lnTo>
                    <a:pt x="5330" y="1222"/>
                  </a:lnTo>
                  <a:lnTo>
                    <a:pt x="5282" y="1166"/>
                  </a:lnTo>
                  <a:lnTo>
                    <a:pt x="5226" y="1104"/>
                  </a:lnTo>
                  <a:lnTo>
                    <a:pt x="5148" y="1022"/>
                  </a:lnTo>
                  <a:lnTo>
                    <a:pt x="5050" y="926"/>
                  </a:lnTo>
                  <a:lnTo>
                    <a:pt x="4996" y="874"/>
                  </a:lnTo>
                  <a:lnTo>
                    <a:pt x="4936" y="820"/>
                  </a:lnTo>
                  <a:lnTo>
                    <a:pt x="4872" y="762"/>
                  </a:lnTo>
                  <a:lnTo>
                    <a:pt x="4804" y="706"/>
                  </a:lnTo>
                  <a:lnTo>
                    <a:pt x="4734" y="646"/>
                  </a:lnTo>
                  <a:lnTo>
                    <a:pt x="4658" y="588"/>
                  </a:lnTo>
                  <a:lnTo>
                    <a:pt x="4580" y="530"/>
                  </a:lnTo>
                  <a:lnTo>
                    <a:pt x="4500" y="472"/>
                  </a:lnTo>
                  <a:lnTo>
                    <a:pt x="4416" y="414"/>
                  </a:lnTo>
                  <a:lnTo>
                    <a:pt x="4328" y="360"/>
                  </a:lnTo>
                  <a:lnTo>
                    <a:pt x="4238" y="306"/>
                  </a:lnTo>
                  <a:lnTo>
                    <a:pt x="4146" y="256"/>
                  </a:lnTo>
                  <a:lnTo>
                    <a:pt x="4052" y="210"/>
                  </a:lnTo>
                  <a:lnTo>
                    <a:pt x="3954" y="166"/>
                  </a:lnTo>
                  <a:lnTo>
                    <a:pt x="3856" y="126"/>
                  </a:lnTo>
                  <a:lnTo>
                    <a:pt x="3806" y="108"/>
                  </a:lnTo>
                  <a:lnTo>
                    <a:pt x="3756" y="90"/>
                  </a:lnTo>
                  <a:lnTo>
                    <a:pt x="3704" y="74"/>
                  </a:lnTo>
                  <a:lnTo>
                    <a:pt x="3652" y="60"/>
                  </a:lnTo>
                  <a:lnTo>
                    <a:pt x="3602" y="48"/>
                  </a:lnTo>
                  <a:lnTo>
                    <a:pt x="3550" y="36"/>
                  </a:lnTo>
                  <a:lnTo>
                    <a:pt x="3498" y="26"/>
                  </a:lnTo>
                  <a:lnTo>
                    <a:pt x="3444" y="18"/>
                  </a:lnTo>
                  <a:lnTo>
                    <a:pt x="3392" y="10"/>
                  </a:lnTo>
                  <a:lnTo>
                    <a:pt x="3338" y="4"/>
                  </a:lnTo>
                  <a:lnTo>
                    <a:pt x="3286" y="2"/>
                  </a:lnTo>
                  <a:lnTo>
                    <a:pt x="3232" y="0"/>
                  </a:lnTo>
                  <a:lnTo>
                    <a:pt x="3178" y="0"/>
                  </a:lnTo>
                  <a:lnTo>
                    <a:pt x="3124" y="2"/>
                  </a:lnTo>
                  <a:lnTo>
                    <a:pt x="3072" y="6"/>
                  </a:lnTo>
                  <a:lnTo>
                    <a:pt x="3020" y="10"/>
                  </a:lnTo>
                  <a:lnTo>
                    <a:pt x="2970" y="16"/>
                  </a:lnTo>
                  <a:lnTo>
                    <a:pt x="2920" y="24"/>
                  </a:lnTo>
                  <a:lnTo>
                    <a:pt x="2874" y="32"/>
                  </a:lnTo>
                  <a:lnTo>
                    <a:pt x="2828" y="42"/>
                  </a:lnTo>
                  <a:lnTo>
                    <a:pt x="2784" y="52"/>
                  </a:lnTo>
                  <a:lnTo>
                    <a:pt x="2740" y="64"/>
                  </a:lnTo>
                  <a:lnTo>
                    <a:pt x="2700" y="76"/>
                  </a:lnTo>
                  <a:lnTo>
                    <a:pt x="2660" y="90"/>
                  </a:lnTo>
                  <a:lnTo>
                    <a:pt x="2620" y="104"/>
                  </a:lnTo>
                  <a:lnTo>
                    <a:pt x="2582" y="120"/>
                  </a:lnTo>
                  <a:lnTo>
                    <a:pt x="2546" y="136"/>
                  </a:lnTo>
                  <a:lnTo>
                    <a:pt x="2510" y="154"/>
                  </a:lnTo>
                  <a:lnTo>
                    <a:pt x="2476" y="172"/>
                  </a:lnTo>
                  <a:lnTo>
                    <a:pt x="2442" y="192"/>
                  </a:lnTo>
                  <a:lnTo>
                    <a:pt x="2410" y="212"/>
                  </a:lnTo>
                  <a:lnTo>
                    <a:pt x="2378" y="232"/>
                  </a:lnTo>
                  <a:lnTo>
                    <a:pt x="2318" y="276"/>
                  </a:lnTo>
                  <a:lnTo>
                    <a:pt x="2262" y="322"/>
                  </a:lnTo>
                  <a:lnTo>
                    <a:pt x="2210" y="372"/>
                  </a:lnTo>
                  <a:lnTo>
                    <a:pt x="2160" y="424"/>
                  </a:lnTo>
                  <a:lnTo>
                    <a:pt x="2114" y="478"/>
                  </a:lnTo>
                  <a:lnTo>
                    <a:pt x="2068" y="534"/>
                  </a:lnTo>
                  <a:lnTo>
                    <a:pt x="2026" y="592"/>
                  </a:lnTo>
                  <a:lnTo>
                    <a:pt x="1986" y="652"/>
                  </a:lnTo>
                  <a:lnTo>
                    <a:pt x="1946" y="714"/>
                  </a:lnTo>
                  <a:lnTo>
                    <a:pt x="1910" y="776"/>
                  </a:lnTo>
                  <a:lnTo>
                    <a:pt x="1872" y="838"/>
                  </a:lnTo>
                  <a:lnTo>
                    <a:pt x="1802" y="966"/>
                  </a:lnTo>
                  <a:lnTo>
                    <a:pt x="1732" y="1096"/>
                  </a:lnTo>
                  <a:lnTo>
                    <a:pt x="1660" y="1226"/>
                  </a:lnTo>
                  <a:lnTo>
                    <a:pt x="1624" y="1290"/>
                  </a:lnTo>
                  <a:lnTo>
                    <a:pt x="1586" y="1354"/>
                  </a:lnTo>
                  <a:lnTo>
                    <a:pt x="1546" y="1416"/>
                  </a:lnTo>
                  <a:lnTo>
                    <a:pt x="1504" y="1478"/>
                  </a:lnTo>
                  <a:lnTo>
                    <a:pt x="1460" y="1538"/>
                  </a:lnTo>
                  <a:lnTo>
                    <a:pt x="1416" y="1596"/>
                  </a:lnTo>
                  <a:lnTo>
                    <a:pt x="1394" y="1616"/>
                  </a:lnTo>
                  <a:lnTo>
                    <a:pt x="1366" y="1640"/>
                  </a:lnTo>
                  <a:lnTo>
                    <a:pt x="1332" y="1666"/>
                  </a:lnTo>
                  <a:lnTo>
                    <a:pt x="1290" y="1692"/>
                  </a:lnTo>
                  <a:lnTo>
                    <a:pt x="1244" y="1720"/>
                  </a:lnTo>
                  <a:lnTo>
                    <a:pt x="1192" y="1752"/>
                  </a:lnTo>
                  <a:lnTo>
                    <a:pt x="1074" y="1816"/>
                  </a:lnTo>
                  <a:lnTo>
                    <a:pt x="806" y="1962"/>
                  </a:lnTo>
                  <a:lnTo>
                    <a:pt x="666" y="2040"/>
                  </a:lnTo>
                  <a:lnTo>
                    <a:pt x="526" y="2122"/>
                  </a:lnTo>
                  <a:lnTo>
                    <a:pt x="458" y="2164"/>
                  </a:lnTo>
                  <a:lnTo>
                    <a:pt x="394" y="2206"/>
                  </a:lnTo>
                  <a:lnTo>
                    <a:pt x="330" y="2248"/>
                  </a:lnTo>
                  <a:lnTo>
                    <a:pt x="272" y="2292"/>
                  </a:lnTo>
                  <a:lnTo>
                    <a:pt x="218" y="2334"/>
                  </a:lnTo>
                  <a:lnTo>
                    <a:pt x="168" y="2378"/>
                  </a:lnTo>
                  <a:lnTo>
                    <a:pt x="122" y="2420"/>
                  </a:lnTo>
                  <a:lnTo>
                    <a:pt x="84" y="2464"/>
                  </a:lnTo>
                  <a:lnTo>
                    <a:pt x="66" y="2486"/>
                  </a:lnTo>
                  <a:lnTo>
                    <a:pt x="52" y="2506"/>
                  </a:lnTo>
                  <a:lnTo>
                    <a:pt x="38" y="2528"/>
                  </a:lnTo>
                  <a:lnTo>
                    <a:pt x="26" y="2550"/>
                  </a:lnTo>
                  <a:lnTo>
                    <a:pt x="16" y="2570"/>
                  </a:lnTo>
                  <a:lnTo>
                    <a:pt x="10" y="2592"/>
                  </a:lnTo>
                  <a:lnTo>
                    <a:pt x="4" y="2612"/>
                  </a:lnTo>
                  <a:lnTo>
                    <a:pt x="0" y="2632"/>
                  </a:lnTo>
                  <a:lnTo>
                    <a:pt x="0" y="2654"/>
                  </a:lnTo>
                  <a:lnTo>
                    <a:pt x="0" y="2674"/>
                  </a:lnTo>
                  <a:lnTo>
                    <a:pt x="4" y="2694"/>
                  </a:lnTo>
                  <a:lnTo>
                    <a:pt x="10" y="2714"/>
                  </a:lnTo>
                  <a:lnTo>
                    <a:pt x="18" y="2734"/>
                  </a:lnTo>
                  <a:lnTo>
                    <a:pt x="30" y="2754"/>
                  </a:lnTo>
                  <a:lnTo>
                    <a:pt x="44" y="2774"/>
                  </a:lnTo>
                  <a:lnTo>
                    <a:pt x="60" y="2792"/>
                  </a:lnTo>
                  <a:lnTo>
                    <a:pt x="80" y="2746"/>
                  </a:lnTo>
                  <a:lnTo>
                    <a:pt x="134" y="2670"/>
                  </a:lnTo>
                  <a:lnTo>
                    <a:pt x="188" y="2600"/>
                  </a:lnTo>
                  <a:lnTo>
                    <a:pt x="242" y="2532"/>
                  </a:lnTo>
                  <a:lnTo>
                    <a:pt x="300" y="2470"/>
                  </a:lnTo>
                  <a:lnTo>
                    <a:pt x="358" y="2412"/>
                  </a:lnTo>
                  <a:lnTo>
                    <a:pt x="416" y="2358"/>
                  </a:lnTo>
                  <a:lnTo>
                    <a:pt x="476" y="2308"/>
                  </a:lnTo>
                  <a:lnTo>
                    <a:pt x="538" y="2262"/>
                  </a:lnTo>
                  <a:lnTo>
                    <a:pt x="600" y="2218"/>
                  </a:lnTo>
                  <a:lnTo>
                    <a:pt x="664" y="2178"/>
                  </a:lnTo>
                  <a:lnTo>
                    <a:pt x="730" y="2142"/>
                  </a:lnTo>
                  <a:lnTo>
                    <a:pt x="796" y="2106"/>
                  </a:lnTo>
                  <a:lnTo>
                    <a:pt x="862" y="2076"/>
                  </a:lnTo>
                  <a:lnTo>
                    <a:pt x="930" y="2046"/>
                  </a:lnTo>
                  <a:lnTo>
                    <a:pt x="1000" y="2018"/>
                  </a:lnTo>
                  <a:lnTo>
                    <a:pt x="1070" y="1994"/>
                  </a:lnTo>
                  <a:lnTo>
                    <a:pt x="1142" y="1970"/>
                  </a:lnTo>
                  <a:lnTo>
                    <a:pt x="1214" y="1950"/>
                  </a:lnTo>
                  <a:lnTo>
                    <a:pt x="1288" y="1930"/>
                  </a:lnTo>
                  <a:lnTo>
                    <a:pt x="1362" y="1910"/>
                  </a:lnTo>
                  <a:lnTo>
                    <a:pt x="1438" y="1894"/>
                  </a:lnTo>
                  <a:lnTo>
                    <a:pt x="1514" y="1876"/>
                  </a:lnTo>
                  <a:lnTo>
                    <a:pt x="1670" y="1846"/>
                  </a:lnTo>
                  <a:lnTo>
                    <a:pt x="1832" y="1816"/>
                  </a:lnTo>
                  <a:lnTo>
                    <a:pt x="1996" y="1786"/>
                  </a:lnTo>
                  <a:lnTo>
                    <a:pt x="2164" y="1756"/>
                  </a:lnTo>
                  <a:lnTo>
                    <a:pt x="2336" y="17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19" name="Gruppe 130"/>
          <p:cNvGrpSpPr>
            <a:grpSpLocks/>
          </p:cNvGrpSpPr>
          <p:nvPr/>
        </p:nvGrpSpPr>
        <p:grpSpPr bwMode="auto">
          <a:xfrm>
            <a:off x="1613343" y="1268760"/>
            <a:ext cx="798417" cy="796013"/>
            <a:chOff x="-2446697" y="642918"/>
            <a:chExt cx="3661446" cy="3643320"/>
          </a:xfrm>
          <a:solidFill>
            <a:schemeClr val="tx2">
              <a:lumMod val="75000"/>
            </a:schemeClr>
          </a:solidFill>
        </p:grpSpPr>
        <p:sp>
          <p:nvSpPr>
            <p:cNvPr id="120" name="Freeform 225"/>
            <p:cNvSpPr>
              <a:spLocks/>
            </p:cNvSpPr>
            <p:nvPr/>
          </p:nvSpPr>
          <p:spPr bwMode="auto">
            <a:xfrm>
              <a:off x="550130" y="1579426"/>
              <a:ext cx="18126" cy="18126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4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ea typeface="+mn-ea"/>
              </a:endParaRPr>
            </a:p>
          </p:txBody>
        </p:sp>
        <p:sp>
          <p:nvSpPr>
            <p:cNvPr id="121" name="Freeform 226"/>
            <p:cNvSpPr>
              <a:spLocks/>
            </p:cNvSpPr>
            <p:nvPr/>
          </p:nvSpPr>
          <p:spPr bwMode="auto">
            <a:xfrm>
              <a:off x="84897" y="1869442"/>
              <a:ext cx="205428" cy="72504"/>
            </a:xfrm>
            <a:custGeom>
              <a:avLst/>
              <a:gdLst>
                <a:gd name="T0" fmla="*/ 2147483647 w 68"/>
                <a:gd name="T1" fmla="*/ 2147483647 h 24"/>
                <a:gd name="T2" fmla="*/ 2147483647 w 68"/>
                <a:gd name="T3" fmla="*/ 2147483647 h 24"/>
                <a:gd name="T4" fmla="*/ 2147483647 w 68"/>
                <a:gd name="T5" fmla="*/ 0 h 24"/>
                <a:gd name="T6" fmla="*/ 2147483647 w 68"/>
                <a:gd name="T7" fmla="*/ 0 h 24"/>
                <a:gd name="T8" fmla="*/ 2147483647 w 68"/>
                <a:gd name="T9" fmla="*/ 2147483647 h 24"/>
                <a:gd name="T10" fmla="*/ 0 w 68"/>
                <a:gd name="T11" fmla="*/ 2147483647 h 24"/>
                <a:gd name="T12" fmla="*/ 0 w 68"/>
                <a:gd name="T13" fmla="*/ 2147483647 h 24"/>
                <a:gd name="T14" fmla="*/ 2147483647 w 68"/>
                <a:gd name="T15" fmla="*/ 2147483647 h 24"/>
                <a:gd name="T16" fmla="*/ 2147483647 w 68"/>
                <a:gd name="T17" fmla="*/ 2147483647 h 24"/>
                <a:gd name="T18" fmla="*/ 2147483647 w 68"/>
                <a:gd name="T19" fmla="*/ 2147483647 h 24"/>
                <a:gd name="T20" fmla="*/ 2147483647 w 68"/>
                <a:gd name="T21" fmla="*/ 2147483647 h 24"/>
                <a:gd name="T22" fmla="*/ 2147483647 w 68"/>
                <a:gd name="T23" fmla="*/ 2147483647 h 24"/>
                <a:gd name="T24" fmla="*/ 2147483647 w 68"/>
                <a:gd name="T25" fmla="*/ 2147483647 h 24"/>
                <a:gd name="T26" fmla="*/ 2147483647 w 68"/>
                <a:gd name="T27" fmla="*/ 2147483647 h 2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8"/>
                <a:gd name="T43" fmla="*/ 0 h 24"/>
                <a:gd name="T44" fmla="*/ 68 w 68"/>
                <a:gd name="T45" fmla="*/ 24 h 2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8" h="24">
                  <a:moveTo>
                    <a:pt x="38" y="8"/>
                  </a:moveTo>
                  <a:lnTo>
                    <a:pt x="38" y="6"/>
                  </a:lnTo>
                  <a:lnTo>
                    <a:pt x="38" y="0"/>
                  </a:lnTo>
                  <a:lnTo>
                    <a:pt x="24" y="0"/>
                  </a:lnTo>
                  <a:lnTo>
                    <a:pt x="8" y="8"/>
                  </a:lnTo>
                  <a:lnTo>
                    <a:pt x="0" y="12"/>
                  </a:lnTo>
                  <a:lnTo>
                    <a:pt x="0" y="24"/>
                  </a:lnTo>
                  <a:lnTo>
                    <a:pt x="22" y="18"/>
                  </a:lnTo>
                  <a:lnTo>
                    <a:pt x="38" y="24"/>
                  </a:lnTo>
                  <a:lnTo>
                    <a:pt x="54" y="24"/>
                  </a:lnTo>
                  <a:lnTo>
                    <a:pt x="68" y="18"/>
                  </a:lnTo>
                  <a:lnTo>
                    <a:pt x="44" y="12"/>
                  </a:lnTo>
                  <a:lnTo>
                    <a:pt x="54" y="2"/>
                  </a:lnTo>
                  <a:lnTo>
                    <a:pt x="38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ea typeface="+mn-ea"/>
              </a:endParaRPr>
            </a:p>
          </p:txBody>
        </p:sp>
        <p:sp>
          <p:nvSpPr>
            <p:cNvPr id="122" name="Freeform 228"/>
            <p:cNvSpPr>
              <a:spLocks/>
            </p:cNvSpPr>
            <p:nvPr/>
          </p:nvSpPr>
          <p:spPr bwMode="auto">
            <a:xfrm>
              <a:off x="544088" y="1591510"/>
              <a:ext cx="6042" cy="6042"/>
            </a:xfrm>
            <a:custGeom>
              <a:avLst/>
              <a:gdLst>
                <a:gd name="T0" fmla="*/ 2147483647 w 2"/>
                <a:gd name="T1" fmla="*/ 0 h 2"/>
                <a:gd name="T2" fmla="*/ 0 w 2"/>
                <a:gd name="T3" fmla="*/ 0 h 2"/>
                <a:gd name="T4" fmla="*/ 0 w 2"/>
                <a:gd name="T5" fmla="*/ 2147483647 h 2"/>
                <a:gd name="T6" fmla="*/ 2147483647 w 2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2"/>
                <a:gd name="T14" fmla="*/ 2 w 2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2">
                  <a:moveTo>
                    <a:pt x="2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ea typeface="+mn-ea"/>
              </a:endParaRPr>
            </a:p>
          </p:txBody>
        </p:sp>
        <p:sp>
          <p:nvSpPr>
            <p:cNvPr id="123" name="Freeform 256"/>
            <p:cNvSpPr>
              <a:spLocks/>
            </p:cNvSpPr>
            <p:nvPr/>
          </p:nvSpPr>
          <p:spPr bwMode="auto">
            <a:xfrm>
              <a:off x="-138657" y="642918"/>
              <a:ext cx="610241" cy="827753"/>
            </a:xfrm>
            <a:custGeom>
              <a:avLst/>
              <a:gdLst>
                <a:gd name="T0" fmla="*/ 2147483647 w 202"/>
                <a:gd name="T1" fmla="*/ 2147483647 h 274"/>
                <a:gd name="T2" fmla="*/ 0 w 202"/>
                <a:gd name="T3" fmla="*/ 2147483647 h 274"/>
                <a:gd name="T4" fmla="*/ 0 w 202"/>
                <a:gd name="T5" fmla="*/ 2147483647 h 274"/>
                <a:gd name="T6" fmla="*/ 0 w 202"/>
                <a:gd name="T7" fmla="*/ 2147483647 h 274"/>
                <a:gd name="T8" fmla="*/ 2147483647 w 202"/>
                <a:gd name="T9" fmla="*/ 2147483647 h 274"/>
                <a:gd name="T10" fmla="*/ 2147483647 w 202"/>
                <a:gd name="T11" fmla="*/ 2147483647 h 274"/>
                <a:gd name="T12" fmla="*/ 2147483647 w 202"/>
                <a:gd name="T13" fmla="*/ 2147483647 h 274"/>
                <a:gd name="T14" fmla="*/ 2147483647 w 202"/>
                <a:gd name="T15" fmla="*/ 2147483647 h 274"/>
                <a:gd name="T16" fmla="*/ 2147483647 w 202"/>
                <a:gd name="T17" fmla="*/ 2147483647 h 274"/>
                <a:gd name="T18" fmla="*/ 2147483647 w 202"/>
                <a:gd name="T19" fmla="*/ 2147483647 h 274"/>
                <a:gd name="T20" fmla="*/ 2147483647 w 202"/>
                <a:gd name="T21" fmla="*/ 2147483647 h 274"/>
                <a:gd name="T22" fmla="*/ 2147483647 w 202"/>
                <a:gd name="T23" fmla="*/ 2147483647 h 274"/>
                <a:gd name="T24" fmla="*/ 2147483647 w 202"/>
                <a:gd name="T25" fmla="*/ 2147483647 h 274"/>
                <a:gd name="T26" fmla="*/ 2147483647 w 202"/>
                <a:gd name="T27" fmla="*/ 2147483647 h 274"/>
                <a:gd name="T28" fmla="*/ 2147483647 w 202"/>
                <a:gd name="T29" fmla="*/ 2147483647 h 274"/>
                <a:gd name="T30" fmla="*/ 2147483647 w 202"/>
                <a:gd name="T31" fmla="*/ 2147483647 h 274"/>
                <a:gd name="T32" fmla="*/ 2147483647 w 202"/>
                <a:gd name="T33" fmla="*/ 2147483647 h 274"/>
                <a:gd name="T34" fmla="*/ 2147483647 w 202"/>
                <a:gd name="T35" fmla="*/ 2147483647 h 274"/>
                <a:gd name="T36" fmla="*/ 2147483647 w 202"/>
                <a:gd name="T37" fmla="*/ 2147483647 h 274"/>
                <a:gd name="T38" fmla="*/ 2147483647 w 202"/>
                <a:gd name="T39" fmla="*/ 2147483647 h 274"/>
                <a:gd name="T40" fmla="*/ 2147483647 w 202"/>
                <a:gd name="T41" fmla="*/ 2147483647 h 274"/>
                <a:gd name="T42" fmla="*/ 2147483647 w 202"/>
                <a:gd name="T43" fmla="*/ 2147483647 h 274"/>
                <a:gd name="T44" fmla="*/ 2147483647 w 202"/>
                <a:gd name="T45" fmla="*/ 2147483647 h 274"/>
                <a:gd name="T46" fmla="*/ 2147483647 w 202"/>
                <a:gd name="T47" fmla="*/ 2147483647 h 274"/>
                <a:gd name="T48" fmla="*/ 2147483647 w 202"/>
                <a:gd name="T49" fmla="*/ 2147483647 h 274"/>
                <a:gd name="T50" fmla="*/ 2147483647 w 202"/>
                <a:gd name="T51" fmla="*/ 2147483647 h 274"/>
                <a:gd name="T52" fmla="*/ 2147483647 w 202"/>
                <a:gd name="T53" fmla="*/ 2147483647 h 274"/>
                <a:gd name="T54" fmla="*/ 2147483647 w 202"/>
                <a:gd name="T55" fmla="*/ 2147483647 h 274"/>
                <a:gd name="T56" fmla="*/ 2147483647 w 202"/>
                <a:gd name="T57" fmla="*/ 2147483647 h 274"/>
                <a:gd name="T58" fmla="*/ 2147483647 w 202"/>
                <a:gd name="T59" fmla="*/ 2147483647 h 274"/>
                <a:gd name="T60" fmla="*/ 2147483647 w 202"/>
                <a:gd name="T61" fmla="*/ 2147483647 h 274"/>
                <a:gd name="T62" fmla="*/ 2147483647 w 202"/>
                <a:gd name="T63" fmla="*/ 2147483647 h 274"/>
                <a:gd name="T64" fmla="*/ 2147483647 w 202"/>
                <a:gd name="T65" fmla="*/ 2147483647 h 274"/>
                <a:gd name="T66" fmla="*/ 2147483647 w 202"/>
                <a:gd name="T67" fmla="*/ 2147483647 h 274"/>
                <a:gd name="T68" fmla="*/ 2147483647 w 202"/>
                <a:gd name="T69" fmla="*/ 2147483647 h 274"/>
                <a:gd name="T70" fmla="*/ 2147483647 w 202"/>
                <a:gd name="T71" fmla="*/ 2147483647 h 274"/>
                <a:gd name="T72" fmla="*/ 2147483647 w 202"/>
                <a:gd name="T73" fmla="*/ 2147483647 h 274"/>
                <a:gd name="T74" fmla="*/ 2147483647 w 202"/>
                <a:gd name="T75" fmla="*/ 2147483647 h 274"/>
                <a:gd name="T76" fmla="*/ 2147483647 w 202"/>
                <a:gd name="T77" fmla="*/ 2147483647 h 274"/>
                <a:gd name="T78" fmla="*/ 2147483647 w 202"/>
                <a:gd name="T79" fmla="*/ 2147483647 h 274"/>
                <a:gd name="T80" fmla="*/ 2147483647 w 202"/>
                <a:gd name="T81" fmla="*/ 2147483647 h 274"/>
                <a:gd name="T82" fmla="*/ 2147483647 w 202"/>
                <a:gd name="T83" fmla="*/ 2147483647 h 274"/>
                <a:gd name="T84" fmla="*/ 2147483647 w 202"/>
                <a:gd name="T85" fmla="*/ 2147483647 h 274"/>
                <a:gd name="T86" fmla="*/ 2147483647 w 202"/>
                <a:gd name="T87" fmla="*/ 2147483647 h 274"/>
                <a:gd name="T88" fmla="*/ 2147483647 w 202"/>
                <a:gd name="T89" fmla="*/ 2147483647 h 274"/>
                <a:gd name="T90" fmla="*/ 2147483647 w 202"/>
                <a:gd name="T91" fmla="*/ 2147483647 h 274"/>
                <a:gd name="T92" fmla="*/ 2147483647 w 202"/>
                <a:gd name="T93" fmla="*/ 2147483647 h 274"/>
                <a:gd name="T94" fmla="*/ 2147483647 w 202"/>
                <a:gd name="T95" fmla="*/ 2147483647 h 274"/>
                <a:gd name="T96" fmla="*/ 2147483647 w 202"/>
                <a:gd name="T97" fmla="*/ 2147483647 h 274"/>
                <a:gd name="T98" fmla="*/ 2147483647 w 202"/>
                <a:gd name="T99" fmla="*/ 2147483647 h 274"/>
                <a:gd name="T100" fmla="*/ 2147483647 w 202"/>
                <a:gd name="T101" fmla="*/ 2147483647 h 274"/>
                <a:gd name="T102" fmla="*/ 2147483647 w 202"/>
                <a:gd name="T103" fmla="*/ 2147483647 h 274"/>
                <a:gd name="T104" fmla="*/ 2147483647 w 202"/>
                <a:gd name="T105" fmla="*/ 2147483647 h 274"/>
                <a:gd name="T106" fmla="*/ 2147483647 w 202"/>
                <a:gd name="T107" fmla="*/ 2147483647 h 274"/>
                <a:gd name="T108" fmla="*/ 2147483647 w 202"/>
                <a:gd name="T109" fmla="*/ 2147483647 h 274"/>
                <a:gd name="T110" fmla="*/ 2147483647 w 202"/>
                <a:gd name="T111" fmla="*/ 2147483647 h 274"/>
                <a:gd name="T112" fmla="*/ 2147483647 w 202"/>
                <a:gd name="T113" fmla="*/ 2147483647 h 274"/>
                <a:gd name="T114" fmla="*/ 2147483647 w 202"/>
                <a:gd name="T115" fmla="*/ 0 h 274"/>
                <a:gd name="T116" fmla="*/ 2147483647 w 202"/>
                <a:gd name="T117" fmla="*/ 2147483647 h 274"/>
                <a:gd name="T118" fmla="*/ 2147483647 w 202"/>
                <a:gd name="T119" fmla="*/ 2147483647 h 274"/>
                <a:gd name="T120" fmla="*/ 2147483647 w 202"/>
                <a:gd name="T121" fmla="*/ 2147483647 h 274"/>
                <a:gd name="T122" fmla="*/ 2147483647 w 202"/>
                <a:gd name="T123" fmla="*/ 2147483647 h 274"/>
                <a:gd name="T124" fmla="*/ 2147483647 w 202"/>
                <a:gd name="T125" fmla="*/ 2147483647 h 27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02"/>
                <a:gd name="T190" fmla="*/ 0 h 274"/>
                <a:gd name="T191" fmla="*/ 202 w 202"/>
                <a:gd name="T192" fmla="*/ 274 h 27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02" h="274">
                  <a:moveTo>
                    <a:pt x="6" y="46"/>
                  </a:moveTo>
                  <a:lnTo>
                    <a:pt x="4" y="50"/>
                  </a:lnTo>
                  <a:lnTo>
                    <a:pt x="2" y="52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0" y="68"/>
                  </a:lnTo>
                  <a:lnTo>
                    <a:pt x="0" y="72"/>
                  </a:lnTo>
                  <a:lnTo>
                    <a:pt x="2" y="74"/>
                  </a:lnTo>
                  <a:lnTo>
                    <a:pt x="2" y="78"/>
                  </a:lnTo>
                  <a:lnTo>
                    <a:pt x="4" y="80"/>
                  </a:lnTo>
                  <a:lnTo>
                    <a:pt x="8" y="84"/>
                  </a:lnTo>
                  <a:lnTo>
                    <a:pt x="12" y="86"/>
                  </a:lnTo>
                  <a:lnTo>
                    <a:pt x="14" y="88"/>
                  </a:lnTo>
                  <a:lnTo>
                    <a:pt x="14" y="90"/>
                  </a:lnTo>
                  <a:lnTo>
                    <a:pt x="16" y="94"/>
                  </a:lnTo>
                  <a:lnTo>
                    <a:pt x="12" y="114"/>
                  </a:lnTo>
                  <a:lnTo>
                    <a:pt x="12" y="118"/>
                  </a:lnTo>
                  <a:lnTo>
                    <a:pt x="10" y="120"/>
                  </a:lnTo>
                  <a:lnTo>
                    <a:pt x="10" y="124"/>
                  </a:lnTo>
                  <a:lnTo>
                    <a:pt x="10" y="126"/>
                  </a:lnTo>
                  <a:lnTo>
                    <a:pt x="10" y="130"/>
                  </a:lnTo>
                  <a:lnTo>
                    <a:pt x="10" y="132"/>
                  </a:lnTo>
                  <a:lnTo>
                    <a:pt x="12" y="136"/>
                  </a:lnTo>
                  <a:lnTo>
                    <a:pt x="14" y="140"/>
                  </a:lnTo>
                  <a:lnTo>
                    <a:pt x="14" y="144"/>
                  </a:lnTo>
                  <a:lnTo>
                    <a:pt x="14" y="146"/>
                  </a:lnTo>
                  <a:lnTo>
                    <a:pt x="14" y="150"/>
                  </a:lnTo>
                  <a:lnTo>
                    <a:pt x="8" y="164"/>
                  </a:lnTo>
                  <a:lnTo>
                    <a:pt x="8" y="168"/>
                  </a:lnTo>
                  <a:lnTo>
                    <a:pt x="6" y="176"/>
                  </a:lnTo>
                  <a:lnTo>
                    <a:pt x="6" y="180"/>
                  </a:lnTo>
                  <a:lnTo>
                    <a:pt x="10" y="182"/>
                  </a:lnTo>
                  <a:lnTo>
                    <a:pt x="12" y="182"/>
                  </a:lnTo>
                  <a:lnTo>
                    <a:pt x="16" y="184"/>
                  </a:lnTo>
                  <a:lnTo>
                    <a:pt x="18" y="184"/>
                  </a:lnTo>
                  <a:lnTo>
                    <a:pt x="22" y="186"/>
                  </a:lnTo>
                  <a:lnTo>
                    <a:pt x="22" y="192"/>
                  </a:lnTo>
                  <a:lnTo>
                    <a:pt x="24" y="196"/>
                  </a:lnTo>
                  <a:lnTo>
                    <a:pt x="24" y="198"/>
                  </a:lnTo>
                  <a:lnTo>
                    <a:pt x="26" y="200"/>
                  </a:lnTo>
                  <a:lnTo>
                    <a:pt x="26" y="204"/>
                  </a:lnTo>
                  <a:lnTo>
                    <a:pt x="26" y="206"/>
                  </a:lnTo>
                  <a:lnTo>
                    <a:pt x="28" y="210"/>
                  </a:lnTo>
                  <a:lnTo>
                    <a:pt x="32" y="214"/>
                  </a:lnTo>
                  <a:lnTo>
                    <a:pt x="34" y="218"/>
                  </a:lnTo>
                  <a:lnTo>
                    <a:pt x="34" y="220"/>
                  </a:lnTo>
                  <a:lnTo>
                    <a:pt x="36" y="224"/>
                  </a:lnTo>
                  <a:lnTo>
                    <a:pt x="36" y="228"/>
                  </a:lnTo>
                  <a:lnTo>
                    <a:pt x="36" y="232"/>
                  </a:lnTo>
                  <a:lnTo>
                    <a:pt x="36" y="234"/>
                  </a:lnTo>
                  <a:lnTo>
                    <a:pt x="38" y="238"/>
                  </a:lnTo>
                  <a:lnTo>
                    <a:pt x="40" y="240"/>
                  </a:lnTo>
                  <a:lnTo>
                    <a:pt x="46" y="244"/>
                  </a:lnTo>
                  <a:lnTo>
                    <a:pt x="50" y="244"/>
                  </a:lnTo>
                  <a:lnTo>
                    <a:pt x="54" y="244"/>
                  </a:lnTo>
                  <a:lnTo>
                    <a:pt x="64" y="244"/>
                  </a:lnTo>
                  <a:lnTo>
                    <a:pt x="68" y="244"/>
                  </a:lnTo>
                  <a:lnTo>
                    <a:pt x="72" y="244"/>
                  </a:lnTo>
                  <a:lnTo>
                    <a:pt x="76" y="242"/>
                  </a:lnTo>
                  <a:lnTo>
                    <a:pt x="80" y="242"/>
                  </a:lnTo>
                  <a:lnTo>
                    <a:pt x="86" y="242"/>
                  </a:lnTo>
                  <a:lnTo>
                    <a:pt x="90" y="242"/>
                  </a:lnTo>
                  <a:lnTo>
                    <a:pt x="92" y="244"/>
                  </a:lnTo>
                  <a:lnTo>
                    <a:pt x="94" y="244"/>
                  </a:lnTo>
                  <a:lnTo>
                    <a:pt x="96" y="248"/>
                  </a:lnTo>
                  <a:lnTo>
                    <a:pt x="104" y="266"/>
                  </a:lnTo>
                  <a:lnTo>
                    <a:pt x="106" y="270"/>
                  </a:lnTo>
                  <a:lnTo>
                    <a:pt x="106" y="274"/>
                  </a:lnTo>
                  <a:lnTo>
                    <a:pt x="108" y="274"/>
                  </a:lnTo>
                  <a:lnTo>
                    <a:pt x="110" y="274"/>
                  </a:lnTo>
                  <a:lnTo>
                    <a:pt x="144" y="256"/>
                  </a:lnTo>
                  <a:lnTo>
                    <a:pt x="152" y="250"/>
                  </a:lnTo>
                  <a:lnTo>
                    <a:pt x="160" y="244"/>
                  </a:lnTo>
                  <a:lnTo>
                    <a:pt x="178" y="226"/>
                  </a:lnTo>
                  <a:lnTo>
                    <a:pt x="180" y="222"/>
                  </a:lnTo>
                  <a:lnTo>
                    <a:pt x="188" y="210"/>
                  </a:lnTo>
                  <a:lnTo>
                    <a:pt x="190" y="206"/>
                  </a:lnTo>
                  <a:lnTo>
                    <a:pt x="192" y="202"/>
                  </a:lnTo>
                  <a:lnTo>
                    <a:pt x="192" y="198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2" y="182"/>
                  </a:lnTo>
                  <a:lnTo>
                    <a:pt x="190" y="178"/>
                  </a:lnTo>
                  <a:lnTo>
                    <a:pt x="190" y="166"/>
                  </a:lnTo>
                  <a:lnTo>
                    <a:pt x="190" y="156"/>
                  </a:lnTo>
                  <a:lnTo>
                    <a:pt x="192" y="150"/>
                  </a:lnTo>
                  <a:lnTo>
                    <a:pt x="198" y="136"/>
                  </a:lnTo>
                  <a:lnTo>
                    <a:pt x="200" y="132"/>
                  </a:lnTo>
                  <a:lnTo>
                    <a:pt x="202" y="118"/>
                  </a:lnTo>
                  <a:lnTo>
                    <a:pt x="202" y="114"/>
                  </a:lnTo>
                  <a:lnTo>
                    <a:pt x="196" y="72"/>
                  </a:lnTo>
                  <a:lnTo>
                    <a:pt x="196" y="68"/>
                  </a:lnTo>
                  <a:lnTo>
                    <a:pt x="192" y="60"/>
                  </a:lnTo>
                  <a:lnTo>
                    <a:pt x="186" y="46"/>
                  </a:lnTo>
                  <a:lnTo>
                    <a:pt x="174" y="28"/>
                  </a:lnTo>
                  <a:lnTo>
                    <a:pt x="166" y="20"/>
                  </a:lnTo>
                  <a:lnTo>
                    <a:pt x="158" y="14"/>
                  </a:lnTo>
                  <a:lnTo>
                    <a:pt x="154" y="12"/>
                  </a:lnTo>
                  <a:lnTo>
                    <a:pt x="150" y="10"/>
                  </a:lnTo>
                  <a:lnTo>
                    <a:pt x="146" y="10"/>
                  </a:lnTo>
                  <a:lnTo>
                    <a:pt x="142" y="8"/>
                  </a:lnTo>
                  <a:lnTo>
                    <a:pt x="140" y="6"/>
                  </a:lnTo>
                  <a:lnTo>
                    <a:pt x="136" y="4"/>
                  </a:lnTo>
                  <a:lnTo>
                    <a:pt x="132" y="2"/>
                  </a:lnTo>
                  <a:lnTo>
                    <a:pt x="128" y="2"/>
                  </a:lnTo>
                  <a:lnTo>
                    <a:pt x="112" y="0"/>
                  </a:lnTo>
                  <a:lnTo>
                    <a:pt x="102" y="0"/>
                  </a:lnTo>
                  <a:lnTo>
                    <a:pt x="88" y="2"/>
                  </a:lnTo>
                  <a:lnTo>
                    <a:pt x="74" y="8"/>
                  </a:lnTo>
                  <a:lnTo>
                    <a:pt x="56" y="14"/>
                  </a:lnTo>
                  <a:lnTo>
                    <a:pt x="46" y="20"/>
                  </a:lnTo>
                  <a:lnTo>
                    <a:pt x="42" y="22"/>
                  </a:lnTo>
                  <a:lnTo>
                    <a:pt x="36" y="26"/>
                  </a:lnTo>
                  <a:lnTo>
                    <a:pt x="34" y="28"/>
                  </a:lnTo>
                  <a:lnTo>
                    <a:pt x="26" y="34"/>
                  </a:lnTo>
                  <a:lnTo>
                    <a:pt x="24" y="36"/>
                  </a:lnTo>
                  <a:lnTo>
                    <a:pt x="16" y="40"/>
                  </a:lnTo>
                  <a:lnTo>
                    <a:pt x="6" y="4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ea typeface="+mn-ea"/>
              </a:endParaRPr>
            </a:p>
          </p:txBody>
        </p:sp>
        <p:sp>
          <p:nvSpPr>
            <p:cNvPr id="124" name="Freeform 257"/>
            <p:cNvSpPr>
              <a:spLocks/>
            </p:cNvSpPr>
            <p:nvPr/>
          </p:nvSpPr>
          <p:spPr bwMode="auto">
            <a:xfrm>
              <a:off x="-289706" y="1247117"/>
              <a:ext cx="1226524" cy="2422838"/>
            </a:xfrm>
            <a:custGeom>
              <a:avLst/>
              <a:gdLst>
                <a:gd name="T0" fmla="*/ 2147483647 w 406"/>
                <a:gd name="T1" fmla="*/ 2147483647 h 802"/>
                <a:gd name="T2" fmla="*/ 2147483647 w 406"/>
                <a:gd name="T3" fmla="*/ 2147483647 h 802"/>
                <a:gd name="T4" fmla="*/ 2147483647 w 406"/>
                <a:gd name="T5" fmla="*/ 0 h 802"/>
                <a:gd name="T6" fmla="*/ 2147483647 w 406"/>
                <a:gd name="T7" fmla="*/ 2147483647 h 802"/>
                <a:gd name="T8" fmla="*/ 2147483647 w 406"/>
                <a:gd name="T9" fmla="*/ 2147483647 h 802"/>
                <a:gd name="T10" fmla="*/ 2147483647 w 406"/>
                <a:gd name="T11" fmla="*/ 2147483647 h 802"/>
                <a:gd name="T12" fmla="*/ 2147483647 w 406"/>
                <a:gd name="T13" fmla="*/ 2147483647 h 802"/>
                <a:gd name="T14" fmla="*/ 2147483647 w 406"/>
                <a:gd name="T15" fmla="*/ 2147483647 h 802"/>
                <a:gd name="T16" fmla="*/ 2147483647 w 406"/>
                <a:gd name="T17" fmla="*/ 2147483647 h 802"/>
                <a:gd name="T18" fmla="*/ 2147483647 w 406"/>
                <a:gd name="T19" fmla="*/ 2147483647 h 802"/>
                <a:gd name="T20" fmla="*/ 2147483647 w 406"/>
                <a:gd name="T21" fmla="*/ 2147483647 h 802"/>
                <a:gd name="T22" fmla="*/ 2147483647 w 406"/>
                <a:gd name="T23" fmla="*/ 2147483647 h 802"/>
                <a:gd name="T24" fmla="*/ 2147483647 w 406"/>
                <a:gd name="T25" fmla="*/ 2147483647 h 802"/>
                <a:gd name="T26" fmla="*/ 2147483647 w 406"/>
                <a:gd name="T27" fmla="*/ 2147483647 h 802"/>
                <a:gd name="T28" fmla="*/ 2147483647 w 406"/>
                <a:gd name="T29" fmla="*/ 2147483647 h 802"/>
                <a:gd name="T30" fmla="*/ 2147483647 w 406"/>
                <a:gd name="T31" fmla="*/ 2147483647 h 802"/>
                <a:gd name="T32" fmla="*/ 2147483647 w 406"/>
                <a:gd name="T33" fmla="*/ 2147483647 h 802"/>
                <a:gd name="T34" fmla="*/ 2147483647 w 406"/>
                <a:gd name="T35" fmla="*/ 2147483647 h 802"/>
                <a:gd name="T36" fmla="*/ 2147483647 w 406"/>
                <a:gd name="T37" fmla="*/ 2147483647 h 802"/>
                <a:gd name="T38" fmla="*/ 2147483647 w 406"/>
                <a:gd name="T39" fmla="*/ 2147483647 h 802"/>
                <a:gd name="T40" fmla="*/ 2147483647 w 406"/>
                <a:gd name="T41" fmla="*/ 2147483647 h 802"/>
                <a:gd name="T42" fmla="*/ 2147483647 w 406"/>
                <a:gd name="T43" fmla="*/ 2147483647 h 802"/>
                <a:gd name="T44" fmla="*/ 0 w 406"/>
                <a:gd name="T45" fmla="*/ 2147483647 h 802"/>
                <a:gd name="T46" fmla="*/ 2147483647 w 406"/>
                <a:gd name="T47" fmla="*/ 2147483647 h 802"/>
                <a:gd name="T48" fmla="*/ 2147483647 w 406"/>
                <a:gd name="T49" fmla="*/ 2147483647 h 802"/>
                <a:gd name="T50" fmla="*/ 2147483647 w 406"/>
                <a:gd name="T51" fmla="*/ 2147483647 h 802"/>
                <a:gd name="T52" fmla="*/ 2147483647 w 406"/>
                <a:gd name="T53" fmla="*/ 2147483647 h 802"/>
                <a:gd name="T54" fmla="*/ 2147483647 w 406"/>
                <a:gd name="T55" fmla="*/ 2147483647 h 802"/>
                <a:gd name="T56" fmla="*/ 2147483647 w 406"/>
                <a:gd name="T57" fmla="*/ 2147483647 h 802"/>
                <a:gd name="T58" fmla="*/ 2147483647 w 406"/>
                <a:gd name="T59" fmla="*/ 2147483647 h 802"/>
                <a:gd name="T60" fmla="*/ 2147483647 w 406"/>
                <a:gd name="T61" fmla="*/ 2147483647 h 802"/>
                <a:gd name="T62" fmla="*/ 2147483647 w 406"/>
                <a:gd name="T63" fmla="*/ 2147483647 h 802"/>
                <a:gd name="T64" fmla="*/ 2147483647 w 406"/>
                <a:gd name="T65" fmla="*/ 2147483647 h 802"/>
                <a:gd name="T66" fmla="*/ 2147483647 w 406"/>
                <a:gd name="T67" fmla="*/ 2147483647 h 802"/>
                <a:gd name="T68" fmla="*/ 2147483647 w 406"/>
                <a:gd name="T69" fmla="*/ 2147483647 h 802"/>
                <a:gd name="T70" fmla="*/ 2147483647 w 406"/>
                <a:gd name="T71" fmla="*/ 2147483647 h 802"/>
                <a:gd name="T72" fmla="*/ 2147483647 w 406"/>
                <a:gd name="T73" fmla="*/ 2147483647 h 802"/>
                <a:gd name="T74" fmla="*/ 2147483647 w 406"/>
                <a:gd name="T75" fmla="*/ 2147483647 h 802"/>
                <a:gd name="T76" fmla="*/ 2147483647 w 406"/>
                <a:gd name="T77" fmla="*/ 2147483647 h 802"/>
                <a:gd name="T78" fmla="*/ 2147483647 w 406"/>
                <a:gd name="T79" fmla="*/ 2147483647 h 802"/>
                <a:gd name="T80" fmla="*/ 2147483647 w 406"/>
                <a:gd name="T81" fmla="*/ 2147483647 h 802"/>
                <a:gd name="T82" fmla="*/ 2147483647 w 406"/>
                <a:gd name="T83" fmla="*/ 2147483647 h 802"/>
                <a:gd name="T84" fmla="*/ 2147483647 w 406"/>
                <a:gd name="T85" fmla="*/ 2147483647 h 802"/>
                <a:gd name="T86" fmla="*/ 2147483647 w 406"/>
                <a:gd name="T87" fmla="*/ 2147483647 h 802"/>
                <a:gd name="T88" fmla="*/ 2147483647 w 406"/>
                <a:gd name="T89" fmla="*/ 2147483647 h 802"/>
                <a:gd name="T90" fmla="*/ 2147483647 w 406"/>
                <a:gd name="T91" fmla="*/ 2147483647 h 802"/>
                <a:gd name="T92" fmla="*/ 2147483647 w 406"/>
                <a:gd name="T93" fmla="*/ 2147483647 h 802"/>
                <a:gd name="T94" fmla="*/ 2147483647 w 406"/>
                <a:gd name="T95" fmla="*/ 2147483647 h 802"/>
                <a:gd name="T96" fmla="*/ 2147483647 w 406"/>
                <a:gd name="T97" fmla="*/ 2147483647 h 802"/>
                <a:gd name="T98" fmla="*/ 2147483647 w 406"/>
                <a:gd name="T99" fmla="*/ 2147483647 h 802"/>
                <a:gd name="T100" fmla="*/ 2147483647 w 406"/>
                <a:gd name="T101" fmla="*/ 2147483647 h 802"/>
                <a:gd name="T102" fmla="*/ 2147483647 w 406"/>
                <a:gd name="T103" fmla="*/ 2147483647 h 8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06"/>
                <a:gd name="T157" fmla="*/ 0 h 802"/>
                <a:gd name="T158" fmla="*/ 406 w 406"/>
                <a:gd name="T159" fmla="*/ 802 h 8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06" h="802">
                  <a:moveTo>
                    <a:pt x="254" y="16"/>
                  </a:moveTo>
                  <a:lnTo>
                    <a:pt x="254" y="16"/>
                  </a:lnTo>
                  <a:lnTo>
                    <a:pt x="248" y="12"/>
                  </a:lnTo>
                  <a:lnTo>
                    <a:pt x="246" y="10"/>
                  </a:lnTo>
                  <a:lnTo>
                    <a:pt x="242" y="8"/>
                  </a:lnTo>
                  <a:lnTo>
                    <a:pt x="238" y="4"/>
                  </a:lnTo>
                  <a:lnTo>
                    <a:pt x="238" y="2"/>
                  </a:lnTo>
                  <a:lnTo>
                    <a:pt x="240" y="0"/>
                  </a:lnTo>
                  <a:lnTo>
                    <a:pt x="236" y="2"/>
                  </a:lnTo>
                  <a:lnTo>
                    <a:pt x="214" y="14"/>
                  </a:lnTo>
                  <a:lnTo>
                    <a:pt x="210" y="16"/>
                  </a:lnTo>
                  <a:lnTo>
                    <a:pt x="188" y="38"/>
                  </a:lnTo>
                  <a:lnTo>
                    <a:pt x="184" y="42"/>
                  </a:lnTo>
                  <a:lnTo>
                    <a:pt x="172" y="54"/>
                  </a:lnTo>
                  <a:lnTo>
                    <a:pt x="170" y="58"/>
                  </a:lnTo>
                  <a:lnTo>
                    <a:pt x="158" y="66"/>
                  </a:lnTo>
                  <a:lnTo>
                    <a:pt x="154" y="70"/>
                  </a:lnTo>
                  <a:lnTo>
                    <a:pt x="150" y="76"/>
                  </a:lnTo>
                  <a:lnTo>
                    <a:pt x="150" y="80"/>
                  </a:lnTo>
                  <a:lnTo>
                    <a:pt x="148" y="90"/>
                  </a:lnTo>
                  <a:lnTo>
                    <a:pt x="146" y="94"/>
                  </a:lnTo>
                  <a:lnTo>
                    <a:pt x="142" y="98"/>
                  </a:lnTo>
                  <a:lnTo>
                    <a:pt x="140" y="102"/>
                  </a:lnTo>
                  <a:lnTo>
                    <a:pt x="138" y="108"/>
                  </a:lnTo>
                  <a:lnTo>
                    <a:pt x="136" y="112"/>
                  </a:lnTo>
                  <a:lnTo>
                    <a:pt x="128" y="128"/>
                  </a:lnTo>
                  <a:lnTo>
                    <a:pt x="126" y="132"/>
                  </a:lnTo>
                  <a:lnTo>
                    <a:pt x="114" y="160"/>
                  </a:lnTo>
                  <a:lnTo>
                    <a:pt x="114" y="164"/>
                  </a:lnTo>
                  <a:lnTo>
                    <a:pt x="98" y="188"/>
                  </a:lnTo>
                  <a:lnTo>
                    <a:pt x="96" y="190"/>
                  </a:lnTo>
                  <a:lnTo>
                    <a:pt x="86" y="230"/>
                  </a:lnTo>
                  <a:lnTo>
                    <a:pt x="74" y="282"/>
                  </a:lnTo>
                  <a:lnTo>
                    <a:pt x="68" y="304"/>
                  </a:lnTo>
                  <a:lnTo>
                    <a:pt x="64" y="318"/>
                  </a:lnTo>
                  <a:lnTo>
                    <a:pt x="58" y="332"/>
                  </a:lnTo>
                  <a:lnTo>
                    <a:pt x="54" y="344"/>
                  </a:lnTo>
                  <a:lnTo>
                    <a:pt x="48" y="380"/>
                  </a:lnTo>
                  <a:lnTo>
                    <a:pt x="48" y="384"/>
                  </a:lnTo>
                  <a:lnTo>
                    <a:pt x="32" y="450"/>
                  </a:lnTo>
                  <a:lnTo>
                    <a:pt x="32" y="454"/>
                  </a:lnTo>
                  <a:lnTo>
                    <a:pt x="38" y="494"/>
                  </a:lnTo>
                  <a:lnTo>
                    <a:pt x="38" y="498"/>
                  </a:lnTo>
                  <a:lnTo>
                    <a:pt x="34" y="510"/>
                  </a:lnTo>
                  <a:lnTo>
                    <a:pt x="32" y="514"/>
                  </a:lnTo>
                  <a:lnTo>
                    <a:pt x="30" y="538"/>
                  </a:lnTo>
                  <a:lnTo>
                    <a:pt x="30" y="542"/>
                  </a:lnTo>
                  <a:lnTo>
                    <a:pt x="26" y="600"/>
                  </a:lnTo>
                  <a:lnTo>
                    <a:pt x="26" y="604"/>
                  </a:lnTo>
                  <a:lnTo>
                    <a:pt x="20" y="646"/>
                  </a:lnTo>
                  <a:lnTo>
                    <a:pt x="20" y="650"/>
                  </a:lnTo>
                  <a:lnTo>
                    <a:pt x="10" y="712"/>
                  </a:lnTo>
                  <a:lnTo>
                    <a:pt x="10" y="716"/>
                  </a:lnTo>
                  <a:lnTo>
                    <a:pt x="10" y="728"/>
                  </a:lnTo>
                  <a:lnTo>
                    <a:pt x="8" y="732"/>
                  </a:lnTo>
                  <a:lnTo>
                    <a:pt x="6" y="742"/>
                  </a:lnTo>
                  <a:lnTo>
                    <a:pt x="4" y="746"/>
                  </a:lnTo>
                  <a:lnTo>
                    <a:pt x="2" y="764"/>
                  </a:lnTo>
                  <a:lnTo>
                    <a:pt x="2" y="768"/>
                  </a:lnTo>
                  <a:lnTo>
                    <a:pt x="0" y="778"/>
                  </a:lnTo>
                  <a:lnTo>
                    <a:pt x="0" y="782"/>
                  </a:lnTo>
                  <a:lnTo>
                    <a:pt x="4" y="790"/>
                  </a:lnTo>
                  <a:lnTo>
                    <a:pt x="8" y="792"/>
                  </a:lnTo>
                  <a:lnTo>
                    <a:pt x="58" y="792"/>
                  </a:lnTo>
                  <a:lnTo>
                    <a:pt x="62" y="792"/>
                  </a:lnTo>
                  <a:lnTo>
                    <a:pt x="68" y="792"/>
                  </a:lnTo>
                  <a:lnTo>
                    <a:pt x="82" y="790"/>
                  </a:lnTo>
                  <a:lnTo>
                    <a:pt x="90" y="792"/>
                  </a:lnTo>
                  <a:lnTo>
                    <a:pt x="96" y="792"/>
                  </a:lnTo>
                  <a:lnTo>
                    <a:pt x="102" y="796"/>
                  </a:lnTo>
                  <a:lnTo>
                    <a:pt x="102" y="800"/>
                  </a:lnTo>
                  <a:lnTo>
                    <a:pt x="106" y="802"/>
                  </a:lnTo>
                  <a:lnTo>
                    <a:pt x="114" y="802"/>
                  </a:lnTo>
                  <a:lnTo>
                    <a:pt x="138" y="800"/>
                  </a:lnTo>
                  <a:lnTo>
                    <a:pt x="178" y="794"/>
                  </a:lnTo>
                  <a:lnTo>
                    <a:pt x="252" y="784"/>
                  </a:lnTo>
                  <a:lnTo>
                    <a:pt x="256" y="782"/>
                  </a:lnTo>
                  <a:lnTo>
                    <a:pt x="268" y="780"/>
                  </a:lnTo>
                  <a:lnTo>
                    <a:pt x="272" y="780"/>
                  </a:lnTo>
                  <a:lnTo>
                    <a:pt x="282" y="780"/>
                  </a:lnTo>
                  <a:lnTo>
                    <a:pt x="286" y="780"/>
                  </a:lnTo>
                  <a:lnTo>
                    <a:pt x="304" y="780"/>
                  </a:lnTo>
                  <a:lnTo>
                    <a:pt x="308" y="780"/>
                  </a:lnTo>
                  <a:lnTo>
                    <a:pt x="322" y="780"/>
                  </a:lnTo>
                  <a:lnTo>
                    <a:pt x="326" y="778"/>
                  </a:lnTo>
                  <a:lnTo>
                    <a:pt x="334" y="776"/>
                  </a:lnTo>
                  <a:lnTo>
                    <a:pt x="338" y="776"/>
                  </a:lnTo>
                  <a:lnTo>
                    <a:pt x="346" y="774"/>
                  </a:lnTo>
                  <a:lnTo>
                    <a:pt x="350" y="772"/>
                  </a:lnTo>
                  <a:lnTo>
                    <a:pt x="354" y="772"/>
                  </a:lnTo>
                  <a:lnTo>
                    <a:pt x="358" y="772"/>
                  </a:lnTo>
                  <a:lnTo>
                    <a:pt x="376" y="770"/>
                  </a:lnTo>
                  <a:lnTo>
                    <a:pt x="380" y="768"/>
                  </a:lnTo>
                  <a:lnTo>
                    <a:pt x="396" y="766"/>
                  </a:lnTo>
                  <a:lnTo>
                    <a:pt x="398" y="764"/>
                  </a:lnTo>
                  <a:lnTo>
                    <a:pt x="390" y="662"/>
                  </a:lnTo>
                  <a:lnTo>
                    <a:pt x="384" y="580"/>
                  </a:lnTo>
                  <a:lnTo>
                    <a:pt x="380" y="546"/>
                  </a:lnTo>
                  <a:lnTo>
                    <a:pt x="376" y="522"/>
                  </a:lnTo>
                  <a:lnTo>
                    <a:pt x="370" y="508"/>
                  </a:lnTo>
                  <a:lnTo>
                    <a:pt x="370" y="504"/>
                  </a:lnTo>
                  <a:lnTo>
                    <a:pt x="374" y="484"/>
                  </a:lnTo>
                  <a:lnTo>
                    <a:pt x="374" y="480"/>
                  </a:lnTo>
                  <a:lnTo>
                    <a:pt x="382" y="450"/>
                  </a:lnTo>
                  <a:lnTo>
                    <a:pt x="382" y="446"/>
                  </a:lnTo>
                  <a:lnTo>
                    <a:pt x="382" y="434"/>
                  </a:lnTo>
                  <a:lnTo>
                    <a:pt x="382" y="430"/>
                  </a:lnTo>
                  <a:lnTo>
                    <a:pt x="384" y="414"/>
                  </a:lnTo>
                  <a:lnTo>
                    <a:pt x="384" y="410"/>
                  </a:lnTo>
                  <a:lnTo>
                    <a:pt x="386" y="390"/>
                  </a:lnTo>
                  <a:lnTo>
                    <a:pt x="386" y="386"/>
                  </a:lnTo>
                  <a:lnTo>
                    <a:pt x="386" y="376"/>
                  </a:lnTo>
                  <a:lnTo>
                    <a:pt x="386" y="372"/>
                  </a:lnTo>
                  <a:lnTo>
                    <a:pt x="386" y="364"/>
                  </a:lnTo>
                  <a:lnTo>
                    <a:pt x="386" y="360"/>
                  </a:lnTo>
                  <a:lnTo>
                    <a:pt x="386" y="356"/>
                  </a:lnTo>
                  <a:lnTo>
                    <a:pt x="386" y="352"/>
                  </a:lnTo>
                  <a:lnTo>
                    <a:pt x="388" y="340"/>
                  </a:lnTo>
                  <a:lnTo>
                    <a:pt x="390" y="336"/>
                  </a:lnTo>
                  <a:lnTo>
                    <a:pt x="396" y="322"/>
                  </a:lnTo>
                  <a:lnTo>
                    <a:pt x="398" y="318"/>
                  </a:lnTo>
                  <a:lnTo>
                    <a:pt x="402" y="300"/>
                  </a:lnTo>
                  <a:lnTo>
                    <a:pt x="406" y="278"/>
                  </a:lnTo>
                  <a:lnTo>
                    <a:pt x="406" y="244"/>
                  </a:lnTo>
                  <a:lnTo>
                    <a:pt x="406" y="214"/>
                  </a:lnTo>
                  <a:lnTo>
                    <a:pt x="402" y="184"/>
                  </a:lnTo>
                  <a:lnTo>
                    <a:pt x="396" y="172"/>
                  </a:lnTo>
                  <a:lnTo>
                    <a:pt x="394" y="168"/>
                  </a:lnTo>
                  <a:lnTo>
                    <a:pt x="390" y="150"/>
                  </a:lnTo>
                  <a:lnTo>
                    <a:pt x="388" y="146"/>
                  </a:lnTo>
                  <a:lnTo>
                    <a:pt x="382" y="126"/>
                  </a:lnTo>
                  <a:lnTo>
                    <a:pt x="380" y="122"/>
                  </a:lnTo>
                  <a:lnTo>
                    <a:pt x="376" y="116"/>
                  </a:lnTo>
                  <a:lnTo>
                    <a:pt x="366" y="102"/>
                  </a:lnTo>
                  <a:lnTo>
                    <a:pt x="352" y="84"/>
                  </a:lnTo>
                  <a:lnTo>
                    <a:pt x="344" y="78"/>
                  </a:lnTo>
                  <a:lnTo>
                    <a:pt x="334" y="70"/>
                  </a:lnTo>
                  <a:lnTo>
                    <a:pt x="306" y="52"/>
                  </a:lnTo>
                  <a:lnTo>
                    <a:pt x="296" y="44"/>
                  </a:lnTo>
                  <a:lnTo>
                    <a:pt x="292" y="42"/>
                  </a:lnTo>
                  <a:lnTo>
                    <a:pt x="270" y="26"/>
                  </a:lnTo>
                  <a:lnTo>
                    <a:pt x="268" y="22"/>
                  </a:lnTo>
                  <a:lnTo>
                    <a:pt x="254" y="1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ea typeface="+mn-ea"/>
              </a:endParaRPr>
            </a:p>
          </p:txBody>
        </p:sp>
        <p:sp>
          <p:nvSpPr>
            <p:cNvPr id="125" name="Freeform 258"/>
            <p:cNvSpPr>
              <a:spLocks/>
            </p:cNvSpPr>
            <p:nvPr/>
          </p:nvSpPr>
          <p:spPr bwMode="auto">
            <a:xfrm>
              <a:off x="-688478" y="2262171"/>
              <a:ext cx="628367" cy="737123"/>
            </a:xfrm>
            <a:custGeom>
              <a:avLst/>
              <a:gdLst>
                <a:gd name="T0" fmla="*/ 2147483647 w 208"/>
                <a:gd name="T1" fmla="*/ 2147483647 h 244"/>
                <a:gd name="T2" fmla="*/ 2147483647 w 208"/>
                <a:gd name="T3" fmla="*/ 0 h 244"/>
                <a:gd name="T4" fmla="*/ 2147483647 w 208"/>
                <a:gd name="T5" fmla="*/ 2147483647 h 244"/>
                <a:gd name="T6" fmla="*/ 2147483647 w 208"/>
                <a:gd name="T7" fmla="*/ 2147483647 h 244"/>
                <a:gd name="T8" fmla="*/ 2147483647 w 208"/>
                <a:gd name="T9" fmla="*/ 2147483647 h 244"/>
                <a:gd name="T10" fmla="*/ 2147483647 w 208"/>
                <a:gd name="T11" fmla="*/ 2147483647 h 244"/>
                <a:gd name="T12" fmla="*/ 2147483647 w 208"/>
                <a:gd name="T13" fmla="*/ 2147483647 h 244"/>
                <a:gd name="T14" fmla="*/ 2147483647 w 208"/>
                <a:gd name="T15" fmla="*/ 2147483647 h 244"/>
                <a:gd name="T16" fmla="*/ 2147483647 w 208"/>
                <a:gd name="T17" fmla="*/ 2147483647 h 244"/>
                <a:gd name="T18" fmla="*/ 2147483647 w 208"/>
                <a:gd name="T19" fmla="*/ 2147483647 h 244"/>
                <a:gd name="T20" fmla="*/ 2147483647 w 208"/>
                <a:gd name="T21" fmla="*/ 2147483647 h 244"/>
                <a:gd name="T22" fmla="*/ 2147483647 w 208"/>
                <a:gd name="T23" fmla="*/ 2147483647 h 244"/>
                <a:gd name="T24" fmla="*/ 2147483647 w 208"/>
                <a:gd name="T25" fmla="*/ 2147483647 h 244"/>
                <a:gd name="T26" fmla="*/ 2147483647 w 208"/>
                <a:gd name="T27" fmla="*/ 2147483647 h 244"/>
                <a:gd name="T28" fmla="*/ 2147483647 w 208"/>
                <a:gd name="T29" fmla="*/ 2147483647 h 244"/>
                <a:gd name="T30" fmla="*/ 2147483647 w 208"/>
                <a:gd name="T31" fmla="*/ 2147483647 h 244"/>
                <a:gd name="T32" fmla="*/ 2147483647 w 208"/>
                <a:gd name="T33" fmla="*/ 2147483647 h 244"/>
                <a:gd name="T34" fmla="*/ 2147483647 w 208"/>
                <a:gd name="T35" fmla="*/ 2147483647 h 244"/>
                <a:gd name="T36" fmla="*/ 2147483647 w 208"/>
                <a:gd name="T37" fmla="*/ 2147483647 h 244"/>
                <a:gd name="T38" fmla="*/ 2147483647 w 208"/>
                <a:gd name="T39" fmla="*/ 2147483647 h 244"/>
                <a:gd name="T40" fmla="*/ 2147483647 w 208"/>
                <a:gd name="T41" fmla="*/ 2147483647 h 244"/>
                <a:gd name="T42" fmla="*/ 0 w 208"/>
                <a:gd name="T43" fmla="*/ 2147483647 h 244"/>
                <a:gd name="T44" fmla="*/ 0 w 208"/>
                <a:gd name="T45" fmla="*/ 2147483647 h 244"/>
                <a:gd name="T46" fmla="*/ 2147483647 w 208"/>
                <a:gd name="T47" fmla="*/ 2147483647 h 244"/>
                <a:gd name="T48" fmla="*/ 2147483647 w 208"/>
                <a:gd name="T49" fmla="*/ 2147483647 h 244"/>
                <a:gd name="T50" fmla="*/ 2147483647 w 208"/>
                <a:gd name="T51" fmla="*/ 2147483647 h 244"/>
                <a:gd name="T52" fmla="*/ 2147483647 w 208"/>
                <a:gd name="T53" fmla="*/ 2147483647 h 244"/>
                <a:gd name="T54" fmla="*/ 2147483647 w 208"/>
                <a:gd name="T55" fmla="*/ 2147483647 h 244"/>
                <a:gd name="T56" fmla="*/ 2147483647 w 208"/>
                <a:gd name="T57" fmla="*/ 2147483647 h 244"/>
                <a:gd name="T58" fmla="*/ 2147483647 w 208"/>
                <a:gd name="T59" fmla="*/ 2147483647 h 244"/>
                <a:gd name="T60" fmla="*/ 2147483647 w 208"/>
                <a:gd name="T61" fmla="*/ 2147483647 h 244"/>
                <a:gd name="T62" fmla="*/ 2147483647 w 208"/>
                <a:gd name="T63" fmla="*/ 2147483647 h 244"/>
                <a:gd name="T64" fmla="*/ 2147483647 w 208"/>
                <a:gd name="T65" fmla="*/ 2147483647 h 244"/>
                <a:gd name="T66" fmla="*/ 2147483647 w 208"/>
                <a:gd name="T67" fmla="*/ 2147483647 h 244"/>
                <a:gd name="T68" fmla="*/ 2147483647 w 208"/>
                <a:gd name="T69" fmla="*/ 2147483647 h 244"/>
                <a:gd name="T70" fmla="*/ 2147483647 w 208"/>
                <a:gd name="T71" fmla="*/ 2147483647 h 244"/>
                <a:gd name="T72" fmla="*/ 2147483647 w 208"/>
                <a:gd name="T73" fmla="*/ 2147483647 h 244"/>
                <a:gd name="T74" fmla="*/ 2147483647 w 208"/>
                <a:gd name="T75" fmla="*/ 2147483647 h 244"/>
                <a:gd name="T76" fmla="*/ 2147483647 w 208"/>
                <a:gd name="T77" fmla="*/ 2147483647 h 244"/>
                <a:gd name="T78" fmla="*/ 2147483647 w 208"/>
                <a:gd name="T79" fmla="*/ 2147483647 h 244"/>
                <a:gd name="T80" fmla="*/ 2147483647 w 208"/>
                <a:gd name="T81" fmla="*/ 2147483647 h 244"/>
                <a:gd name="T82" fmla="*/ 2147483647 w 208"/>
                <a:gd name="T83" fmla="*/ 2147483647 h 244"/>
                <a:gd name="T84" fmla="*/ 2147483647 w 208"/>
                <a:gd name="T85" fmla="*/ 2147483647 h 244"/>
                <a:gd name="T86" fmla="*/ 2147483647 w 208"/>
                <a:gd name="T87" fmla="*/ 2147483647 h 244"/>
                <a:gd name="T88" fmla="*/ 2147483647 w 208"/>
                <a:gd name="T89" fmla="*/ 2147483647 h 244"/>
                <a:gd name="T90" fmla="*/ 2147483647 w 208"/>
                <a:gd name="T91" fmla="*/ 2147483647 h 244"/>
                <a:gd name="T92" fmla="*/ 2147483647 w 208"/>
                <a:gd name="T93" fmla="*/ 2147483647 h 244"/>
                <a:gd name="T94" fmla="*/ 2147483647 w 208"/>
                <a:gd name="T95" fmla="*/ 2147483647 h 244"/>
                <a:gd name="T96" fmla="*/ 2147483647 w 208"/>
                <a:gd name="T97" fmla="*/ 2147483647 h 244"/>
                <a:gd name="T98" fmla="*/ 2147483647 w 208"/>
                <a:gd name="T99" fmla="*/ 2147483647 h 244"/>
                <a:gd name="T100" fmla="*/ 2147483647 w 208"/>
                <a:gd name="T101" fmla="*/ 2147483647 h 244"/>
                <a:gd name="T102" fmla="*/ 2147483647 w 208"/>
                <a:gd name="T103" fmla="*/ 2147483647 h 244"/>
                <a:gd name="T104" fmla="*/ 2147483647 w 208"/>
                <a:gd name="T105" fmla="*/ 2147483647 h 244"/>
                <a:gd name="T106" fmla="*/ 2147483647 w 208"/>
                <a:gd name="T107" fmla="*/ 2147483647 h 2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8"/>
                <a:gd name="T163" fmla="*/ 0 h 244"/>
                <a:gd name="T164" fmla="*/ 208 w 208"/>
                <a:gd name="T165" fmla="*/ 244 h 2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8" h="244">
                  <a:moveTo>
                    <a:pt x="188" y="36"/>
                  </a:moveTo>
                  <a:lnTo>
                    <a:pt x="188" y="36"/>
                  </a:lnTo>
                  <a:lnTo>
                    <a:pt x="184" y="36"/>
                  </a:lnTo>
                  <a:lnTo>
                    <a:pt x="208" y="0"/>
                  </a:lnTo>
                  <a:lnTo>
                    <a:pt x="196" y="12"/>
                  </a:lnTo>
                  <a:lnTo>
                    <a:pt x="172" y="38"/>
                  </a:lnTo>
                  <a:lnTo>
                    <a:pt x="164" y="44"/>
                  </a:lnTo>
                  <a:lnTo>
                    <a:pt x="162" y="48"/>
                  </a:lnTo>
                  <a:lnTo>
                    <a:pt x="154" y="54"/>
                  </a:lnTo>
                  <a:lnTo>
                    <a:pt x="150" y="56"/>
                  </a:lnTo>
                  <a:lnTo>
                    <a:pt x="134" y="72"/>
                  </a:lnTo>
                  <a:lnTo>
                    <a:pt x="130" y="74"/>
                  </a:lnTo>
                  <a:lnTo>
                    <a:pt x="116" y="84"/>
                  </a:lnTo>
                  <a:lnTo>
                    <a:pt x="112" y="86"/>
                  </a:lnTo>
                  <a:lnTo>
                    <a:pt x="100" y="96"/>
                  </a:lnTo>
                  <a:lnTo>
                    <a:pt x="96" y="98"/>
                  </a:lnTo>
                  <a:lnTo>
                    <a:pt x="86" y="104"/>
                  </a:lnTo>
                  <a:lnTo>
                    <a:pt x="66" y="114"/>
                  </a:lnTo>
                  <a:lnTo>
                    <a:pt x="64" y="116"/>
                  </a:lnTo>
                  <a:lnTo>
                    <a:pt x="54" y="122"/>
                  </a:lnTo>
                  <a:lnTo>
                    <a:pt x="50" y="124"/>
                  </a:lnTo>
                  <a:lnTo>
                    <a:pt x="32" y="134"/>
                  </a:lnTo>
                  <a:lnTo>
                    <a:pt x="30" y="136"/>
                  </a:lnTo>
                  <a:lnTo>
                    <a:pt x="22" y="140"/>
                  </a:lnTo>
                  <a:lnTo>
                    <a:pt x="18" y="140"/>
                  </a:lnTo>
                  <a:lnTo>
                    <a:pt x="12" y="144"/>
                  </a:lnTo>
                  <a:lnTo>
                    <a:pt x="10" y="146"/>
                  </a:lnTo>
                  <a:lnTo>
                    <a:pt x="4" y="146"/>
                  </a:lnTo>
                  <a:lnTo>
                    <a:pt x="0" y="148"/>
                  </a:lnTo>
                  <a:lnTo>
                    <a:pt x="0" y="152"/>
                  </a:lnTo>
                  <a:lnTo>
                    <a:pt x="0" y="168"/>
                  </a:lnTo>
                  <a:lnTo>
                    <a:pt x="2" y="186"/>
                  </a:lnTo>
                  <a:lnTo>
                    <a:pt x="4" y="194"/>
                  </a:lnTo>
                  <a:lnTo>
                    <a:pt x="4" y="200"/>
                  </a:lnTo>
                  <a:lnTo>
                    <a:pt x="4" y="204"/>
                  </a:lnTo>
                  <a:lnTo>
                    <a:pt x="6" y="216"/>
                  </a:lnTo>
                  <a:lnTo>
                    <a:pt x="10" y="230"/>
                  </a:lnTo>
                  <a:lnTo>
                    <a:pt x="12" y="234"/>
                  </a:lnTo>
                  <a:lnTo>
                    <a:pt x="14" y="236"/>
                  </a:lnTo>
                  <a:lnTo>
                    <a:pt x="18" y="240"/>
                  </a:lnTo>
                  <a:lnTo>
                    <a:pt x="20" y="242"/>
                  </a:lnTo>
                  <a:lnTo>
                    <a:pt x="24" y="244"/>
                  </a:lnTo>
                  <a:lnTo>
                    <a:pt x="32" y="244"/>
                  </a:lnTo>
                  <a:lnTo>
                    <a:pt x="40" y="244"/>
                  </a:lnTo>
                  <a:lnTo>
                    <a:pt x="52" y="240"/>
                  </a:lnTo>
                  <a:lnTo>
                    <a:pt x="54" y="236"/>
                  </a:lnTo>
                  <a:lnTo>
                    <a:pt x="54" y="234"/>
                  </a:lnTo>
                  <a:lnTo>
                    <a:pt x="58" y="230"/>
                  </a:lnTo>
                  <a:lnTo>
                    <a:pt x="64" y="226"/>
                  </a:lnTo>
                  <a:lnTo>
                    <a:pt x="68" y="222"/>
                  </a:lnTo>
                  <a:lnTo>
                    <a:pt x="76" y="220"/>
                  </a:lnTo>
                  <a:lnTo>
                    <a:pt x="86" y="216"/>
                  </a:lnTo>
                  <a:lnTo>
                    <a:pt x="90" y="216"/>
                  </a:lnTo>
                  <a:lnTo>
                    <a:pt x="92" y="214"/>
                  </a:lnTo>
                  <a:lnTo>
                    <a:pt x="112" y="202"/>
                  </a:lnTo>
                  <a:lnTo>
                    <a:pt x="132" y="194"/>
                  </a:lnTo>
                  <a:lnTo>
                    <a:pt x="136" y="192"/>
                  </a:lnTo>
                  <a:lnTo>
                    <a:pt x="164" y="184"/>
                  </a:lnTo>
                  <a:lnTo>
                    <a:pt x="168" y="182"/>
                  </a:lnTo>
                  <a:lnTo>
                    <a:pt x="178" y="182"/>
                  </a:lnTo>
                  <a:lnTo>
                    <a:pt x="180" y="180"/>
                  </a:lnTo>
                  <a:lnTo>
                    <a:pt x="182" y="180"/>
                  </a:lnTo>
                  <a:lnTo>
                    <a:pt x="188" y="168"/>
                  </a:lnTo>
                  <a:lnTo>
                    <a:pt x="196" y="152"/>
                  </a:lnTo>
                  <a:lnTo>
                    <a:pt x="200" y="126"/>
                  </a:lnTo>
                  <a:lnTo>
                    <a:pt x="202" y="110"/>
                  </a:lnTo>
                  <a:lnTo>
                    <a:pt x="204" y="90"/>
                  </a:lnTo>
                  <a:lnTo>
                    <a:pt x="202" y="66"/>
                  </a:lnTo>
                  <a:lnTo>
                    <a:pt x="194" y="50"/>
                  </a:lnTo>
                  <a:lnTo>
                    <a:pt x="188" y="3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ea typeface="+mn-ea"/>
              </a:endParaRPr>
            </a:p>
          </p:txBody>
        </p:sp>
        <p:sp>
          <p:nvSpPr>
            <p:cNvPr id="126" name="Freeform 259"/>
            <p:cNvSpPr>
              <a:spLocks/>
            </p:cNvSpPr>
            <p:nvPr/>
          </p:nvSpPr>
          <p:spPr bwMode="auto">
            <a:xfrm>
              <a:off x="-2380235" y="1482755"/>
              <a:ext cx="827753" cy="1818639"/>
            </a:xfrm>
            <a:custGeom>
              <a:avLst/>
              <a:gdLst>
                <a:gd name="T0" fmla="*/ 2147483647 w 274"/>
                <a:gd name="T1" fmla="*/ 0 h 602"/>
                <a:gd name="T2" fmla="*/ 2147483647 w 274"/>
                <a:gd name="T3" fmla="*/ 2147483647 h 602"/>
                <a:gd name="T4" fmla="*/ 2147483647 w 274"/>
                <a:gd name="T5" fmla="*/ 2147483647 h 602"/>
                <a:gd name="T6" fmla="*/ 2147483647 w 274"/>
                <a:gd name="T7" fmla="*/ 2147483647 h 602"/>
                <a:gd name="T8" fmla="*/ 2147483647 w 274"/>
                <a:gd name="T9" fmla="*/ 2147483647 h 602"/>
                <a:gd name="T10" fmla="*/ 2147483647 w 274"/>
                <a:gd name="T11" fmla="*/ 2147483647 h 602"/>
                <a:gd name="T12" fmla="*/ 2147483647 w 274"/>
                <a:gd name="T13" fmla="*/ 2147483647 h 602"/>
                <a:gd name="T14" fmla="*/ 2147483647 w 274"/>
                <a:gd name="T15" fmla="*/ 2147483647 h 602"/>
                <a:gd name="T16" fmla="*/ 2147483647 w 274"/>
                <a:gd name="T17" fmla="*/ 2147483647 h 602"/>
                <a:gd name="T18" fmla="*/ 2147483647 w 274"/>
                <a:gd name="T19" fmla="*/ 2147483647 h 602"/>
                <a:gd name="T20" fmla="*/ 2147483647 w 274"/>
                <a:gd name="T21" fmla="*/ 2147483647 h 602"/>
                <a:gd name="T22" fmla="*/ 2147483647 w 274"/>
                <a:gd name="T23" fmla="*/ 2147483647 h 602"/>
                <a:gd name="T24" fmla="*/ 2147483647 w 274"/>
                <a:gd name="T25" fmla="*/ 2147483647 h 602"/>
                <a:gd name="T26" fmla="*/ 2147483647 w 274"/>
                <a:gd name="T27" fmla="*/ 2147483647 h 602"/>
                <a:gd name="T28" fmla="*/ 2147483647 w 274"/>
                <a:gd name="T29" fmla="*/ 2147483647 h 602"/>
                <a:gd name="T30" fmla="*/ 2147483647 w 274"/>
                <a:gd name="T31" fmla="*/ 2147483647 h 602"/>
                <a:gd name="T32" fmla="*/ 2147483647 w 274"/>
                <a:gd name="T33" fmla="*/ 2147483647 h 602"/>
                <a:gd name="T34" fmla="*/ 2147483647 w 274"/>
                <a:gd name="T35" fmla="*/ 2147483647 h 602"/>
                <a:gd name="T36" fmla="*/ 2147483647 w 274"/>
                <a:gd name="T37" fmla="*/ 2147483647 h 602"/>
                <a:gd name="T38" fmla="*/ 2147483647 w 274"/>
                <a:gd name="T39" fmla="*/ 2147483647 h 602"/>
                <a:gd name="T40" fmla="*/ 2147483647 w 274"/>
                <a:gd name="T41" fmla="*/ 2147483647 h 602"/>
                <a:gd name="T42" fmla="*/ 2147483647 w 274"/>
                <a:gd name="T43" fmla="*/ 2147483647 h 602"/>
                <a:gd name="T44" fmla="*/ 2147483647 w 274"/>
                <a:gd name="T45" fmla="*/ 2147483647 h 602"/>
                <a:gd name="T46" fmla="*/ 2147483647 w 274"/>
                <a:gd name="T47" fmla="*/ 2147483647 h 602"/>
                <a:gd name="T48" fmla="*/ 2147483647 w 274"/>
                <a:gd name="T49" fmla="*/ 2147483647 h 602"/>
                <a:gd name="T50" fmla="*/ 2147483647 w 274"/>
                <a:gd name="T51" fmla="*/ 2147483647 h 602"/>
                <a:gd name="T52" fmla="*/ 2147483647 w 274"/>
                <a:gd name="T53" fmla="*/ 2147483647 h 602"/>
                <a:gd name="T54" fmla="*/ 2147483647 w 274"/>
                <a:gd name="T55" fmla="*/ 2147483647 h 602"/>
                <a:gd name="T56" fmla="*/ 2147483647 w 274"/>
                <a:gd name="T57" fmla="*/ 2147483647 h 602"/>
                <a:gd name="T58" fmla="*/ 0 w 274"/>
                <a:gd name="T59" fmla="*/ 2147483647 h 602"/>
                <a:gd name="T60" fmla="*/ 0 w 274"/>
                <a:gd name="T61" fmla="*/ 2147483647 h 602"/>
                <a:gd name="T62" fmla="*/ 0 w 274"/>
                <a:gd name="T63" fmla="*/ 2147483647 h 602"/>
                <a:gd name="T64" fmla="*/ 2147483647 w 274"/>
                <a:gd name="T65" fmla="*/ 2147483647 h 602"/>
                <a:gd name="T66" fmla="*/ 2147483647 w 274"/>
                <a:gd name="T67" fmla="*/ 2147483647 h 602"/>
                <a:gd name="T68" fmla="*/ 2147483647 w 274"/>
                <a:gd name="T69" fmla="*/ 2147483647 h 602"/>
                <a:gd name="T70" fmla="*/ 2147483647 w 274"/>
                <a:gd name="T71" fmla="*/ 2147483647 h 602"/>
                <a:gd name="T72" fmla="*/ 2147483647 w 274"/>
                <a:gd name="T73" fmla="*/ 2147483647 h 602"/>
                <a:gd name="T74" fmla="*/ 2147483647 w 274"/>
                <a:gd name="T75" fmla="*/ 2147483647 h 602"/>
                <a:gd name="T76" fmla="*/ 2147483647 w 274"/>
                <a:gd name="T77" fmla="*/ 2147483647 h 602"/>
                <a:gd name="T78" fmla="*/ 2147483647 w 274"/>
                <a:gd name="T79" fmla="*/ 2147483647 h 602"/>
                <a:gd name="T80" fmla="*/ 2147483647 w 274"/>
                <a:gd name="T81" fmla="*/ 2147483647 h 602"/>
                <a:gd name="T82" fmla="*/ 2147483647 w 274"/>
                <a:gd name="T83" fmla="*/ 2147483647 h 602"/>
                <a:gd name="T84" fmla="*/ 2147483647 w 274"/>
                <a:gd name="T85" fmla="*/ 2147483647 h 602"/>
                <a:gd name="T86" fmla="*/ 2147483647 w 274"/>
                <a:gd name="T87" fmla="*/ 2147483647 h 602"/>
                <a:gd name="T88" fmla="*/ 2147483647 w 274"/>
                <a:gd name="T89" fmla="*/ 2147483647 h 602"/>
                <a:gd name="T90" fmla="*/ 2147483647 w 274"/>
                <a:gd name="T91" fmla="*/ 2147483647 h 602"/>
                <a:gd name="T92" fmla="*/ 2147483647 w 274"/>
                <a:gd name="T93" fmla="*/ 2147483647 h 602"/>
                <a:gd name="T94" fmla="*/ 2147483647 w 274"/>
                <a:gd name="T95" fmla="*/ 2147483647 h 602"/>
                <a:gd name="T96" fmla="*/ 2147483647 w 274"/>
                <a:gd name="T97" fmla="*/ 2147483647 h 602"/>
                <a:gd name="T98" fmla="*/ 2147483647 w 274"/>
                <a:gd name="T99" fmla="*/ 2147483647 h 602"/>
                <a:gd name="T100" fmla="*/ 2147483647 w 274"/>
                <a:gd name="T101" fmla="*/ 2147483647 h 602"/>
                <a:gd name="T102" fmla="*/ 2147483647 w 274"/>
                <a:gd name="T103" fmla="*/ 2147483647 h 602"/>
                <a:gd name="T104" fmla="*/ 2147483647 w 274"/>
                <a:gd name="T105" fmla="*/ 2147483647 h 602"/>
                <a:gd name="T106" fmla="*/ 2147483647 w 274"/>
                <a:gd name="T107" fmla="*/ 2147483647 h 602"/>
                <a:gd name="T108" fmla="*/ 2147483647 w 274"/>
                <a:gd name="T109" fmla="*/ 2147483647 h 602"/>
                <a:gd name="T110" fmla="*/ 2147483647 w 274"/>
                <a:gd name="T111" fmla="*/ 2147483647 h 602"/>
                <a:gd name="T112" fmla="*/ 2147483647 w 274"/>
                <a:gd name="T113" fmla="*/ 2147483647 h 602"/>
                <a:gd name="T114" fmla="*/ 2147483647 w 274"/>
                <a:gd name="T115" fmla="*/ 2147483647 h 602"/>
                <a:gd name="T116" fmla="*/ 2147483647 w 274"/>
                <a:gd name="T117" fmla="*/ 2147483647 h 60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74"/>
                <a:gd name="T178" fmla="*/ 0 h 602"/>
                <a:gd name="T179" fmla="*/ 274 w 274"/>
                <a:gd name="T180" fmla="*/ 602 h 60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74" h="602">
                  <a:moveTo>
                    <a:pt x="124" y="0"/>
                  </a:moveTo>
                  <a:lnTo>
                    <a:pt x="124" y="0"/>
                  </a:lnTo>
                  <a:lnTo>
                    <a:pt x="120" y="2"/>
                  </a:lnTo>
                  <a:lnTo>
                    <a:pt x="116" y="4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98" y="64"/>
                  </a:lnTo>
                  <a:lnTo>
                    <a:pt x="96" y="68"/>
                  </a:lnTo>
                  <a:lnTo>
                    <a:pt x="80" y="88"/>
                  </a:lnTo>
                  <a:lnTo>
                    <a:pt x="52" y="140"/>
                  </a:lnTo>
                  <a:lnTo>
                    <a:pt x="50" y="144"/>
                  </a:lnTo>
                  <a:lnTo>
                    <a:pt x="46" y="152"/>
                  </a:lnTo>
                  <a:lnTo>
                    <a:pt x="46" y="154"/>
                  </a:lnTo>
                  <a:lnTo>
                    <a:pt x="44" y="172"/>
                  </a:lnTo>
                  <a:lnTo>
                    <a:pt x="42" y="180"/>
                  </a:lnTo>
                  <a:lnTo>
                    <a:pt x="42" y="194"/>
                  </a:lnTo>
                  <a:lnTo>
                    <a:pt x="42" y="238"/>
                  </a:lnTo>
                  <a:lnTo>
                    <a:pt x="42" y="256"/>
                  </a:lnTo>
                  <a:lnTo>
                    <a:pt x="42" y="268"/>
                  </a:lnTo>
                  <a:lnTo>
                    <a:pt x="44" y="282"/>
                  </a:lnTo>
                  <a:lnTo>
                    <a:pt x="44" y="294"/>
                  </a:lnTo>
                  <a:lnTo>
                    <a:pt x="44" y="298"/>
                  </a:lnTo>
                  <a:lnTo>
                    <a:pt x="48" y="328"/>
                  </a:lnTo>
                  <a:lnTo>
                    <a:pt x="48" y="360"/>
                  </a:lnTo>
                  <a:lnTo>
                    <a:pt x="48" y="386"/>
                  </a:lnTo>
                  <a:lnTo>
                    <a:pt x="46" y="394"/>
                  </a:lnTo>
                  <a:lnTo>
                    <a:pt x="42" y="404"/>
                  </a:lnTo>
                  <a:lnTo>
                    <a:pt x="36" y="460"/>
                  </a:lnTo>
                  <a:lnTo>
                    <a:pt x="36" y="464"/>
                  </a:lnTo>
                  <a:lnTo>
                    <a:pt x="32" y="476"/>
                  </a:lnTo>
                  <a:lnTo>
                    <a:pt x="24" y="494"/>
                  </a:lnTo>
                  <a:lnTo>
                    <a:pt x="24" y="498"/>
                  </a:lnTo>
                  <a:lnTo>
                    <a:pt x="18" y="514"/>
                  </a:lnTo>
                  <a:lnTo>
                    <a:pt x="12" y="534"/>
                  </a:lnTo>
                  <a:lnTo>
                    <a:pt x="6" y="580"/>
                  </a:lnTo>
                  <a:lnTo>
                    <a:pt x="4" y="584"/>
                  </a:lnTo>
                  <a:lnTo>
                    <a:pt x="0" y="594"/>
                  </a:lnTo>
                  <a:lnTo>
                    <a:pt x="0" y="596"/>
                  </a:lnTo>
                  <a:lnTo>
                    <a:pt x="64" y="596"/>
                  </a:lnTo>
                  <a:lnTo>
                    <a:pt x="144" y="596"/>
                  </a:lnTo>
                  <a:lnTo>
                    <a:pt x="148" y="596"/>
                  </a:lnTo>
                  <a:lnTo>
                    <a:pt x="208" y="600"/>
                  </a:lnTo>
                  <a:lnTo>
                    <a:pt x="212" y="600"/>
                  </a:lnTo>
                  <a:lnTo>
                    <a:pt x="230" y="600"/>
                  </a:lnTo>
                  <a:lnTo>
                    <a:pt x="234" y="598"/>
                  </a:lnTo>
                  <a:lnTo>
                    <a:pt x="268" y="602"/>
                  </a:lnTo>
                  <a:lnTo>
                    <a:pt x="270" y="600"/>
                  </a:lnTo>
                  <a:lnTo>
                    <a:pt x="274" y="586"/>
                  </a:lnTo>
                  <a:lnTo>
                    <a:pt x="274" y="582"/>
                  </a:lnTo>
                  <a:lnTo>
                    <a:pt x="264" y="550"/>
                  </a:lnTo>
                  <a:lnTo>
                    <a:pt x="264" y="546"/>
                  </a:lnTo>
                  <a:lnTo>
                    <a:pt x="260" y="460"/>
                  </a:lnTo>
                  <a:lnTo>
                    <a:pt x="260" y="456"/>
                  </a:lnTo>
                  <a:lnTo>
                    <a:pt x="256" y="400"/>
                  </a:lnTo>
                  <a:lnTo>
                    <a:pt x="256" y="396"/>
                  </a:lnTo>
                  <a:lnTo>
                    <a:pt x="254" y="386"/>
                  </a:lnTo>
                  <a:lnTo>
                    <a:pt x="256" y="374"/>
                  </a:lnTo>
                  <a:lnTo>
                    <a:pt x="258" y="366"/>
                  </a:lnTo>
                  <a:lnTo>
                    <a:pt x="258" y="360"/>
                  </a:lnTo>
                  <a:lnTo>
                    <a:pt x="260" y="352"/>
                  </a:lnTo>
                  <a:lnTo>
                    <a:pt x="268" y="318"/>
                  </a:lnTo>
                  <a:lnTo>
                    <a:pt x="274" y="290"/>
                  </a:lnTo>
                  <a:lnTo>
                    <a:pt x="274" y="286"/>
                  </a:lnTo>
                  <a:lnTo>
                    <a:pt x="252" y="186"/>
                  </a:lnTo>
                  <a:lnTo>
                    <a:pt x="250" y="182"/>
                  </a:lnTo>
                  <a:lnTo>
                    <a:pt x="238" y="158"/>
                  </a:lnTo>
                  <a:lnTo>
                    <a:pt x="236" y="154"/>
                  </a:lnTo>
                  <a:lnTo>
                    <a:pt x="204" y="102"/>
                  </a:lnTo>
                  <a:lnTo>
                    <a:pt x="202" y="100"/>
                  </a:lnTo>
                  <a:lnTo>
                    <a:pt x="180" y="70"/>
                  </a:lnTo>
                  <a:lnTo>
                    <a:pt x="178" y="68"/>
                  </a:lnTo>
                  <a:lnTo>
                    <a:pt x="164" y="58"/>
                  </a:lnTo>
                  <a:lnTo>
                    <a:pt x="162" y="56"/>
                  </a:lnTo>
                  <a:lnTo>
                    <a:pt x="124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ea typeface="+mn-ea"/>
              </a:endParaRPr>
            </a:p>
          </p:txBody>
        </p:sp>
        <p:sp>
          <p:nvSpPr>
            <p:cNvPr id="127" name="Freeform 260"/>
            <p:cNvSpPr>
              <a:spLocks/>
            </p:cNvSpPr>
            <p:nvPr/>
          </p:nvSpPr>
          <p:spPr bwMode="auto">
            <a:xfrm>
              <a:off x="-1709574" y="2455515"/>
              <a:ext cx="839837" cy="586073"/>
            </a:xfrm>
            <a:custGeom>
              <a:avLst/>
              <a:gdLst>
                <a:gd name="T0" fmla="*/ 2147483647 w 278"/>
                <a:gd name="T1" fmla="*/ 2147483647 h 194"/>
                <a:gd name="T2" fmla="*/ 0 w 278"/>
                <a:gd name="T3" fmla="*/ 2147483647 h 194"/>
                <a:gd name="T4" fmla="*/ 2147483647 w 278"/>
                <a:gd name="T5" fmla="*/ 2147483647 h 194"/>
                <a:gd name="T6" fmla="*/ 2147483647 w 278"/>
                <a:gd name="T7" fmla="*/ 2147483647 h 194"/>
                <a:gd name="T8" fmla="*/ 2147483647 w 278"/>
                <a:gd name="T9" fmla="*/ 2147483647 h 194"/>
                <a:gd name="T10" fmla="*/ 2147483647 w 278"/>
                <a:gd name="T11" fmla="*/ 2147483647 h 194"/>
                <a:gd name="T12" fmla="*/ 2147483647 w 278"/>
                <a:gd name="T13" fmla="*/ 2147483647 h 194"/>
                <a:gd name="T14" fmla="*/ 2147483647 w 278"/>
                <a:gd name="T15" fmla="*/ 2147483647 h 194"/>
                <a:gd name="T16" fmla="*/ 2147483647 w 278"/>
                <a:gd name="T17" fmla="*/ 2147483647 h 194"/>
                <a:gd name="T18" fmla="*/ 2147483647 w 278"/>
                <a:gd name="T19" fmla="*/ 2147483647 h 194"/>
                <a:gd name="T20" fmla="*/ 2147483647 w 278"/>
                <a:gd name="T21" fmla="*/ 2147483647 h 194"/>
                <a:gd name="T22" fmla="*/ 2147483647 w 278"/>
                <a:gd name="T23" fmla="*/ 2147483647 h 194"/>
                <a:gd name="T24" fmla="*/ 2147483647 w 278"/>
                <a:gd name="T25" fmla="*/ 2147483647 h 194"/>
                <a:gd name="T26" fmla="*/ 2147483647 w 278"/>
                <a:gd name="T27" fmla="*/ 2147483647 h 194"/>
                <a:gd name="T28" fmla="*/ 2147483647 w 278"/>
                <a:gd name="T29" fmla="*/ 2147483647 h 194"/>
                <a:gd name="T30" fmla="*/ 2147483647 w 278"/>
                <a:gd name="T31" fmla="*/ 2147483647 h 194"/>
                <a:gd name="T32" fmla="*/ 2147483647 w 278"/>
                <a:gd name="T33" fmla="*/ 2147483647 h 194"/>
                <a:gd name="T34" fmla="*/ 2147483647 w 278"/>
                <a:gd name="T35" fmla="*/ 2147483647 h 194"/>
                <a:gd name="T36" fmla="*/ 2147483647 w 278"/>
                <a:gd name="T37" fmla="*/ 2147483647 h 194"/>
                <a:gd name="T38" fmla="*/ 2147483647 w 278"/>
                <a:gd name="T39" fmla="*/ 2147483647 h 194"/>
                <a:gd name="T40" fmla="*/ 2147483647 w 278"/>
                <a:gd name="T41" fmla="*/ 2147483647 h 194"/>
                <a:gd name="T42" fmla="*/ 2147483647 w 278"/>
                <a:gd name="T43" fmla="*/ 2147483647 h 194"/>
                <a:gd name="T44" fmla="*/ 2147483647 w 278"/>
                <a:gd name="T45" fmla="*/ 2147483647 h 194"/>
                <a:gd name="T46" fmla="*/ 2147483647 w 278"/>
                <a:gd name="T47" fmla="*/ 2147483647 h 194"/>
                <a:gd name="T48" fmla="*/ 2147483647 w 278"/>
                <a:gd name="T49" fmla="*/ 2147483647 h 194"/>
                <a:gd name="T50" fmla="*/ 2147483647 w 278"/>
                <a:gd name="T51" fmla="*/ 2147483647 h 194"/>
                <a:gd name="T52" fmla="*/ 2147483647 w 278"/>
                <a:gd name="T53" fmla="*/ 2147483647 h 194"/>
                <a:gd name="T54" fmla="*/ 2147483647 w 278"/>
                <a:gd name="T55" fmla="*/ 2147483647 h 194"/>
                <a:gd name="T56" fmla="*/ 2147483647 w 278"/>
                <a:gd name="T57" fmla="*/ 2147483647 h 194"/>
                <a:gd name="T58" fmla="*/ 2147483647 w 278"/>
                <a:gd name="T59" fmla="*/ 2147483647 h 194"/>
                <a:gd name="T60" fmla="*/ 2147483647 w 278"/>
                <a:gd name="T61" fmla="*/ 2147483647 h 194"/>
                <a:gd name="T62" fmla="*/ 2147483647 w 278"/>
                <a:gd name="T63" fmla="*/ 2147483647 h 194"/>
                <a:gd name="T64" fmla="*/ 2147483647 w 278"/>
                <a:gd name="T65" fmla="*/ 2147483647 h 194"/>
                <a:gd name="T66" fmla="*/ 2147483647 w 278"/>
                <a:gd name="T67" fmla="*/ 2147483647 h 194"/>
                <a:gd name="T68" fmla="*/ 2147483647 w 278"/>
                <a:gd name="T69" fmla="*/ 0 h 194"/>
                <a:gd name="T70" fmla="*/ 2147483647 w 278"/>
                <a:gd name="T71" fmla="*/ 0 h 194"/>
                <a:gd name="T72" fmla="*/ 2147483647 w 278"/>
                <a:gd name="T73" fmla="*/ 2147483647 h 19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78"/>
                <a:gd name="T112" fmla="*/ 0 h 194"/>
                <a:gd name="T113" fmla="*/ 278 w 278"/>
                <a:gd name="T114" fmla="*/ 194 h 19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78" h="194">
                  <a:moveTo>
                    <a:pt x="2" y="4"/>
                  </a:moveTo>
                  <a:lnTo>
                    <a:pt x="2" y="4"/>
                  </a:lnTo>
                  <a:lnTo>
                    <a:pt x="0" y="6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30" y="118"/>
                  </a:lnTo>
                  <a:lnTo>
                    <a:pt x="32" y="122"/>
                  </a:lnTo>
                  <a:lnTo>
                    <a:pt x="52" y="130"/>
                  </a:lnTo>
                  <a:lnTo>
                    <a:pt x="56" y="130"/>
                  </a:lnTo>
                  <a:lnTo>
                    <a:pt x="84" y="142"/>
                  </a:lnTo>
                  <a:lnTo>
                    <a:pt x="86" y="144"/>
                  </a:lnTo>
                  <a:lnTo>
                    <a:pt x="98" y="148"/>
                  </a:lnTo>
                  <a:lnTo>
                    <a:pt x="112" y="154"/>
                  </a:lnTo>
                  <a:lnTo>
                    <a:pt x="128" y="158"/>
                  </a:lnTo>
                  <a:lnTo>
                    <a:pt x="142" y="164"/>
                  </a:lnTo>
                  <a:lnTo>
                    <a:pt x="146" y="164"/>
                  </a:lnTo>
                  <a:lnTo>
                    <a:pt x="178" y="174"/>
                  </a:lnTo>
                  <a:lnTo>
                    <a:pt x="182" y="176"/>
                  </a:lnTo>
                  <a:lnTo>
                    <a:pt x="216" y="184"/>
                  </a:lnTo>
                  <a:lnTo>
                    <a:pt x="256" y="194"/>
                  </a:lnTo>
                  <a:lnTo>
                    <a:pt x="258" y="192"/>
                  </a:lnTo>
                  <a:lnTo>
                    <a:pt x="262" y="184"/>
                  </a:lnTo>
                  <a:lnTo>
                    <a:pt x="266" y="174"/>
                  </a:lnTo>
                  <a:lnTo>
                    <a:pt x="266" y="170"/>
                  </a:lnTo>
                  <a:lnTo>
                    <a:pt x="278" y="136"/>
                  </a:lnTo>
                  <a:lnTo>
                    <a:pt x="278" y="132"/>
                  </a:lnTo>
                  <a:lnTo>
                    <a:pt x="278" y="124"/>
                  </a:lnTo>
                  <a:lnTo>
                    <a:pt x="278" y="122"/>
                  </a:lnTo>
                  <a:lnTo>
                    <a:pt x="158" y="82"/>
                  </a:lnTo>
                  <a:lnTo>
                    <a:pt x="154" y="80"/>
                  </a:lnTo>
                  <a:lnTo>
                    <a:pt x="140" y="74"/>
                  </a:lnTo>
                  <a:lnTo>
                    <a:pt x="136" y="72"/>
                  </a:lnTo>
                  <a:lnTo>
                    <a:pt x="106" y="60"/>
                  </a:lnTo>
                  <a:lnTo>
                    <a:pt x="104" y="58"/>
                  </a:lnTo>
                  <a:lnTo>
                    <a:pt x="90" y="46"/>
                  </a:lnTo>
                  <a:lnTo>
                    <a:pt x="86" y="46"/>
                  </a:lnTo>
                  <a:lnTo>
                    <a:pt x="82" y="44"/>
                  </a:lnTo>
                  <a:lnTo>
                    <a:pt x="78" y="44"/>
                  </a:lnTo>
                  <a:lnTo>
                    <a:pt x="70" y="40"/>
                  </a:lnTo>
                  <a:lnTo>
                    <a:pt x="66" y="36"/>
                  </a:lnTo>
                  <a:lnTo>
                    <a:pt x="64" y="34"/>
                  </a:lnTo>
                  <a:lnTo>
                    <a:pt x="56" y="24"/>
                  </a:lnTo>
                  <a:lnTo>
                    <a:pt x="50" y="16"/>
                  </a:lnTo>
                  <a:lnTo>
                    <a:pt x="48" y="12"/>
                  </a:lnTo>
                  <a:lnTo>
                    <a:pt x="38" y="2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ea typeface="+mn-ea"/>
              </a:endParaRPr>
            </a:p>
          </p:txBody>
        </p:sp>
        <p:sp>
          <p:nvSpPr>
            <p:cNvPr id="128" name="Freeform 261"/>
            <p:cNvSpPr>
              <a:spLocks/>
            </p:cNvSpPr>
            <p:nvPr/>
          </p:nvSpPr>
          <p:spPr bwMode="auto">
            <a:xfrm>
              <a:off x="-912031" y="2727405"/>
              <a:ext cx="314183" cy="332309"/>
            </a:xfrm>
            <a:custGeom>
              <a:avLst/>
              <a:gdLst>
                <a:gd name="T0" fmla="*/ 2147483647 w 104"/>
                <a:gd name="T1" fmla="*/ 0 h 110"/>
                <a:gd name="T2" fmla="*/ 2147483647 w 104"/>
                <a:gd name="T3" fmla="*/ 0 h 110"/>
                <a:gd name="T4" fmla="*/ 2147483647 w 104"/>
                <a:gd name="T5" fmla="*/ 2147483647 h 110"/>
                <a:gd name="T6" fmla="*/ 2147483647 w 104"/>
                <a:gd name="T7" fmla="*/ 0 h 110"/>
                <a:gd name="T8" fmla="*/ 2147483647 w 104"/>
                <a:gd name="T9" fmla="*/ 0 h 110"/>
                <a:gd name="T10" fmla="*/ 2147483647 w 104"/>
                <a:gd name="T11" fmla="*/ 2147483647 h 110"/>
                <a:gd name="T12" fmla="*/ 2147483647 w 104"/>
                <a:gd name="T13" fmla="*/ 2147483647 h 110"/>
                <a:gd name="T14" fmla="*/ 2147483647 w 104"/>
                <a:gd name="T15" fmla="*/ 2147483647 h 110"/>
                <a:gd name="T16" fmla="*/ 2147483647 w 104"/>
                <a:gd name="T17" fmla="*/ 2147483647 h 110"/>
                <a:gd name="T18" fmla="*/ 2147483647 w 104"/>
                <a:gd name="T19" fmla="*/ 2147483647 h 110"/>
                <a:gd name="T20" fmla="*/ 2147483647 w 104"/>
                <a:gd name="T21" fmla="*/ 2147483647 h 110"/>
                <a:gd name="T22" fmla="*/ 2147483647 w 104"/>
                <a:gd name="T23" fmla="*/ 2147483647 h 110"/>
                <a:gd name="T24" fmla="*/ 0 w 104"/>
                <a:gd name="T25" fmla="*/ 2147483647 h 110"/>
                <a:gd name="T26" fmla="*/ 0 w 104"/>
                <a:gd name="T27" fmla="*/ 2147483647 h 110"/>
                <a:gd name="T28" fmla="*/ 2147483647 w 104"/>
                <a:gd name="T29" fmla="*/ 2147483647 h 110"/>
                <a:gd name="T30" fmla="*/ 2147483647 w 104"/>
                <a:gd name="T31" fmla="*/ 2147483647 h 110"/>
                <a:gd name="T32" fmla="*/ 2147483647 w 104"/>
                <a:gd name="T33" fmla="*/ 2147483647 h 110"/>
                <a:gd name="T34" fmla="*/ 2147483647 w 104"/>
                <a:gd name="T35" fmla="*/ 2147483647 h 110"/>
                <a:gd name="T36" fmla="*/ 2147483647 w 104"/>
                <a:gd name="T37" fmla="*/ 2147483647 h 110"/>
                <a:gd name="T38" fmla="*/ 2147483647 w 104"/>
                <a:gd name="T39" fmla="*/ 2147483647 h 110"/>
                <a:gd name="T40" fmla="*/ 2147483647 w 104"/>
                <a:gd name="T41" fmla="*/ 2147483647 h 110"/>
                <a:gd name="T42" fmla="*/ 2147483647 w 104"/>
                <a:gd name="T43" fmla="*/ 2147483647 h 110"/>
                <a:gd name="T44" fmla="*/ 2147483647 w 104"/>
                <a:gd name="T45" fmla="*/ 2147483647 h 110"/>
                <a:gd name="T46" fmla="*/ 2147483647 w 104"/>
                <a:gd name="T47" fmla="*/ 2147483647 h 110"/>
                <a:gd name="T48" fmla="*/ 2147483647 w 104"/>
                <a:gd name="T49" fmla="*/ 2147483647 h 110"/>
                <a:gd name="T50" fmla="*/ 2147483647 w 104"/>
                <a:gd name="T51" fmla="*/ 2147483647 h 110"/>
                <a:gd name="T52" fmla="*/ 2147483647 w 104"/>
                <a:gd name="T53" fmla="*/ 2147483647 h 110"/>
                <a:gd name="T54" fmla="*/ 2147483647 w 104"/>
                <a:gd name="T55" fmla="*/ 2147483647 h 110"/>
                <a:gd name="T56" fmla="*/ 2147483647 w 104"/>
                <a:gd name="T57" fmla="*/ 2147483647 h 110"/>
                <a:gd name="T58" fmla="*/ 2147483647 w 104"/>
                <a:gd name="T59" fmla="*/ 2147483647 h 110"/>
                <a:gd name="T60" fmla="*/ 2147483647 w 104"/>
                <a:gd name="T61" fmla="*/ 2147483647 h 110"/>
                <a:gd name="T62" fmla="*/ 2147483647 w 104"/>
                <a:gd name="T63" fmla="*/ 2147483647 h 110"/>
                <a:gd name="T64" fmla="*/ 2147483647 w 104"/>
                <a:gd name="T65" fmla="*/ 2147483647 h 110"/>
                <a:gd name="T66" fmla="*/ 2147483647 w 104"/>
                <a:gd name="T67" fmla="*/ 2147483647 h 110"/>
                <a:gd name="T68" fmla="*/ 2147483647 w 104"/>
                <a:gd name="T69" fmla="*/ 2147483647 h 110"/>
                <a:gd name="T70" fmla="*/ 2147483647 w 104"/>
                <a:gd name="T71" fmla="*/ 0 h 11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04"/>
                <a:gd name="T109" fmla="*/ 0 h 110"/>
                <a:gd name="T110" fmla="*/ 104 w 104"/>
                <a:gd name="T111" fmla="*/ 110 h 11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04" h="110">
                  <a:moveTo>
                    <a:pt x="74" y="0"/>
                  </a:moveTo>
                  <a:lnTo>
                    <a:pt x="74" y="0"/>
                  </a:lnTo>
                  <a:lnTo>
                    <a:pt x="70" y="0"/>
                  </a:lnTo>
                  <a:lnTo>
                    <a:pt x="64" y="2"/>
                  </a:lnTo>
                  <a:lnTo>
                    <a:pt x="56" y="2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36" y="2"/>
                  </a:lnTo>
                  <a:lnTo>
                    <a:pt x="28" y="6"/>
                  </a:lnTo>
                  <a:lnTo>
                    <a:pt x="14" y="18"/>
                  </a:lnTo>
                  <a:lnTo>
                    <a:pt x="6" y="26"/>
                  </a:lnTo>
                  <a:lnTo>
                    <a:pt x="4" y="30"/>
                  </a:lnTo>
                  <a:lnTo>
                    <a:pt x="4" y="36"/>
                  </a:lnTo>
                  <a:lnTo>
                    <a:pt x="4" y="42"/>
                  </a:lnTo>
                  <a:lnTo>
                    <a:pt x="4" y="48"/>
                  </a:lnTo>
                  <a:lnTo>
                    <a:pt x="2" y="56"/>
                  </a:lnTo>
                  <a:lnTo>
                    <a:pt x="0" y="64"/>
                  </a:lnTo>
                  <a:lnTo>
                    <a:pt x="0" y="68"/>
                  </a:lnTo>
                  <a:lnTo>
                    <a:pt x="0" y="72"/>
                  </a:lnTo>
                  <a:lnTo>
                    <a:pt x="6" y="80"/>
                  </a:lnTo>
                  <a:lnTo>
                    <a:pt x="14" y="88"/>
                  </a:lnTo>
                  <a:lnTo>
                    <a:pt x="14" y="92"/>
                  </a:lnTo>
                  <a:lnTo>
                    <a:pt x="16" y="98"/>
                  </a:lnTo>
                  <a:lnTo>
                    <a:pt x="22" y="100"/>
                  </a:lnTo>
                  <a:lnTo>
                    <a:pt x="28" y="102"/>
                  </a:lnTo>
                  <a:lnTo>
                    <a:pt x="30" y="102"/>
                  </a:lnTo>
                  <a:lnTo>
                    <a:pt x="38" y="106"/>
                  </a:lnTo>
                  <a:lnTo>
                    <a:pt x="44" y="110"/>
                  </a:lnTo>
                  <a:lnTo>
                    <a:pt x="52" y="110"/>
                  </a:lnTo>
                  <a:lnTo>
                    <a:pt x="56" y="110"/>
                  </a:lnTo>
                  <a:lnTo>
                    <a:pt x="58" y="106"/>
                  </a:lnTo>
                  <a:lnTo>
                    <a:pt x="64" y="100"/>
                  </a:lnTo>
                  <a:lnTo>
                    <a:pt x="70" y="92"/>
                  </a:lnTo>
                  <a:lnTo>
                    <a:pt x="78" y="86"/>
                  </a:lnTo>
                  <a:lnTo>
                    <a:pt x="92" y="80"/>
                  </a:lnTo>
                  <a:lnTo>
                    <a:pt x="98" y="78"/>
                  </a:lnTo>
                  <a:lnTo>
                    <a:pt x="102" y="72"/>
                  </a:lnTo>
                  <a:lnTo>
                    <a:pt x="104" y="66"/>
                  </a:lnTo>
                  <a:lnTo>
                    <a:pt x="104" y="60"/>
                  </a:lnTo>
                  <a:lnTo>
                    <a:pt x="102" y="46"/>
                  </a:lnTo>
                  <a:lnTo>
                    <a:pt x="100" y="34"/>
                  </a:lnTo>
                  <a:lnTo>
                    <a:pt x="94" y="24"/>
                  </a:lnTo>
                  <a:lnTo>
                    <a:pt x="90" y="16"/>
                  </a:lnTo>
                  <a:lnTo>
                    <a:pt x="84" y="6"/>
                  </a:lnTo>
                  <a:lnTo>
                    <a:pt x="80" y="2"/>
                  </a:lnTo>
                  <a:lnTo>
                    <a:pt x="78" y="2"/>
                  </a:lnTo>
                  <a:lnTo>
                    <a:pt x="74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ea typeface="+mn-ea"/>
              </a:endParaRPr>
            </a:p>
          </p:txBody>
        </p:sp>
        <p:sp>
          <p:nvSpPr>
            <p:cNvPr id="129" name="Freeform 262"/>
            <p:cNvSpPr>
              <a:spLocks/>
            </p:cNvSpPr>
            <p:nvPr/>
          </p:nvSpPr>
          <p:spPr bwMode="auto">
            <a:xfrm>
              <a:off x="-2398361" y="987311"/>
              <a:ext cx="791501" cy="906299"/>
            </a:xfrm>
            <a:custGeom>
              <a:avLst/>
              <a:gdLst>
                <a:gd name="T0" fmla="*/ 2147483647 w 262"/>
                <a:gd name="T1" fmla="*/ 2147483647 h 300"/>
                <a:gd name="T2" fmla="*/ 2147483647 w 262"/>
                <a:gd name="T3" fmla="*/ 2147483647 h 300"/>
                <a:gd name="T4" fmla="*/ 2147483647 w 262"/>
                <a:gd name="T5" fmla="*/ 2147483647 h 300"/>
                <a:gd name="T6" fmla="*/ 2147483647 w 262"/>
                <a:gd name="T7" fmla="*/ 2147483647 h 300"/>
                <a:gd name="T8" fmla="*/ 2147483647 w 262"/>
                <a:gd name="T9" fmla="*/ 2147483647 h 300"/>
                <a:gd name="T10" fmla="*/ 2147483647 w 262"/>
                <a:gd name="T11" fmla="*/ 2147483647 h 300"/>
                <a:gd name="T12" fmla="*/ 2147483647 w 262"/>
                <a:gd name="T13" fmla="*/ 2147483647 h 300"/>
                <a:gd name="T14" fmla="*/ 2147483647 w 262"/>
                <a:gd name="T15" fmla="*/ 0 h 300"/>
                <a:gd name="T16" fmla="*/ 2147483647 w 262"/>
                <a:gd name="T17" fmla="*/ 2147483647 h 300"/>
                <a:gd name="T18" fmla="*/ 2147483647 w 262"/>
                <a:gd name="T19" fmla="*/ 2147483647 h 300"/>
                <a:gd name="T20" fmla="*/ 2147483647 w 262"/>
                <a:gd name="T21" fmla="*/ 2147483647 h 300"/>
                <a:gd name="T22" fmla="*/ 2147483647 w 262"/>
                <a:gd name="T23" fmla="*/ 2147483647 h 300"/>
                <a:gd name="T24" fmla="*/ 2147483647 w 262"/>
                <a:gd name="T25" fmla="*/ 2147483647 h 300"/>
                <a:gd name="T26" fmla="*/ 2147483647 w 262"/>
                <a:gd name="T27" fmla="*/ 2147483647 h 300"/>
                <a:gd name="T28" fmla="*/ 2147483647 w 262"/>
                <a:gd name="T29" fmla="*/ 2147483647 h 300"/>
                <a:gd name="T30" fmla="*/ 2147483647 w 262"/>
                <a:gd name="T31" fmla="*/ 2147483647 h 300"/>
                <a:gd name="T32" fmla="*/ 2147483647 w 262"/>
                <a:gd name="T33" fmla="*/ 2147483647 h 300"/>
                <a:gd name="T34" fmla="*/ 2147483647 w 262"/>
                <a:gd name="T35" fmla="*/ 2147483647 h 300"/>
                <a:gd name="T36" fmla="*/ 2147483647 w 262"/>
                <a:gd name="T37" fmla="*/ 2147483647 h 300"/>
                <a:gd name="T38" fmla="*/ 2147483647 w 262"/>
                <a:gd name="T39" fmla="*/ 2147483647 h 300"/>
                <a:gd name="T40" fmla="*/ 2147483647 w 262"/>
                <a:gd name="T41" fmla="*/ 2147483647 h 300"/>
                <a:gd name="T42" fmla="*/ 2147483647 w 262"/>
                <a:gd name="T43" fmla="*/ 2147483647 h 300"/>
                <a:gd name="T44" fmla="*/ 2147483647 w 262"/>
                <a:gd name="T45" fmla="*/ 2147483647 h 300"/>
                <a:gd name="T46" fmla="*/ 2147483647 w 262"/>
                <a:gd name="T47" fmla="*/ 2147483647 h 300"/>
                <a:gd name="T48" fmla="*/ 2147483647 w 262"/>
                <a:gd name="T49" fmla="*/ 2147483647 h 300"/>
                <a:gd name="T50" fmla="*/ 2147483647 w 262"/>
                <a:gd name="T51" fmla="*/ 2147483647 h 300"/>
                <a:gd name="T52" fmla="*/ 2147483647 w 262"/>
                <a:gd name="T53" fmla="*/ 2147483647 h 300"/>
                <a:gd name="T54" fmla="*/ 2147483647 w 262"/>
                <a:gd name="T55" fmla="*/ 2147483647 h 300"/>
                <a:gd name="T56" fmla="*/ 2147483647 w 262"/>
                <a:gd name="T57" fmla="*/ 2147483647 h 300"/>
                <a:gd name="T58" fmla="*/ 2147483647 w 262"/>
                <a:gd name="T59" fmla="*/ 2147483647 h 300"/>
                <a:gd name="T60" fmla="*/ 2147483647 w 262"/>
                <a:gd name="T61" fmla="*/ 2147483647 h 300"/>
                <a:gd name="T62" fmla="*/ 2147483647 w 262"/>
                <a:gd name="T63" fmla="*/ 2147483647 h 300"/>
                <a:gd name="T64" fmla="*/ 2147483647 w 262"/>
                <a:gd name="T65" fmla="*/ 2147483647 h 300"/>
                <a:gd name="T66" fmla="*/ 2147483647 w 262"/>
                <a:gd name="T67" fmla="*/ 2147483647 h 300"/>
                <a:gd name="T68" fmla="*/ 2147483647 w 262"/>
                <a:gd name="T69" fmla="*/ 2147483647 h 300"/>
                <a:gd name="T70" fmla="*/ 2147483647 w 262"/>
                <a:gd name="T71" fmla="*/ 2147483647 h 300"/>
                <a:gd name="T72" fmla="*/ 2147483647 w 262"/>
                <a:gd name="T73" fmla="*/ 2147483647 h 300"/>
                <a:gd name="T74" fmla="*/ 2147483647 w 262"/>
                <a:gd name="T75" fmla="*/ 2147483647 h 300"/>
                <a:gd name="T76" fmla="*/ 2147483647 w 262"/>
                <a:gd name="T77" fmla="*/ 2147483647 h 300"/>
                <a:gd name="T78" fmla="*/ 2147483647 w 262"/>
                <a:gd name="T79" fmla="*/ 2147483647 h 300"/>
                <a:gd name="T80" fmla="*/ 2147483647 w 262"/>
                <a:gd name="T81" fmla="*/ 2147483647 h 300"/>
                <a:gd name="T82" fmla="*/ 2147483647 w 262"/>
                <a:gd name="T83" fmla="*/ 2147483647 h 300"/>
                <a:gd name="T84" fmla="*/ 2147483647 w 262"/>
                <a:gd name="T85" fmla="*/ 2147483647 h 300"/>
                <a:gd name="T86" fmla="*/ 2147483647 w 262"/>
                <a:gd name="T87" fmla="*/ 2147483647 h 300"/>
                <a:gd name="T88" fmla="*/ 2147483647 w 262"/>
                <a:gd name="T89" fmla="*/ 2147483647 h 300"/>
                <a:gd name="T90" fmla="*/ 2147483647 w 262"/>
                <a:gd name="T91" fmla="*/ 2147483647 h 300"/>
                <a:gd name="T92" fmla="*/ 2147483647 w 262"/>
                <a:gd name="T93" fmla="*/ 2147483647 h 300"/>
                <a:gd name="T94" fmla="*/ 2147483647 w 262"/>
                <a:gd name="T95" fmla="*/ 2147483647 h 300"/>
                <a:gd name="T96" fmla="*/ 2147483647 w 262"/>
                <a:gd name="T97" fmla="*/ 2147483647 h 300"/>
                <a:gd name="T98" fmla="*/ 2147483647 w 262"/>
                <a:gd name="T99" fmla="*/ 2147483647 h 300"/>
                <a:gd name="T100" fmla="*/ 2147483647 w 262"/>
                <a:gd name="T101" fmla="*/ 2147483647 h 300"/>
                <a:gd name="T102" fmla="*/ 2147483647 w 262"/>
                <a:gd name="T103" fmla="*/ 2147483647 h 3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62"/>
                <a:gd name="T157" fmla="*/ 0 h 300"/>
                <a:gd name="T158" fmla="*/ 262 w 262"/>
                <a:gd name="T159" fmla="*/ 300 h 30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62" h="300">
                  <a:moveTo>
                    <a:pt x="262" y="114"/>
                  </a:moveTo>
                  <a:lnTo>
                    <a:pt x="252" y="102"/>
                  </a:lnTo>
                  <a:lnTo>
                    <a:pt x="250" y="100"/>
                  </a:lnTo>
                  <a:lnTo>
                    <a:pt x="246" y="96"/>
                  </a:lnTo>
                  <a:lnTo>
                    <a:pt x="244" y="94"/>
                  </a:lnTo>
                  <a:lnTo>
                    <a:pt x="240" y="88"/>
                  </a:lnTo>
                  <a:lnTo>
                    <a:pt x="240" y="84"/>
                  </a:lnTo>
                  <a:lnTo>
                    <a:pt x="240" y="72"/>
                  </a:lnTo>
                  <a:lnTo>
                    <a:pt x="238" y="60"/>
                  </a:lnTo>
                  <a:lnTo>
                    <a:pt x="222" y="38"/>
                  </a:lnTo>
                  <a:lnTo>
                    <a:pt x="218" y="30"/>
                  </a:lnTo>
                  <a:lnTo>
                    <a:pt x="214" y="28"/>
                  </a:lnTo>
                  <a:lnTo>
                    <a:pt x="212" y="22"/>
                  </a:lnTo>
                  <a:lnTo>
                    <a:pt x="210" y="18"/>
                  </a:lnTo>
                  <a:lnTo>
                    <a:pt x="208" y="12"/>
                  </a:lnTo>
                  <a:lnTo>
                    <a:pt x="202" y="6"/>
                  </a:lnTo>
                  <a:lnTo>
                    <a:pt x="196" y="2"/>
                  </a:lnTo>
                  <a:lnTo>
                    <a:pt x="192" y="0"/>
                  </a:lnTo>
                  <a:lnTo>
                    <a:pt x="162" y="0"/>
                  </a:lnTo>
                  <a:lnTo>
                    <a:pt x="130" y="2"/>
                  </a:lnTo>
                  <a:lnTo>
                    <a:pt x="128" y="4"/>
                  </a:lnTo>
                  <a:lnTo>
                    <a:pt x="88" y="32"/>
                  </a:lnTo>
                  <a:lnTo>
                    <a:pt x="86" y="36"/>
                  </a:lnTo>
                  <a:lnTo>
                    <a:pt x="82" y="46"/>
                  </a:lnTo>
                  <a:lnTo>
                    <a:pt x="80" y="50"/>
                  </a:lnTo>
                  <a:lnTo>
                    <a:pt x="80" y="62"/>
                  </a:lnTo>
                  <a:lnTo>
                    <a:pt x="80" y="66"/>
                  </a:lnTo>
                  <a:lnTo>
                    <a:pt x="78" y="74"/>
                  </a:lnTo>
                  <a:lnTo>
                    <a:pt x="76" y="78"/>
                  </a:lnTo>
                  <a:lnTo>
                    <a:pt x="74" y="90"/>
                  </a:lnTo>
                  <a:lnTo>
                    <a:pt x="72" y="94"/>
                  </a:lnTo>
                  <a:lnTo>
                    <a:pt x="70" y="96"/>
                  </a:lnTo>
                  <a:lnTo>
                    <a:pt x="48" y="96"/>
                  </a:lnTo>
                  <a:lnTo>
                    <a:pt x="44" y="98"/>
                  </a:lnTo>
                  <a:lnTo>
                    <a:pt x="32" y="104"/>
                  </a:lnTo>
                  <a:lnTo>
                    <a:pt x="28" y="108"/>
                  </a:lnTo>
                  <a:lnTo>
                    <a:pt x="22" y="112"/>
                  </a:lnTo>
                  <a:lnTo>
                    <a:pt x="16" y="120"/>
                  </a:lnTo>
                  <a:lnTo>
                    <a:pt x="12" y="126"/>
                  </a:lnTo>
                  <a:lnTo>
                    <a:pt x="12" y="130"/>
                  </a:lnTo>
                  <a:lnTo>
                    <a:pt x="8" y="158"/>
                  </a:lnTo>
                  <a:lnTo>
                    <a:pt x="8" y="176"/>
                  </a:lnTo>
                  <a:lnTo>
                    <a:pt x="10" y="188"/>
                  </a:lnTo>
                  <a:lnTo>
                    <a:pt x="10" y="196"/>
                  </a:lnTo>
                  <a:lnTo>
                    <a:pt x="14" y="202"/>
                  </a:lnTo>
                  <a:lnTo>
                    <a:pt x="16" y="208"/>
                  </a:lnTo>
                  <a:lnTo>
                    <a:pt x="18" y="214"/>
                  </a:lnTo>
                  <a:lnTo>
                    <a:pt x="28" y="244"/>
                  </a:lnTo>
                  <a:lnTo>
                    <a:pt x="30" y="260"/>
                  </a:lnTo>
                  <a:lnTo>
                    <a:pt x="30" y="268"/>
                  </a:lnTo>
                  <a:lnTo>
                    <a:pt x="28" y="272"/>
                  </a:lnTo>
                  <a:lnTo>
                    <a:pt x="24" y="278"/>
                  </a:lnTo>
                  <a:lnTo>
                    <a:pt x="18" y="286"/>
                  </a:lnTo>
                  <a:lnTo>
                    <a:pt x="16" y="288"/>
                  </a:lnTo>
                  <a:lnTo>
                    <a:pt x="14" y="290"/>
                  </a:lnTo>
                  <a:lnTo>
                    <a:pt x="10" y="292"/>
                  </a:lnTo>
                  <a:lnTo>
                    <a:pt x="2" y="294"/>
                  </a:lnTo>
                  <a:lnTo>
                    <a:pt x="0" y="294"/>
                  </a:lnTo>
                  <a:lnTo>
                    <a:pt x="2" y="294"/>
                  </a:lnTo>
                  <a:lnTo>
                    <a:pt x="8" y="298"/>
                  </a:lnTo>
                  <a:lnTo>
                    <a:pt x="18" y="300"/>
                  </a:lnTo>
                  <a:lnTo>
                    <a:pt x="28" y="298"/>
                  </a:lnTo>
                  <a:lnTo>
                    <a:pt x="34" y="294"/>
                  </a:lnTo>
                  <a:lnTo>
                    <a:pt x="36" y="292"/>
                  </a:lnTo>
                  <a:lnTo>
                    <a:pt x="46" y="282"/>
                  </a:lnTo>
                  <a:lnTo>
                    <a:pt x="52" y="274"/>
                  </a:lnTo>
                  <a:lnTo>
                    <a:pt x="58" y="266"/>
                  </a:lnTo>
                  <a:lnTo>
                    <a:pt x="62" y="258"/>
                  </a:lnTo>
                  <a:lnTo>
                    <a:pt x="64" y="250"/>
                  </a:lnTo>
                  <a:lnTo>
                    <a:pt x="64" y="246"/>
                  </a:lnTo>
                  <a:lnTo>
                    <a:pt x="64" y="238"/>
                  </a:lnTo>
                  <a:lnTo>
                    <a:pt x="64" y="218"/>
                  </a:lnTo>
                  <a:lnTo>
                    <a:pt x="64" y="196"/>
                  </a:lnTo>
                  <a:lnTo>
                    <a:pt x="62" y="182"/>
                  </a:lnTo>
                  <a:lnTo>
                    <a:pt x="56" y="156"/>
                  </a:lnTo>
                  <a:lnTo>
                    <a:pt x="52" y="150"/>
                  </a:lnTo>
                  <a:lnTo>
                    <a:pt x="50" y="146"/>
                  </a:lnTo>
                  <a:lnTo>
                    <a:pt x="50" y="140"/>
                  </a:lnTo>
                  <a:lnTo>
                    <a:pt x="48" y="134"/>
                  </a:lnTo>
                  <a:lnTo>
                    <a:pt x="48" y="132"/>
                  </a:lnTo>
                  <a:lnTo>
                    <a:pt x="50" y="130"/>
                  </a:lnTo>
                  <a:lnTo>
                    <a:pt x="56" y="124"/>
                  </a:lnTo>
                  <a:lnTo>
                    <a:pt x="60" y="120"/>
                  </a:lnTo>
                  <a:lnTo>
                    <a:pt x="66" y="118"/>
                  </a:lnTo>
                  <a:lnTo>
                    <a:pt x="74" y="118"/>
                  </a:lnTo>
                  <a:lnTo>
                    <a:pt x="74" y="120"/>
                  </a:lnTo>
                  <a:lnTo>
                    <a:pt x="76" y="124"/>
                  </a:lnTo>
                  <a:lnTo>
                    <a:pt x="76" y="134"/>
                  </a:lnTo>
                  <a:lnTo>
                    <a:pt x="78" y="142"/>
                  </a:lnTo>
                  <a:lnTo>
                    <a:pt x="80" y="152"/>
                  </a:lnTo>
                  <a:lnTo>
                    <a:pt x="84" y="162"/>
                  </a:lnTo>
                  <a:lnTo>
                    <a:pt x="92" y="170"/>
                  </a:lnTo>
                  <a:lnTo>
                    <a:pt x="102" y="178"/>
                  </a:lnTo>
                  <a:lnTo>
                    <a:pt x="108" y="180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2" y="184"/>
                  </a:lnTo>
                  <a:lnTo>
                    <a:pt x="120" y="198"/>
                  </a:lnTo>
                  <a:lnTo>
                    <a:pt x="124" y="208"/>
                  </a:lnTo>
                  <a:lnTo>
                    <a:pt x="152" y="212"/>
                  </a:lnTo>
                  <a:lnTo>
                    <a:pt x="154" y="214"/>
                  </a:lnTo>
                  <a:lnTo>
                    <a:pt x="146" y="242"/>
                  </a:lnTo>
                  <a:lnTo>
                    <a:pt x="142" y="262"/>
                  </a:lnTo>
                  <a:lnTo>
                    <a:pt x="140" y="270"/>
                  </a:lnTo>
                  <a:lnTo>
                    <a:pt x="156" y="266"/>
                  </a:lnTo>
                  <a:lnTo>
                    <a:pt x="172" y="262"/>
                  </a:lnTo>
                  <a:lnTo>
                    <a:pt x="174" y="262"/>
                  </a:lnTo>
                  <a:lnTo>
                    <a:pt x="176" y="262"/>
                  </a:lnTo>
                  <a:lnTo>
                    <a:pt x="196" y="218"/>
                  </a:lnTo>
                  <a:lnTo>
                    <a:pt x="210" y="196"/>
                  </a:lnTo>
                  <a:lnTo>
                    <a:pt x="220" y="188"/>
                  </a:lnTo>
                  <a:lnTo>
                    <a:pt x="226" y="186"/>
                  </a:lnTo>
                  <a:lnTo>
                    <a:pt x="238" y="184"/>
                  </a:lnTo>
                  <a:lnTo>
                    <a:pt x="246" y="184"/>
                  </a:lnTo>
                  <a:lnTo>
                    <a:pt x="252" y="182"/>
                  </a:lnTo>
                  <a:lnTo>
                    <a:pt x="254" y="180"/>
                  </a:lnTo>
                  <a:lnTo>
                    <a:pt x="256" y="178"/>
                  </a:lnTo>
                  <a:lnTo>
                    <a:pt x="256" y="160"/>
                  </a:lnTo>
                  <a:lnTo>
                    <a:pt x="256" y="156"/>
                  </a:lnTo>
                  <a:lnTo>
                    <a:pt x="256" y="150"/>
                  </a:lnTo>
                  <a:lnTo>
                    <a:pt x="258" y="150"/>
                  </a:lnTo>
                  <a:lnTo>
                    <a:pt x="258" y="146"/>
                  </a:lnTo>
                  <a:lnTo>
                    <a:pt x="256" y="144"/>
                  </a:lnTo>
                  <a:lnTo>
                    <a:pt x="258" y="140"/>
                  </a:lnTo>
                  <a:lnTo>
                    <a:pt x="258" y="136"/>
                  </a:lnTo>
                  <a:lnTo>
                    <a:pt x="256" y="134"/>
                  </a:lnTo>
                  <a:lnTo>
                    <a:pt x="256" y="130"/>
                  </a:lnTo>
                  <a:lnTo>
                    <a:pt x="254" y="126"/>
                  </a:lnTo>
                  <a:lnTo>
                    <a:pt x="256" y="124"/>
                  </a:lnTo>
                  <a:lnTo>
                    <a:pt x="258" y="122"/>
                  </a:lnTo>
                  <a:lnTo>
                    <a:pt x="260" y="120"/>
                  </a:lnTo>
                  <a:lnTo>
                    <a:pt x="262" y="116"/>
                  </a:lnTo>
                  <a:lnTo>
                    <a:pt x="262" y="1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ea typeface="+mn-ea"/>
              </a:endParaRPr>
            </a:p>
          </p:txBody>
        </p:sp>
        <p:sp>
          <p:nvSpPr>
            <p:cNvPr id="130" name="Freeform 263"/>
            <p:cNvSpPr>
              <a:spLocks/>
            </p:cNvSpPr>
            <p:nvPr/>
          </p:nvSpPr>
          <p:spPr bwMode="auto">
            <a:xfrm>
              <a:off x="-66153" y="1247117"/>
              <a:ext cx="543779" cy="851921"/>
            </a:xfrm>
            <a:custGeom>
              <a:avLst/>
              <a:gdLst>
                <a:gd name="T0" fmla="*/ 2147483647 w 180"/>
                <a:gd name="T1" fmla="*/ 0 h 282"/>
                <a:gd name="T2" fmla="*/ 2147483647 w 180"/>
                <a:gd name="T3" fmla="*/ 2147483647 h 282"/>
                <a:gd name="T4" fmla="*/ 2147483647 w 180"/>
                <a:gd name="T5" fmla="*/ 2147483647 h 282"/>
                <a:gd name="T6" fmla="*/ 2147483647 w 180"/>
                <a:gd name="T7" fmla="*/ 2147483647 h 282"/>
                <a:gd name="T8" fmla="*/ 2147483647 w 180"/>
                <a:gd name="T9" fmla="*/ 2147483647 h 282"/>
                <a:gd name="T10" fmla="*/ 2147483647 w 180"/>
                <a:gd name="T11" fmla="*/ 2147483647 h 282"/>
                <a:gd name="T12" fmla="*/ 2147483647 w 180"/>
                <a:gd name="T13" fmla="*/ 2147483647 h 282"/>
                <a:gd name="T14" fmla="*/ 2147483647 w 180"/>
                <a:gd name="T15" fmla="*/ 2147483647 h 282"/>
                <a:gd name="T16" fmla="*/ 2147483647 w 180"/>
                <a:gd name="T17" fmla="*/ 2147483647 h 282"/>
                <a:gd name="T18" fmla="*/ 2147483647 w 180"/>
                <a:gd name="T19" fmla="*/ 2147483647 h 282"/>
                <a:gd name="T20" fmla="*/ 2147483647 w 180"/>
                <a:gd name="T21" fmla="*/ 2147483647 h 282"/>
                <a:gd name="T22" fmla="*/ 2147483647 w 180"/>
                <a:gd name="T23" fmla="*/ 2147483647 h 282"/>
                <a:gd name="T24" fmla="*/ 2147483647 w 180"/>
                <a:gd name="T25" fmla="*/ 2147483647 h 282"/>
                <a:gd name="T26" fmla="*/ 2147483647 w 180"/>
                <a:gd name="T27" fmla="*/ 2147483647 h 282"/>
                <a:gd name="T28" fmla="*/ 2147483647 w 180"/>
                <a:gd name="T29" fmla="*/ 2147483647 h 282"/>
                <a:gd name="T30" fmla="*/ 2147483647 w 180"/>
                <a:gd name="T31" fmla="*/ 2147483647 h 282"/>
                <a:gd name="T32" fmla="*/ 2147483647 w 180"/>
                <a:gd name="T33" fmla="*/ 2147483647 h 282"/>
                <a:gd name="T34" fmla="*/ 2147483647 w 180"/>
                <a:gd name="T35" fmla="*/ 2147483647 h 282"/>
                <a:gd name="T36" fmla="*/ 2147483647 w 180"/>
                <a:gd name="T37" fmla="*/ 2147483647 h 282"/>
                <a:gd name="T38" fmla="*/ 2147483647 w 180"/>
                <a:gd name="T39" fmla="*/ 2147483647 h 282"/>
                <a:gd name="T40" fmla="*/ 2147483647 w 180"/>
                <a:gd name="T41" fmla="*/ 2147483647 h 282"/>
                <a:gd name="T42" fmla="*/ 2147483647 w 180"/>
                <a:gd name="T43" fmla="*/ 2147483647 h 282"/>
                <a:gd name="T44" fmla="*/ 2147483647 w 180"/>
                <a:gd name="T45" fmla="*/ 2147483647 h 282"/>
                <a:gd name="T46" fmla="*/ 2147483647 w 180"/>
                <a:gd name="T47" fmla="*/ 2147483647 h 282"/>
                <a:gd name="T48" fmla="*/ 2147483647 w 180"/>
                <a:gd name="T49" fmla="*/ 2147483647 h 282"/>
                <a:gd name="T50" fmla="*/ 2147483647 w 180"/>
                <a:gd name="T51" fmla="*/ 2147483647 h 282"/>
                <a:gd name="T52" fmla="*/ 2147483647 w 180"/>
                <a:gd name="T53" fmla="*/ 2147483647 h 282"/>
                <a:gd name="T54" fmla="*/ 2147483647 w 180"/>
                <a:gd name="T55" fmla="*/ 2147483647 h 282"/>
                <a:gd name="T56" fmla="*/ 2147483647 w 180"/>
                <a:gd name="T57" fmla="*/ 2147483647 h 282"/>
                <a:gd name="T58" fmla="*/ 0 w 180"/>
                <a:gd name="T59" fmla="*/ 2147483647 h 282"/>
                <a:gd name="T60" fmla="*/ 2147483647 w 180"/>
                <a:gd name="T61" fmla="*/ 2147483647 h 282"/>
                <a:gd name="T62" fmla="*/ 2147483647 w 180"/>
                <a:gd name="T63" fmla="*/ 2147483647 h 282"/>
                <a:gd name="T64" fmla="*/ 2147483647 w 180"/>
                <a:gd name="T65" fmla="*/ 2147483647 h 282"/>
                <a:gd name="T66" fmla="*/ 2147483647 w 180"/>
                <a:gd name="T67" fmla="*/ 2147483647 h 282"/>
                <a:gd name="T68" fmla="*/ 2147483647 w 180"/>
                <a:gd name="T69" fmla="*/ 2147483647 h 282"/>
                <a:gd name="T70" fmla="*/ 2147483647 w 180"/>
                <a:gd name="T71" fmla="*/ 2147483647 h 282"/>
                <a:gd name="T72" fmla="*/ 2147483647 w 180"/>
                <a:gd name="T73" fmla="*/ 2147483647 h 282"/>
                <a:gd name="T74" fmla="*/ 2147483647 w 180"/>
                <a:gd name="T75" fmla="*/ 2147483647 h 282"/>
                <a:gd name="T76" fmla="*/ 2147483647 w 180"/>
                <a:gd name="T77" fmla="*/ 2147483647 h 282"/>
                <a:gd name="T78" fmla="*/ 2147483647 w 180"/>
                <a:gd name="T79" fmla="*/ 2147483647 h 282"/>
                <a:gd name="T80" fmla="*/ 2147483647 w 180"/>
                <a:gd name="T81" fmla="*/ 0 h 28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80"/>
                <a:gd name="T124" fmla="*/ 0 h 282"/>
                <a:gd name="T125" fmla="*/ 180 w 180"/>
                <a:gd name="T126" fmla="*/ 282 h 28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80" h="282">
                  <a:moveTo>
                    <a:pt x="166" y="0"/>
                  </a:moveTo>
                  <a:lnTo>
                    <a:pt x="104" y="60"/>
                  </a:lnTo>
                  <a:lnTo>
                    <a:pt x="96" y="58"/>
                  </a:lnTo>
                  <a:lnTo>
                    <a:pt x="84" y="66"/>
                  </a:lnTo>
                  <a:lnTo>
                    <a:pt x="82" y="70"/>
                  </a:lnTo>
                  <a:lnTo>
                    <a:pt x="78" y="82"/>
                  </a:lnTo>
                  <a:lnTo>
                    <a:pt x="72" y="94"/>
                  </a:lnTo>
                  <a:lnTo>
                    <a:pt x="68" y="100"/>
                  </a:lnTo>
                  <a:lnTo>
                    <a:pt x="64" y="108"/>
                  </a:lnTo>
                  <a:lnTo>
                    <a:pt x="62" y="112"/>
                  </a:lnTo>
                  <a:lnTo>
                    <a:pt x="60" y="118"/>
                  </a:lnTo>
                  <a:lnTo>
                    <a:pt x="56" y="124"/>
                  </a:lnTo>
                  <a:lnTo>
                    <a:pt x="54" y="128"/>
                  </a:lnTo>
                  <a:lnTo>
                    <a:pt x="52" y="130"/>
                  </a:lnTo>
                  <a:lnTo>
                    <a:pt x="48" y="136"/>
                  </a:lnTo>
                  <a:lnTo>
                    <a:pt x="46" y="146"/>
                  </a:lnTo>
                  <a:lnTo>
                    <a:pt x="34" y="160"/>
                  </a:lnTo>
                  <a:lnTo>
                    <a:pt x="30" y="164"/>
                  </a:lnTo>
                  <a:lnTo>
                    <a:pt x="26" y="172"/>
                  </a:lnTo>
                  <a:lnTo>
                    <a:pt x="26" y="178"/>
                  </a:lnTo>
                  <a:lnTo>
                    <a:pt x="30" y="186"/>
                  </a:lnTo>
                  <a:lnTo>
                    <a:pt x="34" y="198"/>
                  </a:lnTo>
                  <a:lnTo>
                    <a:pt x="20" y="216"/>
                  </a:lnTo>
                  <a:lnTo>
                    <a:pt x="20" y="244"/>
                  </a:lnTo>
                  <a:lnTo>
                    <a:pt x="0" y="282"/>
                  </a:lnTo>
                  <a:lnTo>
                    <a:pt x="52" y="194"/>
                  </a:lnTo>
                  <a:lnTo>
                    <a:pt x="70" y="162"/>
                  </a:lnTo>
                  <a:lnTo>
                    <a:pt x="92" y="128"/>
                  </a:lnTo>
                  <a:lnTo>
                    <a:pt x="102" y="94"/>
                  </a:lnTo>
                  <a:lnTo>
                    <a:pt x="112" y="82"/>
                  </a:lnTo>
                  <a:lnTo>
                    <a:pt x="120" y="78"/>
                  </a:lnTo>
                  <a:lnTo>
                    <a:pt x="134" y="60"/>
                  </a:lnTo>
                  <a:lnTo>
                    <a:pt x="180" y="16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ea typeface="+mn-ea"/>
              </a:endParaRPr>
            </a:p>
          </p:txBody>
        </p:sp>
        <p:sp>
          <p:nvSpPr>
            <p:cNvPr id="131" name="Freeform 264"/>
            <p:cNvSpPr>
              <a:spLocks/>
            </p:cNvSpPr>
            <p:nvPr/>
          </p:nvSpPr>
          <p:spPr bwMode="auto">
            <a:xfrm>
              <a:off x="-90321" y="1392125"/>
              <a:ext cx="320225" cy="809627"/>
            </a:xfrm>
            <a:custGeom>
              <a:avLst/>
              <a:gdLst>
                <a:gd name="T0" fmla="*/ 2147483647 w 106"/>
                <a:gd name="T1" fmla="*/ 2147483647 h 268"/>
                <a:gd name="T2" fmla="*/ 2147483647 w 106"/>
                <a:gd name="T3" fmla="*/ 2147483647 h 268"/>
                <a:gd name="T4" fmla="*/ 2147483647 w 106"/>
                <a:gd name="T5" fmla="*/ 2147483647 h 268"/>
                <a:gd name="T6" fmla="*/ 2147483647 w 106"/>
                <a:gd name="T7" fmla="*/ 2147483647 h 268"/>
                <a:gd name="T8" fmla="*/ 2147483647 w 106"/>
                <a:gd name="T9" fmla="*/ 2147483647 h 268"/>
                <a:gd name="T10" fmla="*/ 2147483647 w 106"/>
                <a:gd name="T11" fmla="*/ 2147483647 h 268"/>
                <a:gd name="T12" fmla="*/ 2147483647 w 106"/>
                <a:gd name="T13" fmla="*/ 2147483647 h 268"/>
                <a:gd name="T14" fmla="*/ 2147483647 w 106"/>
                <a:gd name="T15" fmla="*/ 2147483647 h 268"/>
                <a:gd name="T16" fmla="*/ 2147483647 w 106"/>
                <a:gd name="T17" fmla="*/ 2147483647 h 268"/>
                <a:gd name="T18" fmla="*/ 2147483647 w 106"/>
                <a:gd name="T19" fmla="*/ 2147483647 h 268"/>
                <a:gd name="T20" fmla="*/ 2147483647 w 106"/>
                <a:gd name="T21" fmla="*/ 2147483647 h 268"/>
                <a:gd name="T22" fmla="*/ 2147483647 w 106"/>
                <a:gd name="T23" fmla="*/ 2147483647 h 268"/>
                <a:gd name="T24" fmla="*/ 2147483647 w 106"/>
                <a:gd name="T25" fmla="*/ 2147483647 h 268"/>
                <a:gd name="T26" fmla="*/ 2147483647 w 106"/>
                <a:gd name="T27" fmla="*/ 2147483647 h 268"/>
                <a:gd name="T28" fmla="*/ 2147483647 w 106"/>
                <a:gd name="T29" fmla="*/ 2147483647 h 268"/>
                <a:gd name="T30" fmla="*/ 2147483647 w 106"/>
                <a:gd name="T31" fmla="*/ 2147483647 h 268"/>
                <a:gd name="T32" fmla="*/ 2147483647 w 106"/>
                <a:gd name="T33" fmla="*/ 2147483647 h 268"/>
                <a:gd name="T34" fmla="*/ 2147483647 w 106"/>
                <a:gd name="T35" fmla="*/ 2147483647 h 268"/>
                <a:gd name="T36" fmla="*/ 0 w 106"/>
                <a:gd name="T37" fmla="*/ 2147483647 h 268"/>
                <a:gd name="T38" fmla="*/ 0 w 106"/>
                <a:gd name="T39" fmla="*/ 2147483647 h 268"/>
                <a:gd name="T40" fmla="*/ 0 w 106"/>
                <a:gd name="T41" fmla="*/ 2147483647 h 268"/>
                <a:gd name="T42" fmla="*/ 2147483647 w 106"/>
                <a:gd name="T43" fmla="*/ 2147483647 h 268"/>
                <a:gd name="T44" fmla="*/ 2147483647 w 106"/>
                <a:gd name="T45" fmla="*/ 2147483647 h 268"/>
                <a:gd name="T46" fmla="*/ 2147483647 w 106"/>
                <a:gd name="T47" fmla="*/ 2147483647 h 268"/>
                <a:gd name="T48" fmla="*/ 2147483647 w 106"/>
                <a:gd name="T49" fmla="*/ 2147483647 h 268"/>
                <a:gd name="T50" fmla="*/ 2147483647 w 106"/>
                <a:gd name="T51" fmla="*/ 2147483647 h 268"/>
                <a:gd name="T52" fmla="*/ 2147483647 w 106"/>
                <a:gd name="T53" fmla="*/ 2147483647 h 268"/>
                <a:gd name="T54" fmla="*/ 2147483647 w 106"/>
                <a:gd name="T55" fmla="*/ 2147483647 h 268"/>
                <a:gd name="T56" fmla="*/ 2147483647 w 106"/>
                <a:gd name="T57" fmla="*/ 2147483647 h 268"/>
                <a:gd name="T58" fmla="*/ 2147483647 w 106"/>
                <a:gd name="T59" fmla="*/ 2147483647 h 268"/>
                <a:gd name="T60" fmla="*/ 2147483647 w 106"/>
                <a:gd name="T61" fmla="*/ 2147483647 h 268"/>
                <a:gd name="T62" fmla="*/ 2147483647 w 106"/>
                <a:gd name="T63" fmla="*/ 2147483647 h 268"/>
                <a:gd name="T64" fmla="*/ 2147483647 w 106"/>
                <a:gd name="T65" fmla="*/ 2147483647 h 268"/>
                <a:gd name="T66" fmla="*/ 2147483647 w 106"/>
                <a:gd name="T67" fmla="*/ 2147483647 h 268"/>
                <a:gd name="T68" fmla="*/ 2147483647 w 106"/>
                <a:gd name="T69" fmla="*/ 2147483647 h 268"/>
                <a:gd name="T70" fmla="*/ 2147483647 w 106"/>
                <a:gd name="T71" fmla="*/ 2147483647 h 268"/>
                <a:gd name="T72" fmla="*/ 2147483647 w 106"/>
                <a:gd name="T73" fmla="*/ 2147483647 h 268"/>
                <a:gd name="T74" fmla="*/ 2147483647 w 106"/>
                <a:gd name="T75" fmla="*/ 2147483647 h 268"/>
                <a:gd name="T76" fmla="*/ 2147483647 w 106"/>
                <a:gd name="T77" fmla="*/ 2147483647 h 268"/>
                <a:gd name="T78" fmla="*/ 2147483647 w 106"/>
                <a:gd name="T79" fmla="*/ 2147483647 h 268"/>
                <a:gd name="T80" fmla="*/ 2147483647 w 106"/>
                <a:gd name="T81" fmla="*/ 2147483647 h 268"/>
                <a:gd name="T82" fmla="*/ 2147483647 w 106"/>
                <a:gd name="T83" fmla="*/ 2147483647 h 268"/>
                <a:gd name="T84" fmla="*/ 2147483647 w 106"/>
                <a:gd name="T85" fmla="*/ 2147483647 h 268"/>
                <a:gd name="T86" fmla="*/ 2147483647 w 106"/>
                <a:gd name="T87" fmla="*/ 0 h 268"/>
                <a:gd name="T88" fmla="*/ 2147483647 w 106"/>
                <a:gd name="T89" fmla="*/ 2147483647 h 26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06"/>
                <a:gd name="T136" fmla="*/ 0 h 268"/>
                <a:gd name="T137" fmla="*/ 106 w 106"/>
                <a:gd name="T138" fmla="*/ 268 h 26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06" h="268">
                  <a:moveTo>
                    <a:pt x="90" y="4"/>
                  </a:moveTo>
                  <a:lnTo>
                    <a:pt x="90" y="4"/>
                  </a:lnTo>
                  <a:lnTo>
                    <a:pt x="86" y="10"/>
                  </a:lnTo>
                  <a:lnTo>
                    <a:pt x="80" y="16"/>
                  </a:lnTo>
                  <a:lnTo>
                    <a:pt x="76" y="24"/>
                  </a:lnTo>
                  <a:lnTo>
                    <a:pt x="74" y="30"/>
                  </a:lnTo>
                  <a:lnTo>
                    <a:pt x="74" y="36"/>
                  </a:lnTo>
                  <a:lnTo>
                    <a:pt x="74" y="42"/>
                  </a:lnTo>
                  <a:lnTo>
                    <a:pt x="72" y="50"/>
                  </a:lnTo>
                  <a:lnTo>
                    <a:pt x="64" y="64"/>
                  </a:lnTo>
                  <a:lnTo>
                    <a:pt x="56" y="78"/>
                  </a:lnTo>
                  <a:lnTo>
                    <a:pt x="48" y="92"/>
                  </a:lnTo>
                  <a:lnTo>
                    <a:pt x="30" y="132"/>
                  </a:lnTo>
                  <a:lnTo>
                    <a:pt x="14" y="178"/>
                  </a:lnTo>
                  <a:lnTo>
                    <a:pt x="8" y="200"/>
                  </a:lnTo>
                  <a:lnTo>
                    <a:pt x="4" y="224"/>
                  </a:lnTo>
                  <a:lnTo>
                    <a:pt x="0" y="246"/>
                  </a:lnTo>
                  <a:lnTo>
                    <a:pt x="0" y="268"/>
                  </a:lnTo>
                  <a:lnTo>
                    <a:pt x="22" y="230"/>
                  </a:lnTo>
                  <a:lnTo>
                    <a:pt x="46" y="196"/>
                  </a:lnTo>
                  <a:lnTo>
                    <a:pt x="52" y="186"/>
                  </a:lnTo>
                  <a:lnTo>
                    <a:pt x="58" y="174"/>
                  </a:lnTo>
                  <a:lnTo>
                    <a:pt x="66" y="150"/>
                  </a:lnTo>
                  <a:lnTo>
                    <a:pt x="72" y="126"/>
                  </a:lnTo>
                  <a:lnTo>
                    <a:pt x="76" y="102"/>
                  </a:lnTo>
                  <a:lnTo>
                    <a:pt x="78" y="84"/>
                  </a:lnTo>
                  <a:lnTo>
                    <a:pt x="78" y="78"/>
                  </a:lnTo>
                  <a:lnTo>
                    <a:pt x="82" y="68"/>
                  </a:lnTo>
                  <a:lnTo>
                    <a:pt x="86" y="56"/>
                  </a:lnTo>
                  <a:lnTo>
                    <a:pt x="86" y="48"/>
                  </a:lnTo>
                  <a:lnTo>
                    <a:pt x="90" y="44"/>
                  </a:lnTo>
                  <a:lnTo>
                    <a:pt x="96" y="38"/>
                  </a:lnTo>
                  <a:lnTo>
                    <a:pt x="102" y="32"/>
                  </a:lnTo>
                  <a:lnTo>
                    <a:pt x="104" y="28"/>
                  </a:lnTo>
                  <a:lnTo>
                    <a:pt x="106" y="22"/>
                  </a:lnTo>
                  <a:lnTo>
                    <a:pt x="106" y="12"/>
                  </a:lnTo>
                  <a:lnTo>
                    <a:pt x="104" y="0"/>
                  </a:lnTo>
                  <a:lnTo>
                    <a:pt x="90" y="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ea typeface="+mn-ea"/>
              </a:endParaRPr>
            </a:p>
          </p:txBody>
        </p:sp>
        <p:sp>
          <p:nvSpPr>
            <p:cNvPr id="132" name="Freeform 265"/>
            <p:cNvSpPr>
              <a:spLocks/>
            </p:cNvSpPr>
            <p:nvPr/>
          </p:nvSpPr>
          <p:spPr bwMode="auto">
            <a:xfrm>
              <a:off x="-126573" y="3555157"/>
              <a:ext cx="1341322" cy="731081"/>
            </a:xfrm>
            <a:custGeom>
              <a:avLst/>
              <a:gdLst>
                <a:gd name="T0" fmla="*/ 2147483647 w 444"/>
                <a:gd name="T1" fmla="*/ 2147483647 h 242"/>
                <a:gd name="T2" fmla="*/ 2147483647 w 444"/>
                <a:gd name="T3" fmla="*/ 2147483647 h 242"/>
                <a:gd name="T4" fmla="*/ 2147483647 w 444"/>
                <a:gd name="T5" fmla="*/ 2147483647 h 242"/>
                <a:gd name="T6" fmla="*/ 2147483647 w 444"/>
                <a:gd name="T7" fmla="*/ 2147483647 h 242"/>
                <a:gd name="T8" fmla="*/ 2147483647 w 444"/>
                <a:gd name="T9" fmla="*/ 2147483647 h 242"/>
                <a:gd name="T10" fmla="*/ 2147483647 w 444"/>
                <a:gd name="T11" fmla="*/ 2147483647 h 242"/>
                <a:gd name="T12" fmla="*/ 2147483647 w 444"/>
                <a:gd name="T13" fmla="*/ 2147483647 h 242"/>
                <a:gd name="T14" fmla="*/ 2147483647 w 444"/>
                <a:gd name="T15" fmla="*/ 0 h 242"/>
                <a:gd name="T16" fmla="*/ 2147483647 w 444"/>
                <a:gd name="T17" fmla="*/ 2147483647 h 242"/>
                <a:gd name="T18" fmla="*/ 2147483647 w 444"/>
                <a:gd name="T19" fmla="*/ 2147483647 h 242"/>
                <a:gd name="T20" fmla="*/ 2147483647 w 444"/>
                <a:gd name="T21" fmla="*/ 2147483647 h 242"/>
                <a:gd name="T22" fmla="*/ 2147483647 w 444"/>
                <a:gd name="T23" fmla="*/ 2147483647 h 242"/>
                <a:gd name="T24" fmla="*/ 2147483647 w 444"/>
                <a:gd name="T25" fmla="*/ 2147483647 h 242"/>
                <a:gd name="T26" fmla="*/ 2147483647 w 444"/>
                <a:gd name="T27" fmla="*/ 2147483647 h 242"/>
                <a:gd name="T28" fmla="*/ 2147483647 w 444"/>
                <a:gd name="T29" fmla="*/ 2147483647 h 242"/>
                <a:gd name="T30" fmla="*/ 0 w 444"/>
                <a:gd name="T31" fmla="*/ 2147483647 h 242"/>
                <a:gd name="T32" fmla="*/ 0 w 444"/>
                <a:gd name="T33" fmla="*/ 2147483647 h 242"/>
                <a:gd name="T34" fmla="*/ 0 w 444"/>
                <a:gd name="T35" fmla="*/ 2147483647 h 242"/>
                <a:gd name="T36" fmla="*/ 2147483647 w 444"/>
                <a:gd name="T37" fmla="*/ 2147483647 h 242"/>
                <a:gd name="T38" fmla="*/ 2147483647 w 444"/>
                <a:gd name="T39" fmla="*/ 2147483647 h 242"/>
                <a:gd name="T40" fmla="*/ 2147483647 w 444"/>
                <a:gd name="T41" fmla="*/ 2147483647 h 242"/>
                <a:gd name="T42" fmla="*/ 2147483647 w 444"/>
                <a:gd name="T43" fmla="*/ 2147483647 h 242"/>
                <a:gd name="T44" fmla="*/ 2147483647 w 444"/>
                <a:gd name="T45" fmla="*/ 2147483647 h 242"/>
                <a:gd name="T46" fmla="*/ 2147483647 w 444"/>
                <a:gd name="T47" fmla="*/ 2147483647 h 24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44"/>
                <a:gd name="T73" fmla="*/ 0 h 242"/>
                <a:gd name="T74" fmla="*/ 444 w 444"/>
                <a:gd name="T75" fmla="*/ 242 h 24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44" h="242">
                  <a:moveTo>
                    <a:pt x="436" y="48"/>
                  </a:moveTo>
                  <a:lnTo>
                    <a:pt x="414" y="28"/>
                  </a:lnTo>
                  <a:lnTo>
                    <a:pt x="410" y="28"/>
                  </a:lnTo>
                  <a:lnTo>
                    <a:pt x="258" y="34"/>
                  </a:lnTo>
                  <a:lnTo>
                    <a:pt x="256" y="2"/>
                  </a:lnTo>
                  <a:lnTo>
                    <a:pt x="254" y="0"/>
                  </a:lnTo>
                  <a:lnTo>
                    <a:pt x="28" y="4"/>
                  </a:lnTo>
                  <a:lnTo>
                    <a:pt x="26" y="6"/>
                  </a:lnTo>
                  <a:lnTo>
                    <a:pt x="26" y="42"/>
                  </a:lnTo>
                  <a:lnTo>
                    <a:pt x="24" y="42"/>
                  </a:lnTo>
                  <a:lnTo>
                    <a:pt x="20" y="44"/>
                  </a:lnTo>
                  <a:lnTo>
                    <a:pt x="0" y="66"/>
                  </a:lnTo>
                  <a:lnTo>
                    <a:pt x="0" y="70"/>
                  </a:lnTo>
                  <a:lnTo>
                    <a:pt x="6" y="242"/>
                  </a:lnTo>
                  <a:lnTo>
                    <a:pt x="444" y="242"/>
                  </a:lnTo>
                  <a:lnTo>
                    <a:pt x="436" y="52"/>
                  </a:lnTo>
                  <a:lnTo>
                    <a:pt x="436" y="4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ea typeface="+mn-ea"/>
              </a:endParaRPr>
            </a:p>
          </p:txBody>
        </p:sp>
        <p:sp>
          <p:nvSpPr>
            <p:cNvPr id="133" name="Freeform 266"/>
            <p:cNvSpPr>
              <a:spLocks/>
            </p:cNvSpPr>
            <p:nvPr/>
          </p:nvSpPr>
          <p:spPr bwMode="auto">
            <a:xfrm>
              <a:off x="-2446697" y="3017420"/>
              <a:ext cx="1129852" cy="1268818"/>
            </a:xfrm>
            <a:custGeom>
              <a:avLst/>
              <a:gdLst>
                <a:gd name="T0" fmla="*/ 2147483647 w 374"/>
                <a:gd name="T1" fmla="*/ 2147483647 h 420"/>
                <a:gd name="T2" fmla="*/ 2147483647 w 374"/>
                <a:gd name="T3" fmla="*/ 2147483647 h 420"/>
                <a:gd name="T4" fmla="*/ 2147483647 w 374"/>
                <a:gd name="T5" fmla="*/ 2147483647 h 420"/>
                <a:gd name="T6" fmla="*/ 2147483647 w 374"/>
                <a:gd name="T7" fmla="*/ 2147483647 h 420"/>
                <a:gd name="T8" fmla="*/ 2147483647 w 374"/>
                <a:gd name="T9" fmla="*/ 2147483647 h 420"/>
                <a:gd name="T10" fmla="*/ 2147483647 w 374"/>
                <a:gd name="T11" fmla="*/ 2147483647 h 420"/>
                <a:gd name="T12" fmla="*/ 2147483647 w 374"/>
                <a:gd name="T13" fmla="*/ 2147483647 h 420"/>
                <a:gd name="T14" fmla="*/ 2147483647 w 374"/>
                <a:gd name="T15" fmla="*/ 2147483647 h 420"/>
                <a:gd name="T16" fmla="*/ 2147483647 w 374"/>
                <a:gd name="T17" fmla="*/ 2147483647 h 420"/>
                <a:gd name="T18" fmla="*/ 2147483647 w 374"/>
                <a:gd name="T19" fmla="*/ 2147483647 h 420"/>
                <a:gd name="T20" fmla="*/ 2147483647 w 374"/>
                <a:gd name="T21" fmla="*/ 2147483647 h 420"/>
                <a:gd name="T22" fmla="*/ 2147483647 w 374"/>
                <a:gd name="T23" fmla="*/ 2147483647 h 420"/>
                <a:gd name="T24" fmla="*/ 2147483647 w 374"/>
                <a:gd name="T25" fmla="*/ 2147483647 h 420"/>
                <a:gd name="T26" fmla="*/ 2147483647 w 374"/>
                <a:gd name="T27" fmla="*/ 2147483647 h 420"/>
                <a:gd name="T28" fmla="*/ 2147483647 w 374"/>
                <a:gd name="T29" fmla="*/ 2147483647 h 420"/>
                <a:gd name="T30" fmla="*/ 2147483647 w 374"/>
                <a:gd name="T31" fmla="*/ 2147483647 h 420"/>
                <a:gd name="T32" fmla="*/ 2147483647 w 374"/>
                <a:gd name="T33" fmla="*/ 2147483647 h 420"/>
                <a:gd name="T34" fmla="*/ 2147483647 w 374"/>
                <a:gd name="T35" fmla="*/ 2147483647 h 420"/>
                <a:gd name="T36" fmla="*/ 2147483647 w 374"/>
                <a:gd name="T37" fmla="*/ 2147483647 h 420"/>
                <a:gd name="T38" fmla="*/ 2147483647 w 374"/>
                <a:gd name="T39" fmla="*/ 2147483647 h 420"/>
                <a:gd name="T40" fmla="*/ 2147483647 w 374"/>
                <a:gd name="T41" fmla="*/ 2147483647 h 420"/>
                <a:gd name="T42" fmla="*/ 2147483647 w 374"/>
                <a:gd name="T43" fmla="*/ 2147483647 h 420"/>
                <a:gd name="T44" fmla="*/ 2147483647 w 374"/>
                <a:gd name="T45" fmla="*/ 2147483647 h 420"/>
                <a:gd name="T46" fmla="*/ 2147483647 w 374"/>
                <a:gd name="T47" fmla="*/ 2147483647 h 420"/>
                <a:gd name="T48" fmla="*/ 2147483647 w 374"/>
                <a:gd name="T49" fmla="*/ 0 h 420"/>
                <a:gd name="T50" fmla="*/ 2147483647 w 374"/>
                <a:gd name="T51" fmla="*/ 0 h 420"/>
                <a:gd name="T52" fmla="*/ 2147483647 w 374"/>
                <a:gd name="T53" fmla="*/ 0 h 420"/>
                <a:gd name="T54" fmla="*/ 2147483647 w 374"/>
                <a:gd name="T55" fmla="*/ 0 h 420"/>
                <a:gd name="T56" fmla="*/ 2147483647 w 374"/>
                <a:gd name="T57" fmla="*/ 2147483647 h 420"/>
                <a:gd name="T58" fmla="*/ 2147483647 w 374"/>
                <a:gd name="T59" fmla="*/ 2147483647 h 420"/>
                <a:gd name="T60" fmla="*/ 2147483647 w 374"/>
                <a:gd name="T61" fmla="*/ 2147483647 h 420"/>
                <a:gd name="T62" fmla="*/ 2147483647 w 374"/>
                <a:gd name="T63" fmla="*/ 2147483647 h 420"/>
                <a:gd name="T64" fmla="*/ 2147483647 w 374"/>
                <a:gd name="T65" fmla="*/ 2147483647 h 420"/>
                <a:gd name="T66" fmla="*/ 2147483647 w 374"/>
                <a:gd name="T67" fmla="*/ 2147483647 h 420"/>
                <a:gd name="T68" fmla="*/ 2147483647 w 374"/>
                <a:gd name="T69" fmla="*/ 2147483647 h 420"/>
                <a:gd name="T70" fmla="*/ 2147483647 w 374"/>
                <a:gd name="T71" fmla="*/ 2147483647 h 420"/>
                <a:gd name="T72" fmla="*/ 2147483647 w 374"/>
                <a:gd name="T73" fmla="*/ 2147483647 h 420"/>
                <a:gd name="T74" fmla="*/ 2147483647 w 374"/>
                <a:gd name="T75" fmla="*/ 2147483647 h 420"/>
                <a:gd name="T76" fmla="*/ 2147483647 w 374"/>
                <a:gd name="T77" fmla="*/ 2147483647 h 420"/>
                <a:gd name="T78" fmla="*/ 2147483647 w 374"/>
                <a:gd name="T79" fmla="*/ 2147483647 h 420"/>
                <a:gd name="T80" fmla="*/ 2147483647 w 374"/>
                <a:gd name="T81" fmla="*/ 2147483647 h 420"/>
                <a:gd name="T82" fmla="*/ 2147483647 w 374"/>
                <a:gd name="T83" fmla="*/ 2147483647 h 420"/>
                <a:gd name="T84" fmla="*/ 2147483647 w 374"/>
                <a:gd name="T85" fmla="*/ 2147483647 h 420"/>
                <a:gd name="T86" fmla="*/ 2147483647 w 374"/>
                <a:gd name="T87" fmla="*/ 2147483647 h 420"/>
                <a:gd name="T88" fmla="*/ 2147483647 w 374"/>
                <a:gd name="T89" fmla="*/ 2147483647 h 420"/>
                <a:gd name="T90" fmla="*/ 2147483647 w 374"/>
                <a:gd name="T91" fmla="*/ 2147483647 h 420"/>
                <a:gd name="T92" fmla="*/ 2147483647 w 374"/>
                <a:gd name="T93" fmla="*/ 2147483647 h 420"/>
                <a:gd name="T94" fmla="*/ 2147483647 w 374"/>
                <a:gd name="T95" fmla="*/ 2147483647 h 420"/>
                <a:gd name="T96" fmla="*/ 2147483647 w 374"/>
                <a:gd name="T97" fmla="*/ 2147483647 h 420"/>
                <a:gd name="T98" fmla="*/ 2147483647 w 374"/>
                <a:gd name="T99" fmla="*/ 2147483647 h 420"/>
                <a:gd name="T100" fmla="*/ 2147483647 w 374"/>
                <a:gd name="T101" fmla="*/ 2147483647 h 420"/>
                <a:gd name="T102" fmla="*/ 2147483647 w 374"/>
                <a:gd name="T103" fmla="*/ 2147483647 h 420"/>
                <a:gd name="T104" fmla="*/ 2147483647 w 374"/>
                <a:gd name="T105" fmla="*/ 2147483647 h 420"/>
                <a:gd name="T106" fmla="*/ 2147483647 w 374"/>
                <a:gd name="T107" fmla="*/ 2147483647 h 420"/>
                <a:gd name="T108" fmla="*/ 0 w 374"/>
                <a:gd name="T109" fmla="*/ 2147483647 h 420"/>
                <a:gd name="T110" fmla="*/ 0 w 374"/>
                <a:gd name="T111" fmla="*/ 2147483647 h 420"/>
                <a:gd name="T112" fmla="*/ 0 w 374"/>
                <a:gd name="T113" fmla="*/ 2147483647 h 420"/>
                <a:gd name="T114" fmla="*/ 2147483647 w 374"/>
                <a:gd name="T115" fmla="*/ 2147483647 h 420"/>
                <a:gd name="T116" fmla="*/ 2147483647 w 374"/>
                <a:gd name="T117" fmla="*/ 2147483647 h 420"/>
                <a:gd name="T118" fmla="*/ 2147483647 w 374"/>
                <a:gd name="T119" fmla="*/ 2147483647 h 420"/>
                <a:gd name="T120" fmla="*/ 2147483647 w 374"/>
                <a:gd name="T121" fmla="*/ 2147483647 h 420"/>
                <a:gd name="T122" fmla="*/ 2147483647 w 374"/>
                <a:gd name="T123" fmla="*/ 2147483647 h 42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74"/>
                <a:gd name="T187" fmla="*/ 0 h 420"/>
                <a:gd name="T188" fmla="*/ 374 w 374"/>
                <a:gd name="T189" fmla="*/ 420 h 42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74" h="420">
                  <a:moveTo>
                    <a:pt x="374" y="236"/>
                  </a:moveTo>
                  <a:lnTo>
                    <a:pt x="352" y="214"/>
                  </a:lnTo>
                  <a:lnTo>
                    <a:pt x="350" y="214"/>
                  </a:lnTo>
                  <a:lnTo>
                    <a:pt x="242" y="210"/>
                  </a:lnTo>
                  <a:lnTo>
                    <a:pt x="246" y="190"/>
                  </a:lnTo>
                  <a:lnTo>
                    <a:pt x="246" y="186"/>
                  </a:lnTo>
                  <a:lnTo>
                    <a:pt x="242" y="130"/>
                  </a:lnTo>
                  <a:lnTo>
                    <a:pt x="240" y="126"/>
                  </a:lnTo>
                  <a:lnTo>
                    <a:pt x="236" y="100"/>
                  </a:lnTo>
                  <a:lnTo>
                    <a:pt x="236" y="98"/>
                  </a:lnTo>
                  <a:lnTo>
                    <a:pt x="250" y="64"/>
                  </a:lnTo>
                  <a:lnTo>
                    <a:pt x="252" y="62"/>
                  </a:lnTo>
                  <a:lnTo>
                    <a:pt x="258" y="42"/>
                  </a:lnTo>
                  <a:lnTo>
                    <a:pt x="258" y="40"/>
                  </a:lnTo>
                  <a:lnTo>
                    <a:pt x="252" y="34"/>
                  </a:lnTo>
                  <a:lnTo>
                    <a:pt x="250" y="32"/>
                  </a:lnTo>
                  <a:lnTo>
                    <a:pt x="68" y="0"/>
                  </a:lnTo>
                  <a:lnTo>
                    <a:pt x="64" y="0"/>
                  </a:lnTo>
                  <a:lnTo>
                    <a:pt x="58" y="16"/>
                  </a:lnTo>
                  <a:lnTo>
                    <a:pt x="52" y="32"/>
                  </a:lnTo>
                  <a:lnTo>
                    <a:pt x="46" y="54"/>
                  </a:lnTo>
                  <a:lnTo>
                    <a:pt x="44" y="76"/>
                  </a:lnTo>
                  <a:lnTo>
                    <a:pt x="44" y="88"/>
                  </a:lnTo>
                  <a:lnTo>
                    <a:pt x="46" y="102"/>
                  </a:lnTo>
                  <a:lnTo>
                    <a:pt x="50" y="114"/>
                  </a:lnTo>
                  <a:lnTo>
                    <a:pt x="54" y="126"/>
                  </a:lnTo>
                  <a:lnTo>
                    <a:pt x="62" y="138"/>
                  </a:lnTo>
                  <a:lnTo>
                    <a:pt x="70" y="148"/>
                  </a:lnTo>
                  <a:lnTo>
                    <a:pt x="76" y="164"/>
                  </a:lnTo>
                  <a:lnTo>
                    <a:pt x="78" y="166"/>
                  </a:lnTo>
                  <a:lnTo>
                    <a:pt x="84" y="180"/>
                  </a:lnTo>
                  <a:lnTo>
                    <a:pt x="86" y="184"/>
                  </a:lnTo>
                  <a:lnTo>
                    <a:pt x="86" y="200"/>
                  </a:lnTo>
                  <a:lnTo>
                    <a:pt x="86" y="204"/>
                  </a:lnTo>
                  <a:lnTo>
                    <a:pt x="34" y="202"/>
                  </a:lnTo>
                  <a:lnTo>
                    <a:pt x="30" y="204"/>
                  </a:lnTo>
                  <a:lnTo>
                    <a:pt x="8" y="224"/>
                  </a:lnTo>
                  <a:lnTo>
                    <a:pt x="8" y="228"/>
                  </a:lnTo>
                  <a:lnTo>
                    <a:pt x="0" y="420"/>
                  </a:lnTo>
                  <a:lnTo>
                    <a:pt x="368" y="420"/>
                  </a:lnTo>
                  <a:lnTo>
                    <a:pt x="374" y="240"/>
                  </a:lnTo>
                  <a:lnTo>
                    <a:pt x="374" y="23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ea typeface="+mn-ea"/>
              </a:endParaRPr>
            </a:p>
          </p:txBody>
        </p:sp>
      </p:grpSp>
      <p:sp>
        <p:nvSpPr>
          <p:cNvPr id="134" name="Freeform 181"/>
          <p:cNvSpPr>
            <a:spLocks/>
          </p:cNvSpPr>
          <p:nvPr/>
        </p:nvSpPr>
        <p:spPr bwMode="auto">
          <a:xfrm>
            <a:off x="4768924" y="2358715"/>
            <a:ext cx="1438275" cy="1627187"/>
          </a:xfrm>
          <a:custGeom>
            <a:avLst/>
            <a:gdLst>
              <a:gd name="T0" fmla="*/ 0 w 906"/>
              <a:gd name="T1" fmla="*/ 2147483647 h 1025"/>
              <a:gd name="T2" fmla="*/ 2147483647 w 906"/>
              <a:gd name="T3" fmla="*/ 2147483647 h 1025"/>
              <a:gd name="T4" fmla="*/ 2147483647 w 906"/>
              <a:gd name="T5" fmla="*/ 2147483647 h 1025"/>
              <a:gd name="T6" fmla="*/ 2147483647 w 906"/>
              <a:gd name="T7" fmla="*/ 2147483647 h 1025"/>
              <a:gd name="T8" fmla="*/ 2147483647 w 906"/>
              <a:gd name="T9" fmla="*/ 2147483647 h 1025"/>
              <a:gd name="T10" fmla="*/ 2147483647 w 906"/>
              <a:gd name="T11" fmla="*/ 2147483647 h 1025"/>
              <a:gd name="T12" fmla="*/ 2147483647 w 906"/>
              <a:gd name="T13" fmla="*/ 2147483647 h 1025"/>
              <a:gd name="T14" fmla="*/ 2147483647 w 906"/>
              <a:gd name="T15" fmla="*/ 2147483647 h 1025"/>
              <a:gd name="T16" fmla="*/ 2147483647 w 906"/>
              <a:gd name="T17" fmla="*/ 2147483647 h 1025"/>
              <a:gd name="T18" fmla="*/ 2147483647 w 906"/>
              <a:gd name="T19" fmla="*/ 2147483647 h 1025"/>
              <a:gd name="T20" fmla="*/ 2147483647 w 906"/>
              <a:gd name="T21" fmla="*/ 2147483647 h 1025"/>
              <a:gd name="T22" fmla="*/ 2147483647 w 906"/>
              <a:gd name="T23" fmla="*/ 2147483647 h 1025"/>
              <a:gd name="T24" fmla="*/ 2147483647 w 906"/>
              <a:gd name="T25" fmla="*/ 2147483647 h 1025"/>
              <a:gd name="T26" fmla="*/ 2147483647 w 906"/>
              <a:gd name="T27" fmla="*/ 2147483647 h 1025"/>
              <a:gd name="T28" fmla="*/ 2147483647 w 906"/>
              <a:gd name="T29" fmla="*/ 2147483647 h 1025"/>
              <a:gd name="T30" fmla="*/ 2147483647 w 906"/>
              <a:gd name="T31" fmla="*/ 2147483647 h 1025"/>
              <a:gd name="T32" fmla="*/ 2147483647 w 906"/>
              <a:gd name="T33" fmla="*/ 2147483647 h 1025"/>
              <a:gd name="T34" fmla="*/ 2147483647 w 906"/>
              <a:gd name="T35" fmla="*/ 2147483647 h 1025"/>
              <a:gd name="T36" fmla="*/ 2147483647 w 906"/>
              <a:gd name="T37" fmla="*/ 2147483647 h 1025"/>
              <a:gd name="T38" fmla="*/ 2147483647 w 906"/>
              <a:gd name="T39" fmla="*/ 2147483647 h 1025"/>
              <a:gd name="T40" fmla="*/ 2147483647 w 906"/>
              <a:gd name="T41" fmla="*/ 2147483647 h 1025"/>
              <a:gd name="T42" fmla="*/ 2147483647 w 906"/>
              <a:gd name="T43" fmla="*/ 2147483647 h 1025"/>
              <a:gd name="T44" fmla="*/ 2147483647 w 906"/>
              <a:gd name="T45" fmla="*/ 2147483647 h 1025"/>
              <a:gd name="T46" fmla="*/ 2147483647 w 906"/>
              <a:gd name="T47" fmla="*/ 2147483647 h 1025"/>
              <a:gd name="T48" fmla="*/ 2147483647 w 906"/>
              <a:gd name="T49" fmla="*/ 2147483647 h 1025"/>
              <a:gd name="T50" fmla="*/ 2147483647 w 906"/>
              <a:gd name="T51" fmla="*/ 2147483647 h 1025"/>
              <a:gd name="T52" fmla="*/ 2147483647 w 906"/>
              <a:gd name="T53" fmla="*/ 2147483647 h 1025"/>
              <a:gd name="T54" fmla="*/ 2147483647 w 906"/>
              <a:gd name="T55" fmla="*/ 2147483647 h 1025"/>
              <a:gd name="T56" fmla="*/ 2147483647 w 906"/>
              <a:gd name="T57" fmla="*/ 2147483647 h 1025"/>
              <a:gd name="T58" fmla="*/ 2147483647 w 906"/>
              <a:gd name="T59" fmla="*/ 2147483647 h 1025"/>
              <a:gd name="T60" fmla="*/ 2147483647 w 906"/>
              <a:gd name="T61" fmla="*/ 2147483647 h 1025"/>
              <a:gd name="T62" fmla="*/ 2147483647 w 906"/>
              <a:gd name="T63" fmla="*/ 2147483647 h 1025"/>
              <a:gd name="T64" fmla="*/ 2147483647 w 906"/>
              <a:gd name="T65" fmla="*/ 2147483647 h 1025"/>
              <a:gd name="T66" fmla="*/ 2147483647 w 906"/>
              <a:gd name="T67" fmla="*/ 2147483647 h 1025"/>
              <a:gd name="T68" fmla="*/ 2147483647 w 906"/>
              <a:gd name="T69" fmla="*/ 2147483647 h 1025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906"/>
              <a:gd name="T106" fmla="*/ 0 h 1025"/>
              <a:gd name="T107" fmla="*/ 906 w 906"/>
              <a:gd name="T108" fmla="*/ 1025 h 1025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906" h="1025">
                <a:moveTo>
                  <a:pt x="0" y="250"/>
                </a:moveTo>
                <a:lnTo>
                  <a:pt x="0" y="250"/>
                </a:lnTo>
                <a:lnTo>
                  <a:pt x="32" y="250"/>
                </a:lnTo>
                <a:lnTo>
                  <a:pt x="64" y="254"/>
                </a:lnTo>
                <a:lnTo>
                  <a:pt x="97" y="258"/>
                </a:lnTo>
                <a:lnTo>
                  <a:pt x="128" y="263"/>
                </a:lnTo>
                <a:lnTo>
                  <a:pt x="159" y="271"/>
                </a:lnTo>
                <a:lnTo>
                  <a:pt x="189" y="278"/>
                </a:lnTo>
                <a:lnTo>
                  <a:pt x="219" y="289"/>
                </a:lnTo>
                <a:lnTo>
                  <a:pt x="249" y="301"/>
                </a:lnTo>
                <a:lnTo>
                  <a:pt x="276" y="312"/>
                </a:lnTo>
                <a:lnTo>
                  <a:pt x="304" y="326"/>
                </a:lnTo>
                <a:lnTo>
                  <a:pt x="330" y="342"/>
                </a:lnTo>
                <a:lnTo>
                  <a:pt x="357" y="358"/>
                </a:lnTo>
                <a:lnTo>
                  <a:pt x="382" y="376"/>
                </a:lnTo>
                <a:lnTo>
                  <a:pt x="407" y="394"/>
                </a:lnTo>
                <a:lnTo>
                  <a:pt x="430" y="413"/>
                </a:lnTo>
                <a:lnTo>
                  <a:pt x="452" y="434"/>
                </a:lnTo>
                <a:lnTo>
                  <a:pt x="474" y="456"/>
                </a:lnTo>
                <a:lnTo>
                  <a:pt x="495" y="479"/>
                </a:lnTo>
                <a:lnTo>
                  <a:pt x="514" y="503"/>
                </a:lnTo>
                <a:lnTo>
                  <a:pt x="532" y="527"/>
                </a:lnTo>
                <a:lnTo>
                  <a:pt x="549" y="552"/>
                </a:lnTo>
                <a:lnTo>
                  <a:pt x="566" y="578"/>
                </a:lnTo>
                <a:lnTo>
                  <a:pt x="580" y="605"/>
                </a:lnTo>
                <a:lnTo>
                  <a:pt x="595" y="634"/>
                </a:lnTo>
                <a:lnTo>
                  <a:pt x="606" y="662"/>
                </a:lnTo>
                <a:lnTo>
                  <a:pt x="618" y="691"/>
                </a:lnTo>
                <a:lnTo>
                  <a:pt x="627" y="721"/>
                </a:lnTo>
                <a:lnTo>
                  <a:pt x="635" y="752"/>
                </a:lnTo>
                <a:lnTo>
                  <a:pt x="643" y="782"/>
                </a:lnTo>
                <a:lnTo>
                  <a:pt x="648" y="814"/>
                </a:lnTo>
                <a:lnTo>
                  <a:pt x="652" y="845"/>
                </a:lnTo>
                <a:lnTo>
                  <a:pt x="654" y="877"/>
                </a:lnTo>
                <a:lnTo>
                  <a:pt x="774" y="1025"/>
                </a:lnTo>
                <a:lnTo>
                  <a:pt x="906" y="903"/>
                </a:lnTo>
                <a:lnTo>
                  <a:pt x="903" y="858"/>
                </a:lnTo>
                <a:lnTo>
                  <a:pt x="901" y="813"/>
                </a:lnTo>
                <a:lnTo>
                  <a:pt x="894" y="769"/>
                </a:lnTo>
                <a:lnTo>
                  <a:pt x="886" y="724"/>
                </a:lnTo>
                <a:lnTo>
                  <a:pt x="876" y="682"/>
                </a:lnTo>
                <a:lnTo>
                  <a:pt x="864" y="639"/>
                </a:lnTo>
                <a:lnTo>
                  <a:pt x="850" y="599"/>
                </a:lnTo>
                <a:lnTo>
                  <a:pt x="835" y="559"/>
                </a:lnTo>
                <a:lnTo>
                  <a:pt x="818" y="518"/>
                </a:lnTo>
                <a:lnTo>
                  <a:pt x="798" y="481"/>
                </a:lnTo>
                <a:lnTo>
                  <a:pt x="776" y="443"/>
                </a:lnTo>
                <a:lnTo>
                  <a:pt x="754" y="407"/>
                </a:lnTo>
                <a:lnTo>
                  <a:pt x="730" y="372"/>
                </a:lnTo>
                <a:lnTo>
                  <a:pt x="704" y="338"/>
                </a:lnTo>
                <a:lnTo>
                  <a:pt x="676" y="306"/>
                </a:lnTo>
                <a:lnTo>
                  <a:pt x="647" y="275"/>
                </a:lnTo>
                <a:lnTo>
                  <a:pt x="617" y="245"/>
                </a:lnTo>
                <a:lnTo>
                  <a:pt x="584" y="216"/>
                </a:lnTo>
                <a:lnTo>
                  <a:pt x="552" y="189"/>
                </a:lnTo>
                <a:lnTo>
                  <a:pt x="517" y="164"/>
                </a:lnTo>
                <a:lnTo>
                  <a:pt x="482" y="140"/>
                </a:lnTo>
                <a:lnTo>
                  <a:pt x="446" y="118"/>
                </a:lnTo>
                <a:lnTo>
                  <a:pt x="408" y="98"/>
                </a:lnTo>
                <a:lnTo>
                  <a:pt x="369" y="79"/>
                </a:lnTo>
                <a:lnTo>
                  <a:pt x="329" y="62"/>
                </a:lnTo>
                <a:lnTo>
                  <a:pt x="289" y="48"/>
                </a:lnTo>
                <a:lnTo>
                  <a:pt x="246" y="35"/>
                </a:lnTo>
                <a:lnTo>
                  <a:pt x="204" y="23"/>
                </a:lnTo>
                <a:lnTo>
                  <a:pt x="160" y="14"/>
                </a:lnTo>
                <a:lnTo>
                  <a:pt x="116" y="8"/>
                </a:lnTo>
                <a:lnTo>
                  <a:pt x="72" y="2"/>
                </a:lnTo>
                <a:lnTo>
                  <a:pt x="27" y="0"/>
                </a:lnTo>
                <a:lnTo>
                  <a:pt x="149" y="129"/>
                </a:lnTo>
                <a:lnTo>
                  <a:pt x="0" y="250"/>
                </a:lnTo>
                <a:close/>
              </a:path>
            </a:pathLst>
          </a:custGeom>
          <a:gradFill>
            <a:gsLst>
              <a:gs pos="14000">
                <a:schemeClr val="accent5">
                  <a:lumMod val="40000"/>
                  <a:lumOff val="60000"/>
                </a:schemeClr>
              </a:gs>
              <a:gs pos="87000">
                <a:srgbClr val="002060"/>
              </a:gs>
            </a:gsLst>
            <a:lin ang="16200000" scaled="0"/>
          </a:gradFill>
          <a:ln>
            <a:noFill/>
          </a:ln>
          <a:effectLst>
            <a:outerShdw blurRad="50800" dist="25400" dir="5400000" algn="t" rotWithShape="0">
              <a:srgbClr val="808080">
                <a:alpha val="18999"/>
              </a:srgb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  <a:ea typeface="+mn-ea"/>
            </a:endParaRPr>
          </a:p>
        </p:txBody>
      </p:sp>
      <p:sp>
        <p:nvSpPr>
          <p:cNvPr id="135" name="Freeform 182"/>
          <p:cNvSpPr>
            <a:spLocks/>
          </p:cNvSpPr>
          <p:nvPr/>
        </p:nvSpPr>
        <p:spPr bwMode="auto">
          <a:xfrm>
            <a:off x="3313187" y="2355540"/>
            <a:ext cx="1633537" cy="1474787"/>
          </a:xfrm>
          <a:custGeom>
            <a:avLst/>
            <a:gdLst>
              <a:gd name="T0" fmla="*/ 2147483647 w 1029"/>
              <a:gd name="T1" fmla="*/ 2147483647 h 929"/>
              <a:gd name="T2" fmla="*/ 2147483647 w 1029"/>
              <a:gd name="T3" fmla="*/ 2147483647 h 929"/>
              <a:gd name="T4" fmla="*/ 2147483647 w 1029"/>
              <a:gd name="T5" fmla="*/ 2147483647 h 929"/>
              <a:gd name="T6" fmla="*/ 2147483647 w 1029"/>
              <a:gd name="T7" fmla="*/ 2147483647 h 929"/>
              <a:gd name="T8" fmla="*/ 2147483647 w 1029"/>
              <a:gd name="T9" fmla="*/ 2147483647 h 929"/>
              <a:gd name="T10" fmla="*/ 2147483647 w 1029"/>
              <a:gd name="T11" fmla="*/ 2147483647 h 929"/>
              <a:gd name="T12" fmla="*/ 2147483647 w 1029"/>
              <a:gd name="T13" fmla="*/ 2147483647 h 929"/>
              <a:gd name="T14" fmla="*/ 2147483647 w 1029"/>
              <a:gd name="T15" fmla="*/ 2147483647 h 929"/>
              <a:gd name="T16" fmla="*/ 2147483647 w 1029"/>
              <a:gd name="T17" fmla="*/ 2147483647 h 929"/>
              <a:gd name="T18" fmla="*/ 2147483647 w 1029"/>
              <a:gd name="T19" fmla="*/ 2147483647 h 929"/>
              <a:gd name="T20" fmla="*/ 2147483647 w 1029"/>
              <a:gd name="T21" fmla="*/ 2147483647 h 929"/>
              <a:gd name="T22" fmla="*/ 2147483647 w 1029"/>
              <a:gd name="T23" fmla="*/ 2147483647 h 929"/>
              <a:gd name="T24" fmla="*/ 2147483647 w 1029"/>
              <a:gd name="T25" fmla="*/ 2147483647 h 929"/>
              <a:gd name="T26" fmla="*/ 2147483647 w 1029"/>
              <a:gd name="T27" fmla="*/ 2147483647 h 929"/>
              <a:gd name="T28" fmla="*/ 2147483647 w 1029"/>
              <a:gd name="T29" fmla="*/ 2147483647 h 929"/>
              <a:gd name="T30" fmla="*/ 2147483647 w 1029"/>
              <a:gd name="T31" fmla="*/ 2147483647 h 929"/>
              <a:gd name="T32" fmla="*/ 2147483647 w 1029"/>
              <a:gd name="T33" fmla="*/ 2147483647 h 929"/>
              <a:gd name="T34" fmla="*/ 2147483647 w 1029"/>
              <a:gd name="T35" fmla="*/ 2147483647 h 929"/>
              <a:gd name="T36" fmla="*/ 2147483647 w 1029"/>
              <a:gd name="T37" fmla="*/ 0 h 929"/>
              <a:gd name="T38" fmla="*/ 2147483647 w 1029"/>
              <a:gd name="T39" fmla="*/ 2147483647 h 929"/>
              <a:gd name="T40" fmla="*/ 2147483647 w 1029"/>
              <a:gd name="T41" fmla="*/ 2147483647 h 929"/>
              <a:gd name="T42" fmla="*/ 2147483647 w 1029"/>
              <a:gd name="T43" fmla="*/ 2147483647 h 929"/>
              <a:gd name="T44" fmla="*/ 2147483647 w 1029"/>
              <a:gd name="T45" fmla="*/ 2147483647 h 929"/>
              <a:gd name="T46" fmla="*/ 2147483647 w 1029"/>
              <a:gd name="T47" fmla="*/ 2147483647 h 929"/>
              <a:gd name="T48" fmla="*/ 2147483647 w 1029"/>
              <a:gd name="T49" fmla="*/ 2147483647 h 929"/>
              <a:gd name="T50" fmla="*/ 2147483647 w 1029"/>
              <a:gd name="T51" fmla="*/ 2147483647 h 929"/>
              <a:gd name="T52" fmla="*/ 2147483647 w 1029"/>
              <a:gd name="T53" fmla="*/ 2147483647 h 929"/>
              <a:gd name="T54" fmla="*/ 2147483647 w 1029"/>
              <a:gd name="T55" fmla="*/ 2147483647 h 929"/>
              <a:gd name="T56" fmla="*/ 2147483647 w 1029"/>
              <a:gd name="T57" fmla="*/ 2147483647 h 929"/>
              <a:gd name="T58" fmla="*/ 2147483647 w 1029"/>
              <a:gd name="T59" fmla="*/ 2147483647 h 929"/>
              <a:gd name="T60" fmla="*/ 2147483647 w 1029"/>
              <a:gd name="T61" fmla="*/ 2147483647 h 929"/>
              <a:gd name="T62" fmla="*/ 2147483647 w 1029"/>
              <a:gd name="T63" fmla="*/ 2147483647 h 929"/>
              <a:gd name="T64" fmla="*/ 2147483647 w 1029"/>
              <a:gd name="T65" fmla="*/ 2147483647 h 929"/>
              <a:gd name="T66" fmla="*/ 2147483647 w 1029"/>
              <a:gd name="T67" fmla="*/ 2147483647 h 929"/>
              <a:gd name="T68" fmla="*/ 2147483647 w 1029"/>
              <a:gd name="T69" fmla="*/ 2147483647 h 929"/>
              <a:gd name="T70" fmla="*/ 0 w 1029"/>
              <a:gd name="T71" fmla="*/ 2147483647 h 929"/>
              <a:gd name="T72" fmla="*/ 2147483647 w 1029"/>
              <a:gd name="T73" fmla="*/ 2147483647 h 92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029"/>
              <a:gd name="T112" fmla="*/ 0 h 929"/>
              <a:gd name="T113" fmla="*/ 1029 w 1029"/>
              <a:gd name="T114" fmla="*/ 929 h 929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029" h="929">
                <a:moveTo>
                  <a:pt x="250" y="920"/>
                </a:moveTo>
                <a:lnTo>
                  <a:pt x="250" y="920"/>
                </a:lnTo>
                <a:lnTo>
                  <a:pt x="250" y="912"/>
                </a:lnTo>
                <a:lnTo>
                  <a:pt x="252" y="879"/>
                </a:lnTo>
                <a:lnTo>
                  <a:pt x="254" y="847"/>
                </a:lnTo>
                <a:lnTo>
                  <a:pt x="258" y="815"/>
                </a:lnTo>
                <a:lnTo>
                  <a:pt x="263" y="782"/>
                </a:lnTo>
                <a:lnTo>
                  <a:pt x="270" y="752"/>
                </a:lnTo>
                <a:lnTo>
                  <a:pt x="279" y="721"/>
                </a:lnTo>
                <a:lnTo>
                  <a:pt x="288" y="691"/>
                </a:lnTo>
                <a:lnTo>
                  <a:pt x="299" y="662"/>
                </a:lnTo>
                <a:lnTo>
                  <a:pt x="311" y="633"/>
                </a:lnTo>
                <a:lnTo>
                  <a:pt x="325" y="606"/>
                </a:lnTo>
                <a:lnTo>
                  <a:pt x="341" y="579"/>
                </a:lnTo>
                <a:lnTo>
                  <a:pt x="357" y="553"/>
                </a:lnTo>
                <a:lnTo>
                  <a:pt x="375" y="527"/>
                </a:lnTo>
                <a:lnTo>
                  <a:pt x="393" y="502"/>
                </a:lnTo>
                <a:lnTo>
                  <a:pt x="412" y="479"/>
                </a:lnTo>
                <a:lnTo>
                  <a:pt x="433" y="456"/>
                </a:lnTo>
                <a:lnTo>
                  <a:pt x="455" y="435"/>
                </a:lnTo>
                <a:lnTo>
                  <a:pt x="477" y="414"/>
                </a:lnTo>
                <a:lnTo>
                  <a:pt x="502" y="393"/>
                </a:lnTo>
                <a:lnTo>
                  <a:pt x="526" y="375"/>
                </a:lnTo>
                <a:lnTo>
                  <a:pt x="551" y="358"/>
                </a:lnTo>
                <a:lnTo>
                  <a:pt x="577" y="341"/>
                </a:lnTo>
                <a:lnTo>
                  <a:pt x="604" y="327"/>
                </a:lnTo>
                <a:lnTo>
                  <a:pt x="633" y="313"/>
                </a:lnTo>
                <a:lnTo>
                  <a:pt x="661" y="300"/>
                </a:lnTo>
                <a:lnTo>
                  <a:pt x="690" y="290"/>
                </a:lnTo>
                <a:lnTo>
                  <a:pt x="720" y="279"/>
                </a:lnTo>
                <a:lnTo>
                  <a:pt x="751" y="271"/>
                </a:lnTo>
                <a:lnTo>
                  <a:pt x="782" y="264"/>
                </a:lnTo>
                <a:lnTo>
                  <a:pt x="813" y="258"/>
                </a:lnTo>
                <a:lnTo>
                  <a:pt x="845" y="255"/>
                </a:lnTo>
                <a:lnTo>
                  <a:pt x="878" y="252"/>
                </a:lnTo>
                <a:lnTo>
                  <a:pt x="1029" y="129"/>
                </a:lnTo>
                <a:lnTo>
                  <a:pt x="910" y="0"/>
                </a:lnTo>
                <a:lnTo>
                  <a:pt x="863" y="2"/>
                </a:lnTo>
                <a:lnTo>
                  <a:pt x="817" y="6"/>
                </a:lnTo>
                <a:lnTo>
                  <a:pt x="771" y="11"/>
                </a:lnTo>
                <a:lnTo>
                  <a:pt x="726" y="20"/>
                </a:lnTo>
                <a:lnTo>
                  <a:pt x="682" y="29"/>
                </a:lnTo>
                <a:lnTo>
                  <a:pt x="639" y="42"/>
                </a:lnTo>
                <a:lnTo>
                  <a:pt x="596" y="56"/>
                </a:lnTo>
                <a:lnTo>
                  <a:pt x="555" y="73"/>
                </a:lnTo>
                <a:lnTo>
                  <a:pt x="515" y="91"/>
                </a:lnTo>
                <a:lnTo>
                  <a:pt x="476" y="111"/>
                </a:lnTo>
                <a:lnTo>
                  <a:pt x="438" y="133"/>
                </a:lnTo>
                <a:lnTo>
                  <a:pt x="401" y="156"/>
                </a:lnTo>
                <a:lnTo>
                  <a:pt x="366" y="182"/>
                </a:lnTo>
                <a:lnTo>
                  <a:pt x="331" y="209"/>
                </a:lnTo>
                <a:lnTo>
                  <a:pt x="298" y="238"/>
                </a:lnTo>
                <a:lnTo>
                  <a:pt x="266" y="268"/>
                </a:lnTo>
                <a:lnTo>
                  <a:pt x="236" y="300"/>
                </a:lnTo>
                <a:lnTo>
                  <a:pt x="207" y="332"/>
                </a:lnTo>
                <a:lnTo>
                  <a:pt x="180" y="367"/>
                </a:lnTo>
                <a:lnTo>
                  <a:pt x="156" y="402"/>
                </a:lnTo>
                <a:lnTo>
                  <a:pt x="131" y="440"/>
                </a:lnTo>
                <a:lnTo>
                  <a:pt x="109" y="478"/>
                </a:lnTo>
                <a:lnTo>
                  <a:pt x="89" y="518"/>
                </a:lnTo>
                <a:lnTo>
                  <a:pt x="71" y="558"/>
                </a:lnTo>
                <a:lnTo>
                  <a:pt x="54" y="599"/>
                </a:lnTo>
                <a:lnTo>
                  <a:pt x="40" y="641"/>
                </a:lnTo>
                <a:lnTo>
                  <a:pt x="29" y="685"/>
                </a:lnTo>
                <a:lnTo>
                  <a:pt x="18" y="729"/>
                </a:lnTo>
                <a:lnTo>
                  <a:pt x="10" y="773"/>
                </a:lnTo>
                <a:lnTo>
                  <a:pt x="4" y="819"/>
                </a:lnTo>
                <a:lnTo>
                  <a:pt x="1" y="865"/>
                </a:lnTo>
                <a:lnTo>
                  <a:pt x="0" y="912"/>
                </a:lnTo>
                <a:lnTo>
                  <a:pt x="0" y="929"/>
                </a:lnTo>
                <a:lnTo>
                  <a:pt x="118" y="793"/>
                </a:lnTo>
                <a:lnTo>
                  <a:pt x="250" y="920"/>
                </a:lnTo>
                <a:close/>
              </a:path>
            </a:pathLst>
          </a:custGeom>
          <a:gradFill>
            <a:gsLst>
              <a:gs pos="8000">
                <a:schemeClr val="accent4">
                  <a:lumMod val="75000"/>
                </a:schemeClr>
              </a:gs>
              <a:gs pos="100000">
                <a:schemeClr val="tx2">
                  <a:lumMod val="0"/>
                  <a:lumOff val="100000"/>
                  <a:alpha val="0"/>
                </a:schemeClr>
              </a:gs>
            </a:gsLst>
            <a:lin ang="16200000" scaled="0"/>
          </a:gradFill>
          <a:ln>
            <a:noFill/>
          </a:ln>
          <a:effectLst>
            <a:outerShdw blurRad="50800" dist="25400" dir="5400000" algn="t" rotWithShape="0">
              <a:srgbClr val="808080">
                <a:alpha val="18999"/>
              </a:srgb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  <a:ea typeface="+mn-ea"/>
            </a:endParaRPr>
          </a:p>
        </p:txBody>
      </p:sp>
      <p:sp>
        <p:nvSpPr>
          <p:cNvPr id="136" name="Freeform 183"/>
          <p:cNvSpPr>
            <a:spLocks/>
          </p:cNvSpPr>
          <p:nvPr/>
        </p:nvSpPr>
        <p:spPr bwMode="auto">
          <a:xfrm>
            <a:off x="3314774" y="3669990"/>
            <a:ext cx="1479550" cy="1579562"/>
          </a:xfrm>
          <a:custGeom>
            <a:avLst/>
            <a:gdLst>
              <a:gd name="T0" fmla="*/ 2147483647 w 932"/>
              <a:gd name="T1" fmla="*/ 2147483647 h 995"/>
              <a:gd name="T2" fmla="*/ 2147483647 w 932"/>
              <a:gd name="T3" fmla="*/ 2147483647 h 995"/>
              <a:gd name="T4" fmla="*/ 2147483647 w 932"/>
              <a:gd name="T5" fmla="*/ 2147483647 h 995"/>
              <a:gd name="T6" fmla="*/ 2147483647 w 932"/>
              <a:gd name="T7" fmla="*/ 2147483647 h 995"/>
              <a:gd name="T8" fmla="*/ 2147483647 w 932"/>
              <a:gd name="T9" fmla="*/ 2147483647 h 995"/>
              <a:gd name="T10" fmla="*/ 2147483647 w 932"/>
              <a:gd name="T11" fmla="*/ 2147483647 h 995"/>
              <a:gd name="T12" fmla="*/ 2147483647 w 932"/>
              <a:gd name="T13" fmla="*/ 2147483647 h 995"/>
              <a:gd name="T14" fmla="*/ 2147483647 w 932"/>
              <a:gd name="T15" fmla="*/ 2147483647 h 995"/>
              <a:gd name="T16" fmla="*/ 2147483647 w 932"/>
              <a:gd name="T17" fmla="*/ 2147483647 h 995"/>
              <a:gd name="T18" fmla="*/ 2147483647 w 932"/>
              <a:gd name="T19" fmla="*/ 2147483647 h 995"/>
              <a:gd name="T20" fmla="*/ 2147483647 w 932"/>
              <a:gd name="T21" fmla="*/ 2147483647 h 995"/>
              <a:gd name="T22" fmla="*/ 2147483647 w 932"/>
              <a:gd name="T23" fmla="*/ 2147483647 h 995"/>
              <a:gd name="T24" fmla="*/ 2147483647 w 932"/>
              <a:gd name="T25" fmla="*/ 2147483647 h 995"/>
              <a:gd name="T26" fmla="*/ 2147483647 w 932"/>
              <a:gd name="T27" fmla="*/ 2147483647 h 995"/>
              <a:gd name="T28" fmla="*/ 2147483647 w 932"/>
              <a:gd name="T29" fmla="*/ 2147483647 h 995"/>
              <a:gd name="T30" fmla="*/ 2147483647 w 932"/>
              <a:gd name="T31" fmla="*/ 2147483647 h 995"/>
              <a:gd name="T32" fmla="*/ 2147483647 w 932"/>
              <a:gd name="T33" fmla="*/ 2147483647 h 995"/>
              <a:gd name="T34" fmla="*/ 2147483647 w 932"/>
              <a:gd name="T35" fmla="*/ 2147483647 h 995"/>
              <a:gd name="T36" fmla="*/ 0 w 932"/>
              <a:gd name="T37" fmla="*/ 2147483647 h 995"/>
              <a:gd name="T38" fmla="*/ 2147483647 w 932"/>
              <a:gd name="T39" fmla="*/ 2147483647 h 995"/>
              <a:gd name="T40" fmla="*/ 2147483647 w 932"/>
              <a:gd name="T41" fmla="*/ 2147483647 h 995"/>
              <a:gd name="T42" fmla="*/ 2147483647 w 932"/>
              <a:gd name="T43" fmla="*/ 2147483647 h 995"/>
              <a:gd name="T44" fmla="*/ 2147483647 w 932"/>
              <a:gd name="T45" fmla="*/ 2147483647 h 995"/>
              <a:gd name="T46" fmla="*/ 2147483647 w 932"/>
              <a:gd name="T47" fmla="*/ 2147483647 h 995"/>
              <a:gd name="T48" fmla="*/ 2147483647 w 932"/>
              <a:gd name="T49" fmla="*/ 2147483647 h 995"/>
              <a:gd name="T50" fmla="*/ 2147483647 w 932"/>
              <a:gd name="T51" fmla="*/ 2147483647 h 995"/>
              <a:gd name="T52" fmla="*/ 2147483647 w 932"/>
              <a:gd name="T53" fmla="*/ 2147483647 h 995"/>
              <a:gd name="T54" fmla="*/ 2147483647 w 932"/>
              <a:gd name="T55" fmla="*/ 2147483647 h 995"/>
              <a:gd name="T56" fmla="*/ 2147483647 w 932"/>
              <a:gd name="T57" fmla="*/ 2147483647 h 995"/>
              <a:gd name="T58" fmla="*/ 2147483647 w 932"/>
              <a:gd name="T59" fmla="*/ 2147483647 h 995"/>
              <a:gd name="T60" fmla="*/ 2147483647 w 932"/>
              <a:gd name="T61" fmla="*/ 2147483647 h 995"/>
              <a:gd name="T62" fmla="*/ 2147483647 w 932"/>
              <a:gd name="T63" fmla="*/ 2147483647 h 995"/>
              <a:gd name="T64" fmla="*/ 2147483647 w 932"/>
              <a:gd name="T65" fmla="*/ 2147483647 h 995"/>
              <a:gd name="T66" fmla="*/ 2147483647 w 932"/>
              <a:gd name="T67" fmla="*/ 2147483647 h 995"/>
              <a:gd name="T68" fmla="*/ 2147483647 w 932"/>
              <a:gd name="T69" fmla="*/ 2147483647 h 995"/>
              <a:gd name="T70" fmla="*/ 2147483647 w 932"/>
              <a:gd name="T71" fmla="*/ 2147483647 h 995"/>
              <a:gd name="T72" fmla="*/ 2147483647 w 932"/>
              <a:gd name="T73" fmla="*/ 2147483647 h 995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932"/>
              <a:gd name="T112" fmla="*/ 0 h 995"/>
              <a:gd name="T113" fmla="*/ 932 w 932"/>
              <a:gd name="T114" fmla="*/ 995 h 995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932" h="995">
                <a:moveTo>
                  <a:pt x="918" y="745"/>
                </a:moveTo>
                <a:lnTo>
                  <a:pt x="918" y="745"/>
                </a:lnTo>
                <a:lnTo>
                  <a:pt x="910" y="745"/>
                </a:lnTo>
                <a:lnTo>
                  <a:pt x="877" y="744"/>
                </a:lnTo>
                <a:lnTo>
                  <a:pt x="846" y="741"/>
                </a:lnTo>
                <a:lnTo>
                  <a:pt x="813" y="737"/>
                </a:lnTo>
                <a:lnTo>
                  <a:pt x="782" y="732"/>
                </a:lnTo>
                <a:lnTo>
                  <a:pt x="751" y="726"/>
                </a:lnTo>
                <a:lnTo>
                  <a:pt x="721" y="718"/>
                </a:lnTo>
                <a:lnTo>
                  <a:pt x="691" y="707"/>
                </a:lnTo>
                <a:lnTo>
                  <a:pt x="663" y="697"/>
                </a:lnTo>
                <a:lnTo>
                  <a:pt x="634" y="684"/>
                </a:lnTo>
                <a:lnTo>
                  <a:pt x="606" y="671"/>
                </a:lnTo>
                <a:lnTo>
                  <a:pt x="580" y="657"/>
                </a:lnTo>
                <a:lnTo>
                  <a:pt x="554" y="640"/>
                </a:lnTo>
                <a:lnTo>
                  <a:pt x="528" y="623"/>
                </a:lnTo>
                <a:lnTo>
                  <a:pt x="503" y="605"/>
                </a:lnTo>
                <a:lnTo>
                  <a:pt x="480" y="586"/>
                </a:lnTo>
                <a:lnTo>
                  <a:pt x="458" y="565"/>
                </a:lnTo>
                <a:lnTo>
                  <a:pt x="436" y="544"/>
                </a:lnTo>
                <a:lnTo>
                  <a:pt x="415" y="522"/>
                </a:lnTo>
                <a:lnTo>
                  <a:pt x="396" y="499"/>
                </a:lnTo>
                <a:lnTo>
                  <a:pt x="376" y="474"/>
                </a:lnTo>
                <a:lnTo>
                  <a:pt x="359" y="449"/>
                </a:lnTo>
                <a:lnTo>
                  <a:pt x="343" y="424"/>
                </a:lnTo>
                <a:lnTo>
                  <a:pt x="328" y="396"/>
                </a:lnTo>
                <a:lnTo>
                  <a:pt x="314" y="369"/>
                </a:lnTo>
                <a:lnTo>
                  <a:pt x="301" y="341"/>
                </a:lnTo>
                <a:lnTo>
                  <a:pt x="289" y="312"/>
                </a:lnTo>
                <a:lnTo>
                  <a:pt x="280" y="282"/>
                </a:lnTo>
                <a:lnTo>
                  <a:pt x="271" y="252"/>
                </a:lnTo>
                <a:lnTo>
                  <a:pt x="263" y="223"/>
                </a:lnTo>
                <a:lnTo>
                  <a:pt x="258" y="191"/>
                </a:lnTo>
                <a:lnTo>
                  <a:pt x="253" y="159"/>
                </a:lnTo>
                <a:lnTo>
                  <a:pt x="251" y="127"/>
                </a:lnTo>
                <a:lnTo>
                  <a:pt x="118" y="0"/>
                </a:lnTo>
                <a:lnTo>
                  <a:pt x="0" y="137"/>
                </a:lnTo>
                <a:lnTo>
                  <a:pt x="4" y="181"/>
                </a:lnTo>
                <a:lnTo>
                  <a:pt x="9" y="225"/>
                </a:lnTo>
                <a:lnTo>
                  <a:pt x="17" y="269"/>
                </a:lnTo>
                <a:lnTo>
                  <a:pt x="28" y="312"/>
                </a:lnTo>
                <a:lnTo>
                  <a:pt x="39" y="354"/>
                </a:lnTo>
                <a:lnTo>
                  <a:pt x="52" y="394"/>
                </a:lnTo>
                <a:lnTo>
                  <a:pt x="68" y="434"/>
                </a:lnTo>
                <a:lnTo>
                  <a:pt x="86" y="473"/>
                </a:lnTo>
                <a:lnTo>
                  <a:pt x="105" y="512"/>
                </a:lnTo>
                <a:lnTo>
                  <a:pt x="126" y="548"/>
                </a:lnTo>
                <a:lnTo>
                  <a:pt x="148" y="584"/>
                </a:lnTo>
                <a:lnTo>
                  <a:pt x="171" y="619"/>
                </a:lnTo>
                <a:lnTo>
                  <a:pt x="197" y="653"/>
                </a:lnTo>
                <a:lnTo>
                  <a:pt x="225" y="685"/>
                </a:lnTo>
                <a:lnTo>
                  <a:pt x="253" y="717"/>
                </a:lnTo>
                <a:lnTo>
                  <a:pt x="283" y="746"/>
                </a:lnTo>
                <a:lnTo>
                  <a:pt x="314" y="774"/>
                </a:lnTo>
                <a:lnTo>
                  <a:pt x="348" y="801"/>
                </a:lnTo>
                <a:lnTo>
                  <a:pt x="381" y="827"/>
                </a:lnTo>
                <a:lnTo>
                  <a:pt x="416" y="850"/>
                </a:lnTo>
                <a:lnTo>
                  <a:pt x="451" y="872"/>
                </a:lnTo>
                <a:lnTo>
                  <a:pt x="489" y="893"/>
                </a:lnTo>
                <a:lnTo>
                  <a:pt x="528" y="911"/>
                </a:lnTo>
                <a:lnTo>
                  <a:pt x="567" y="929"/>
                </a:lnTo>
                <a:lnTo>
                  <a:pt x="607" y="943"/>
                </a:lnTo>
                <a:lnTo>
                  <a:pt x="649" y="958"/>
                </a:lnTo>
                <a:lnTo>
                  <a:pt x="690" y="968"/>
                </a:lnTo>
                <a:lnTo>
                  <a:pt x="733" y="978"/>
                </a:lnTo>
                <a:lnTo>
                  <a:pt x="776" y="986"/>
                </a:lnTo>
                <a:lnTo>
                  <a:pt x="820" y="991"/>
                </a:lnTo>
                <a:lnTo>
                  <a:pt x="865" y="994"/>
                </a:lnTo>
                <a:lnTo>
                  <a:pt x="910" y="995"/>
                </a:lnTo>
                <a:lnTo>
                  <a:pt x="932" y="995"/>
                </a:lnTo>
                <a:lnTo>
                  <a:pt x="794" y="875"/>
                </a:lnTo>
                <a:lnTo>
                  <a:pt x="918" y="745"/>
                </a:lnTo>
                <a:close/>
              </a:path>
            </a:pathLst>
          </a:custGeom>
          <a:gradFill rotWithShape="1">
            <a:gsLst>
              <a:gs pos="0">
                <a:schemeClr val="accent2">
                  <a:lumMod val="60000"/>
                  <a:lumOff val="40000"/>
                </a:schemeClr>
              </a:gs>
              <a:gs pos="100000">
                <a:srgbClr val="31859C"/>
              </a:gs>
            </a:gsLst>
            <a:lin ang="2700000" scaled="1"/>
          </a:gradFill>
          <a:ln>
            <a:noFill/>
          </a:ln>
          <a:effectLst>
            <a:outerShdw blurRad="50800" dist="25400" dir="5400000" algn="t" rotWithShape="0">
              <a:srgbClr val="808080">
                <a:alpha val="18999"/>
              </a:srgb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  <a:ea typeface="+mn-ea"/>
            </a:endParaRPr>
          </a:p>
        </p:txBody>
      </p:sp>
      <p:sp>
        <p:nvSpPr>
          <p:cNvPr id="137" name="Freeform 184"/>
          <p:cNvSpPr>
            <a:spLocks/>
          </p:cNvSpPr>
          <p:nvPr/>
        </p:nvSpPr>
        <p:spPr bwMode="auto">
          <a:xfrm>
            <a:off x="4630812" y="3812865"/>
            <a:ext cx="1574800" cy="1435100"/>
          </a:xfrm>
          <a:custGeom>
            <a:avLst/>
            <a:gdLst>
              <a:gd name="T0" fmla="*/ 2147483647 w 992"/>
              <a:gd name="T1" fmla="*/ 2147483647 h 904"/>
              <a:gd name="T2" fmla="*/ 2147483647 w 992"/>
              <a:gd name="T3" fmla="*/ 0 h 904"/>
              <a:gd name="T4" fmla="*/ 2147483647 w 992"/>
              <a:gd name="T5" fmla="*/ 2147483647 h 904"/>
              <a:gd name="T6" fmla="*/ 2147483647 w 992"/>
              <a:gd name="T7" fmla="*/ 2147483647 h 904"/>
              <a:gd name="T8" fmla="*/ 2147483647 w 992"/>
              <a:gd name="T9" fmla="*/ 2147483647 h 904"/>
              <a:gd name="T10" fmla="*/ 2147483647 w 992"/>
              <a:gd name="T11" fmla="*/ 2147483647 h 904"/>
              <a:gd name="T12" fmla="*/ 2147483647 w 992"/>
              <a:gd name="T13" fmla="*/ 2147483647 h 904"/>
              <a:gd name="T14" fmla="*/ 2147483647 w 992"/>
              <a:gd name="T15" fmla="*/ 2147483647 h 904"/>
              <a:gd name="T16" fmla="*/ 2147483647 w 992"/>
              <a:gd name="T17" fmla="*/ 2147483647 h 904"/>
              <a:gd name="T18" fmla="*/ 2147483647 w 992"/>
              <a:gd name="T19" fmla="*/ 2147483647 h 904"/>
              <a:gd name="T20" fmla="*/ 2147483647 w 992"/>
              <a:gd name="T21" fmla="*/ 2147483647 h 904"/>
              <a:gd name="T22" fmla="*/ 2147483647 w 992"/>
              <a:gd name="T23" fmla="*/ 2147483647 h 904"/>
              <a:gd name="T24" fmla="*/ 2147483647 w 992"/>
              <a:gd name="T25" fmla="*/ 2147483647 h 904"/>
              <a:gd name="T26" fmla="*/ 2147483647 w 992"/>
              <a:gd name="T27" fmla="*/ 2147483647 h 904"/>
              <a:gd name="T28" fmla="*/ 2147483647 w 992"/>
              <a:gd name="T29" fmla="*/ 2147483647 h 904"/>
              <a:gd name="T30" fmla="*/ 2147483647 w 992"/>
              <a:gd name="T31" fmla="*/ 2147483647 h 904"/>
              <a:gd name="T32" fmla="*/ 2147483647 w 992"/>
              <a:gd name="T33" fmla="*/ 2147483647 h 904"/>
              <a:gd name="T34" fmla="*/ 2147483647 w 992"/>
              <a:gd name="T35" fmla="*/ 2147483647 h 904"/>
              <a:gd name="T36" fmla="*/ 2147483647 w 992"/>
              <a:gd name="T37" fmla="*/ 2147483647 h 904"/>
              <a:gd name="T38" fmla="*/ 2147483647 w 992"/>
              <a:gd name="T39" fmla="*/ 2147483647 h 904"/>
              <a:gd name="T40" fmla="*/ 2147483647 w 992"/>
              <a:gd name="T41" fmla="*/ 2147483647 h 904"/>
              <a:gd name="T42" fmla="*/ 2147483647 w 992"/>
              <a:gd name="T43" fmla="*/ 2147483647 h 904"/>
              <a:gd name="T44" fmla="*/ 2147483647 w 992"/>
              <a:gd name="T45" fmla="*/ 2147483647 h 904"/>
              <a:gd name="T46" fmla="*/ 2147483647 w 992"/>
              <a:gd name="T47" fmla="*/ 2147483647 h 904"/>
              <a:gd name="T48" fmla="*/ 2147483647 w 992"/>
              <a:gd name="T49" fmla="*/ 2147483647 h 904"/>
              <a:gd name="T50" fmla="*/ 2147483647 w 992"/>
              <a:gd name="T51" fmla="*/ 2147483647 h 904"/>
              <a:gd name="T52" fmla="*/ 2147483647 w 992"/>
              <a:gd name="T53" fmla="*/ 2147483647 h 904"/>
              <a:gd name="T54" fmla="*/ 2147483647 w 992"/>
              <a:gd name="T55" fmla="*/ 2147483647 h 904"/>
              <a:gd name="T56" fmla="*/ 2147483647 w 992"/>
              <a:gd name="T57" fmla="*/ 2147483647 h 904"/>
              <a:gd name="T58" fmla="*/ 2147483647 w 992"/>
              <a:gd name="T59" fmla="*/ 2147483647 h 904"/>
              <a:gd name="T60" fmla="*/ 2147483647 w 992"/>
              <a:gd name="T61" fmla="*/ 2147483647 h 904"/>
              <a:gd name="T62" fmla="*/ 2147483647 w 992"/>
              <a:gd name="T63" fmla="*/ 2147483647 h 904"/>
              <a:gd name="T64" fmla="*/ 2147483647 w 992"/>
              <a:gd name="T65" fmla="*/ 2147483647 h 904"/>
              <a:gd name="T66" fmla="*/ 2147483647 w 992"/>
              <a:gd name="T67" fmla="*/ 2147483647 h 904"/>
              <a:gd name="T68" fmla="*/ 2147483647 w 992"/>
              <a:gd name="T69" fmla="*/ 2147483647 h 904"/>
              <a:gd name="T70" fmla="*/ 2147483647 w 992"/>
              <a:gd name="T71" fmla="*/ 2147483647 h 904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992"/>
              <a:gd name="T109" fmla="*/ 0 h 904"/>
              <a:gd name="T110" fmla="*/ 992 w 992"/>
              <a:gd name="T111" fmla="*/ 904 h 904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992" h="904">
                <a:moveTo>
                  <a:pt x="992" y="21"/>
                </a:moveTo>
                <a:lnTo>
                  <a:pt x="858" y="146"/>
                </a:lnTo>
                <a:lnTo>
                  <a:pt x="741" y="0"/>
                </a:lnTo>
                <a:lnTo>
                  <a:pt x="740" y="33"/>
                </a:lnTo>
                <a:lnTo>
                  <a:pt x="737" y="65"/>
                </a:lnTo>
                <a:lnTo>
                  <a:pt x="734" y="96"/>
                </a:lnTo>
                <a:lnTo>
                  <a:pt x="728" y="127"/>
                </a:lnTo>
                <a:lnTo>
                  <a:pt x="721" y="159"/>
                </a:lnTo>
                <a:lnTo>
                  <a:pt x="713" y="188"/>
                </a:lnTo>
                <a:lnTo>
                  <a:pt x="702" y="217"/>
                </a:lnTo>
                <a:lnTo>
                  <a:pt x="692" y="247"/>
                </a:lnTo>
                <a:lnTo>
                  <a:pt x="679" y="274"/>
                </a:lnTo>
                <a:lnTo>
                  <a:pt x="666" y="301"/>
                </a:lnTo>
                <a:lnTo>
                  <a:pt x="651" y="328"/>
                </a:lnTo>
                <a:lnTo>
                  <a:pt x="635" y="354"/>
                </a:lnTo>
                <a:lnTo>
                  <a:pt x="618" y="379"/>
                </a:lnTo>
                <a:lnTo>
                  <a:pt x="600" y="404"/>
                </a:lnTo>
                <a:lnTo>
                  <a:pt x="581" y="427"/>
                </a:lnTo>
                <a:lnTo>
                  <a:pt x="560" y="449"/>
                </a:lnTo>
                <a:lnTo>
                  <a:pt x="539" y="471"/>
                </a:lnTo>
                <a:lnTo>
                  <a:pt x="516" y="492"/>
                </a:lnTo>
                <a:lnTo>
                  <a:pt x="494" y="510"/>
                </a:lnTo>
                <a:lnTo>
                  <a:pt x="469" y="529"/>
                </a:lnTo>
                <a:lnTo>
                  <a:pt x="444" y="546"/>
                </a:lnTo>
                <a:lnTo>
                  <a:pt x="419" y="562"/>
                </a:lnTo>
                <a:lnTo>
                  <a:pt x="391" y="577"/>
                </a:lnTo>
                <a:lnTo>
                  <a:pt x="364" y="592"/>
                </a:lnTo>
                <a:lnTo>
                  <a:pt x="337" y="603"/>
                </a:lnTo>
                <a:lnTo>
                  <a:pt x="308" y="615"/>
                </a:lnTo>
                <a:lnTo>
                  <a:pt x="278" y="625"/>
                </a:lnTo>
                <a:lnTo>
                  <a:pt x="249" y="633"/>
                </a:lnTo>
                <a:lnTo>
                  <a:pt x="219" y="641"/>
                </a:lnTo>
                <a:lnTo>
                  <a:pt x="188" y="646"/>
                </a:lnTo>
                <a:lnTo>
                  <a:pt x="155" y="651"/>
                </a:lnTo>
                <a:lnTo>
                  <a:pt x="124" y="654"/>
                </a:lnTo>
                <a:lnTo>
                  <a:pt x="0" y="782"/>
                </a:lnTo>
                <a:lnTo>
                  <a:pt x="140" y="904"/>
                </a:lnTo>
                <a:lnTo>
                  <a:pt x="183" y="900"/>
                </a:lnTo>
                <a:lnTo>
                  <a:pt x="225" y="894"/>
                </a:lnTo>
                <a:lnTo>
                  <a:pt x="268" y="886"/>
                </a:lnTo>
                <a:lnTo>
                  <a:pt x="310" y="877"/>
                </a:lnTo>
                <a:lnTo>
                  <a:pt x="351" y="865"/>
                </a:lnTo>
                <a:lnTo>
                  <a:pt x="390" y="852"/>
                </a:lnTo>
                <a:lnTo>
                  <a:pt x="430" y="837"/>
                </a:lnTo>
                <a:lnTo>
                  <a:pt x="468" y="820"/>
                </a:lnTo>
                <a:lnTo>
                  <a:pt x="505" y="800"/>
                </a:lnTo>
                <a:lnTo>
                  <a:pt x="542" y="781"/>
                </a:lnTo>
                <a:lnTo>
                  <a:pt x="577" y="759"/>
                </a:lnTo>
                <a:lnTo>
                  <a:pt x="610" y="735"/>
                </a:lnTo>
                <a:lnTo>
                  <a:pt x="644" y="711"/>
                </a:lnTo>
                <a:lnTo>
                  <a:pt x="675" y="685"/>
                </a:lnTo>
                <a:lnTo>
                  <a:pt x="706" y="656"/>
                </a:lnTo>
                <a:lnTo>
                  <a:pt x="736" y="628"/>
                </a:lnTo>
                <a:lnTo>
                  <a:pt x="763" y="598"/>
                </a:lnTo>
                <a:lnTo>
                  <a:pt x="791" y="566"/>
                </a:lnTo>
                <a:lnTo>
                  <a:pt x="815" y="533"/>
                </a:lnTo>
                <a:lnTo>
                  <a:pt x="840" y="499"/>
                </a:lnTo>
                <a:lnTo>
                  <a:pt x="862" y="464"/>
                </a:lnTo>
                <a:lnTo>
                  <a:pt x="883" y="428"/>
                </a:lnTo>
                <a:lnTo>
                  <a:pt x="901" y="392"/>
                </a:lnTo>
                <a:lnTo>
                  <a:pt x="919" y="353"/>
                </a:lnTo>
                <a:lnTo>
                  <a:pt x="935" y="314"/>
                </a:lnTo>
                <a:lnTo>
                  <a:pt x="949" y="275"/>
                </a:lnTo>
                <a:lnTo>
                  <a:pt x="960" y="234"/>
                </a:lnTo>
                <a:lnTo>
                  <a:pt x="971" y="194"/>
                </a:lnTo>
                <a:lnTo>
                  <a:pt x="979" y="151"/>
                </a:lnTo>
                <a:lnTo>
                  <a:pt x="985" y="108"/>
                </a:lnTo>
                <a:lnTo>
                  <a:pt x="990" y="65"/>
                </a:lnTo>
                <a:lnTo>
                  <a:pt x="992" y="21"/>
                </a:lnTo>
                <a:close/>
              </a:path>
            </a:pathLst>
          </a:custGeom>
          <a:gradFill rotWithShape="1">
            <a:gsLst>
              <a:gs pos="0">
                <a:schemeClr val="bg1">
                  <a:lumMod val="65000"/>
                </a:schemeClr>
              </a:gs>
              <a:gs pos="100000">
                <a:srgbClr val="31859C"/>
              </a:gs>
            </a:gsLst>
            <a:lin ang="2700000" scaled="1"/>
          </a:gradFill>
          <a:ln>
            <a:noFill/>
          </a:ln>
          <a:effectLst>
            <a:outerShdw blurRad="50800" dist="25400" dir="5400000" algn="t" rotWithShape="0">
              <a:srgbClr val="808080">
                <a:alpha val="18999"/>
              </a:srgb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  <a:ea typeface="+mn-ea"/>
            </a:endParaRPr>
          </a:p>
        </p:txBody>
      </p:sp>
      <p:sp>
        <p:nvSpPr>
          <p:cNvPr id="142" name="Ellipse 101"/>
          <p:cNvSpPr/>
          <p:nvPr/>
        </p:nvSpPr>
        <p:spPr bwMode="auto">
          <a:xfrm>
            <a:off x="3898463" y="2956173"/>
            <a:ext cx="1715354" cy="1714698"/>
          </a:xfrm>
          <a:prstGeom prst="ellipse">
            <a:avLst/>
          </a:prstGeom>
          <a:gradFill>
            <a:gsLst>
              <a:gs pos="0">
                <a:schemeClr val="accent4">
                  <a:lumMod val="50000"/>
                </a:schemeClr>
              </a:gs>
              <a:gs pos="100000">
                <a:srgbClr val="002060"/>
              </a:gs>
            </a:gsLst>
            <a:path path="circle">
              <a:fillToRect l="50000" t="50000" r="50000" b="50000"/>
            </a:path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b-NO"/>
          </a:p>
        </p:txBody>
      </p:sp>
      <p:sp>
        <p:nvSpPr>
          <p:cNvPr id="143" name="Ellipse 33"/>
          <p:cNvSpPr>
            <a:spLocks noChangeArrowheads="1"/>
          </p:cNvSpPr>
          <p:nvPr/>
        </p:nvSpPr>
        <p:spPr bwMode="auto">
          <a:xfrm>
            <a:off x="3986287" y="3034990"/>
            <a:ext cx="1538287" cy="1538287"/>
          </a:xfrm>
          <a:prstGeom prst="ellipse">
            <a:avLst/>
          </a:prstGeom>
          <a:blipFill>
            <a:blip r:embed="rId9"/>
            <a:stretch>
              <a:fillRect/>
            </a:stretch>
          </a:blipFill>
          <a:ln w="9525">
            <a:solidFill>
              <a:srgbClr val="FFFFFF"/>
            </a:solidFill>
            <a:round/>
            <a:headEnd/>
            <a:tailEnd/>
          </a:ln>
          <a:effectLst>
            <a:outerShdw blurRad="50800" dist="38100" dir="2700000" algn="tl" rotWithShape="0">
              <a:srgbClr val="808080">
                <a:alpha val="39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000" kern="0" dirty="0">
              <a:solidFill>
                <a:sysClr val="window" lastClr="FFFFFF"/>
              </a:solidFill>
              <a:latin typeface="+mj-lt"/>
              <a:ea typeface="ＭＳ Ｐゴシック" pitchFamily="-97" charset="-128"/>
            </a:endParaRPr>
          </a:p>
        </p:txBody>
      </p:sp>
      <p:sp>
        <p:nvSpPr>
          <p:cNvPr id="144" name="Ellipse 21"/>
          <p:cNvSpPr/>
          <p:nvPr/>
        </p:nvSpPr>
        <p:spPr bwMode="auto">
          <a:xfrm flipH="1">
            <a:off x="4168849" y="3088965"/>
            <a:ext cx="1190625" cy="885825"/>
          </a:xfrm>
          <a:prstGeom prst="ellipse">
            <a:avLst/>
          </a:prstGeom>
          <a:gradFill flip="none" rotWithShape="1">
            <a:gsLst>
              <a:gs pos="0">
                <a:srgbClr val="FFFFFF">
                  <a:lumMod val="40000"/>
                  <a:lumOff val="60000"/>
                  <a:alpha val="0"/>
                </a:srgbClr>
              </a:gs>
              <a:gs pos="100000">
                <a:srgbClr val="FFFCF9">
                  <a:alpha val="77000"/>
                </a:srgbClr>
              </a:gs>
            </a:gsLst>
            <a:lin ang="16200000" scaled="0"/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342900" indent="-342900" algn="ctr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da-DK" kern="0" dirty="0">
              <a:solidFill>
                <a:sysClr val="window" lastClr="FFFFFF"/>
              </a:solidFill>
              <a:latin typeface="Calibri"/>
              <a:ea typeface="+mn-ea"/>
            </a:endParaRPr>
          </a:p>
        </p:txBody>
      </p:sp>
      <p:sp>
        <p:nvSpPr>
          <p:cNvPr id="146" name="Rektangel 182"/>
          <p:cNvSpPr>
            <a:spLocks noChangeArrowheads="1"/>
          </p:cNvSpPr>
          <p:nvPr/>
        </p:nvSpPr>
        <p:spPr bwMode="auto">
          <a:xfrm>
            <a:off x="5838453" y="2132856"/>
            <a:ext cx="3342059" cy="89255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 algn="ctr"/>
            <a:r>
              <a:rPr lang="en-US" sz="1300" dirty="0">
                <a:solidFill>
                  <a:srgbClr val="002060"/>
                </a:solidFill>
              </a:rPr>
              <a:t>Only the specialized prosecutors and investigators of Prosecution Service of Georgia are working on the cases of domestic violence </a:t>
            </a:r>
            <a:endParaRPr lang="ka-GE" sz="1300" dirty="0">
              <a:solidFill>
                <a:srgbClr val="002060"/>
              </a:solidFill>
            </a:endParaRPr>
          </a:p>
        </p:txBody>
      </p:sp>
      <p:sp>
        <p:nvSpPr>
          <p:cNvPr id="147" name="Rounded Rectangle 182"/>
          <p:cNvSpPr>
            <a:spLocks noChangeArrowheads="1"/>
          </p:cNvSpPr>
          <p:nvPr/>
        </p:nvSpPr>
        <p:spPr bwMode="auto">
          <a:xfrm>
            <a:off x="6122268" y="4879665"/>
            <a:ext cx="2698203" cy="976312"/>
          </a:xfrm>
          <a:prstGeom prst="roundRect">
            <a:avLst>
              <a:gd name="adj" fmla="val 9370"/>
            </a:avLst>
          </a:prstGeom>
          <a:gradFill>
            <a:gsLst>
              <a:gs pos="95000">
                <a:schemeClr val="accent5">
                  <a:lumMod val="50000"/>
                </a:schemeClr>
              </a:gs>
              <a:gs pos="43000">
                <a:schemeClr val="bg1">
                  <a:lumMod val="95000"/>
                </a:schemeClr>
              </a:gs>
            </a:gsLst>
            <a:lin ang="5400000" scaled="0"/>
          </a:gradFill>
          <a:ln>
            <a:noFill/>
          </a:ln>
        </p:spPr>
        <p:txBody>
          <a:bodyPr anchor="ctr"/>
          <a:lstStyle/>
          <a:p>
            <a:pPr algn="ctr"/>
            <a:endParaRPr lang="ka-GE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48" name="Rektangel 182"/>
          <p:cNvSpPr>
            <a:spLocks noChangeArrowheads="1"/>
          </p:cNvSpPr>
          <p:nvPr/>
        </p:nvSpPr>
        <p:spPr bwMode="auto">
          <a:xfrm>
            <a:off x="6588199" y="5013176"/>
            <a:ext cx="1776413" cy="738664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algn="ctr"/>
            <a:r>
              <a:rPr lang="en-US" sz="1400" dirty="0">
                <a:solidFill>
                  <a:srgbClr val="002060"/>
                </a:solidFill>
              </a:rPr>
              <a:t>To improve the quality of prosecution service</a:t>
            </a:r>
            <a:endParaRPr lang="ka-GE" sz="1400" dirty="0">
              <a:solidFill>
                <a:srgbClr val="002060"/>
              </a:solidFill>
            </a:endParaRPr>
          </a:p>
        </p:txBody>
      </p:sp>
      <p:sp>
        <p:nvSpPr>
          <p:cNvPr id="149" name="Rounded Rectangle 185"/>
          <p:cNvSpPr>
            <a:spLocks noChangeArrowheads="1"/>
          </p:cNvSpPr>
          <p:nvPr/>
        </p:nvSpPr>
        <p:spPr bwMode="auto">
          <a:xfrm>
            <a:off x="539551" y="2017402"/>
            <a:ext cx="2953023" cy="976313"/>
          </a:xfrm>
          <a:prstGeom prst="roundRect">
            <a:avLst>
              <a:gd name="adj" fmla="val 9370"/>
            </a:avLst>
          </a:prstGeom>
          <a:gradFill>
            <a:gsLst>
              <a:gs pos="95000">
                <a:schemeClr val="tx1">
                  <a:lumMod val="60000"/>
                  <a:lumOff val="40000"/>
                </a:schemeClr>
              </a:gs>
              <a:gs pos="43000">
                <a:schemeClr val="bg1">
                  <a:lumMod val="95000"/>
                </a:schemeClr>
              </a:gs>
            </a:gsLst>
            <a:lin ang="5400000" scaled="0"/>
          </a:gradFill>
          <a:ln>
            <a:noFill/>
          </a:ln>
        </p:spPr>
        <p:txBody>
          <a:bodyPr anchor="ctr"/>
          <a:lstStyle/>
          <a:p>
            <a:pPr algn="ctr"/>
            <a:endParaRPr lang="ka-GE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50" name="Rektangel 182"/>
          <p:cNvSpPr>
            <a:spLocks noChangeArrowheads="1"/>
          </p:cNvSpPr>
          <p:nvPr/>
        </p:nvSpPr>
        <p:spPr bwMode="auto">
          <a:xfrm>
            <a:off x="646237" y="2060848"/>
            <a:ext cx="2701627" cy="76944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70C0"/>
                </a:solidFill>
              </a:rPr>
              <a:t>129</a:t>
            </a:r>
          </a:p>
          <a:p>
            <a:pPr algn="ctr"/>
            <a:r>
              <a:rPr lang="en-US" sz="1400" dirty="0">
                <a:solidFill>
                  <a:srgbClr val="002060"/>
                </a:solidFill>
              </a:rPr>
              <a:t>S</a:t>
            </a:r>
            <a:r>
              <a:rPr lang="en-US" sz="1400" dirty="0" smtClean="0">
                <a:solidFill>
                  <a:srgbClr val="002060"/>
                </a:solidFill>
              </a:rPr>
              <a:t>pecialized </a:t>
            </a:r>
            <a:r>
              <a:rPr lang="en-US" sz="1400" dirty="0">
                <a:solidFill>
                  <a:srgbClr val="002060"/>
                </a:solidFill>
              </a:rPr>
              <a:t>prosecutors and investigators </a:t>
            </a:r>
            <a:endParaRPr lang="ka-GE" sz="1400" b="1" dirty="0">
              <a:solidFill>
                <a:srgbClr val="002060"/>
              </a:solidFill>
            </a:endParaRPr>
          </a:p>
        </p:txBody>
      </p:sp>
      <p:sp>
        <p:nvSpPr>
          <p:cNvPr id="151" name="Rounded Rectangle 202"/>
          <p:cNvSpPr>
            <a:spLocks noChangeArrowheads="1"/>
          </p:cNvSpPr>
          <p:nvPr/>
        </p:nvSpPr>
        <p:spPr bwMode="auto">
          <a:xfrm>
            <a:off x="971600" y="4965390"/>
            <a:ext cx="2341587" cy="976312"/>
          </a:xfrm>
          <a:prstGeom prst="roundRect">
            <a:avLst>
              <a:gd name="adj" fmla="val 9370"/>
            </a:avLst>
          </a:prstGeom>
          <a:gradFill>
            <a:gsLst>
              <a:gs pos="71664">
                <a:srgbClr val="A9DDCD"/>
              </a:gs>
              <a:gs pos="5600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75000"/>
                </a:schemeClr>
              </a:gs>
            </a:gsLst>
            <a:lin ang="5400000" scaled="0"/>
          </a:gradFill>
          <a:ln>
            <a:noFill/>
          </a:ln>
        </p:spPr>
        <p:txBody>
          <a:bodyPr anchor="ctr"/>
          <a:lstStyle/>
          <a:p>
            <a:pPr algn="ctr"/>
            <a:endParaRPr lang="ka-GE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52" name="Rektangel 182"/>
          <p:cNvSpPr>
            <a:spLocks noChangeArrowheads="1"/>
          </p:cNvSpPr>
          <p:nvPr/>
        </p:nvSpPr>
        <p:spPr bwMode="auto">
          <a:xfrm>
            <a:off x="1327224" y="5085184"/>
            <a:ext cx="1776413" cy="738664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algn="ctr"/>
            <a:r>
              <a:rPr lang="en-US" sz="1400" dirty="0">
                <a:solidFill>
                  <a:srgbClr val="002060"/>
                </a:solidFill>
              </a:rPr>
              <a:t>To protect the interests of the victims</a:t>
            </a:r>
            <a:endParaRPr lang="ka-GE" sz="1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440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auto">
          <a:xfrm>
            <a:off x="0" y="4431506"/>
            <a:ext cx="9144000" cy="2426494"/>
          </a:xfrm>
          <a:prstGeom prst="rect">
            <a:avLst/>
          </a:prstGeom>
          <a:gradFill>
            <a:gsLst>
              <a:gs pos="24000">
                <a:schemeClr val="tx1">
                  <a:lumMod val="20000"/>
                  <a:lumOff val="80000"/>
                </a:schemeClr>
              </a:gs>
              <a:gs pos="100000">
                <a:schemeClr val="tx2">
                  <a:lumMod val="0"/>
                  <a:lumOff val="100000"/>
                  <a:alpha val="0"/>
                </a:schemeClr>
              </a:gs>
            </a:gsLst>
            <a:lin ang="16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5" name="Oval 14"/>
          <p:cNvSpPr/>
          <p:nvPr/>
        </p:nvSpPr>
        <p:spPr>
          <a:xfrm>
            <a:off x="2267744" y="1270350"/>
            <a:ext cx="5040560" cy="4752528"/>
          </a:xfrm>
          <a:prstGeom prst="ellipse">
            <a:avLst/>
          </a:prstGeom>
          <a:blipFill dpi="0" rotWithShape="1">
            <a:blip r:embed="rId2">
              <a:alphaModFix amt="1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0" y="0"/>
            <a:ext cx="1475656" cy="1268760"/>
            <a:chOff x="0" y="0"/>
            <a:chExt cx="1475656" cy="126876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475656" cy="10527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Oval 11"/>
            <p:cNvSpPr/>
            <p:nvPr/>
          </p:nvSpPr>
          <p:spPr>
            <a:xfrm>
              <a:off x="251520" y="44624"/>
              <a:ext cx="936104" cy="936104"/>
            </a:xfrm>
            <a:prstGeom prst="ellipse">
              <a:avLst/>
            </a:prstGeom>
            <a:blipFill>
              <a:blip r:embed="rId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0" y="1052736"/>
              <a:ext cx="1475656" cy="2160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9" name="Rectangle 5"/>
          <p:cNvSpPr txBox="1">
            <a:spLocks noChangeArrowheads="1"/>
          </p:cNvSpPr>
          <p:nvPr/>
        </p:nvSpPr>
        <p:spPr>
          <a:xfrm>
            <a:off x="6516216" y="6093296"/>
            <a:ext cx="2664296" cy="457200"/>
          </a:xfrm>
          <a:prstGeom prst="rect">
            <a:avLst/>
          </a:prstGeom>
          <a:noFill/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SzPct val="50000"/>
              <a:buFont typeface="Wingdings 2" pitchFamily="18" charset="2"/>
              <a:buChar char="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SzPct val="60000"/>
              <a:buFont typeface="Wingdings 2" pitchFamily="18" charset="2"/>
              <a:buChar char="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b="1" dirty="0" smtClean="0">
                <a:solidFill>
                  <a:schemeClr val="tx1">
                    <a:lumMod val="50000"/>
                  </a:schemeClr>
                </a:solidFill>
              </a:rPr>
              <a:t>www.pog.gov.ge</a:t>
            </a:r>
            <a:endParaRPr lang="en-GB" sz="20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6" name="Rektangel 70"/>
          <p:cNvSpPr/>
          <p:nvPr/>
        </p:nvSpPr>
        <p:spPr>
          <a:xfrm flipV="1">
            <a:off x="0" y="1765300"/>
            <a:ext cx="9169400" cy="37973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  <a:gs pos="37000">
                <a:schemeClr val="bg1"/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da-DK" sz="1800">
              <a:solidFill>
                <a:srgbClr val="FFFFFF"/>
              </a:solidFill>
              <a:latin typeface="Calibri" charset="0"/>
              <a:ea typeface="ＭＳ Ｐゴシック" charset="-128"/>
            </a:endParaRPr>
          </a:p>
        </p:txBody>
      </p:sp>
      <p:sp>
        <p:nvSpPr>
          <p:cNvPr id="17" name="Freeform 16"/>
          <p:cNvSpPr>
            <a:spLocks noChangeArrowheads="1"/>
          </p:cNvSpPr>
          <p:nvPr/>
        </p:nvSpPr>
        <p:spPr bwMode="auto">
          <a:xfrm>
            <a:off x="2424113" y="2274888"/>
            <a:ext cx="3798887" cy="2289175"/>
          </a:xfrm>
          <a:custGeom>
            <a:avLst/>
            <a:gdLst>
              <a:gd name="T0" fmla="*/ 7163 w 2921000"/>
              <a:gd name="T1" fmla="*/ 2371849 h 1760362"/>
              <a:gd name="T2" fmla="*/ 694689 w 2921000"/>
              <a:gd name="T3" fmla="*/ 2106984 h 1760362"/>
              <a:gd name="T4" fmla="*/ 1790432 w 2921000"/>
              <a:gd name="T5" fmla="*/ 1906545 h 1760362"/>
              <a:gd name="T6" fmla="*/ 2198649 w 2921000"/>
              <a:gd name="T7" fmla="*/ 2185728 h 1760362"/>
              <a:gd name="T8" fmla="*/ 2427823 w 2921000"/>
              <a:gd name="T9" fmla="*/ 2421958 h 1760362"/>
              <a:gd name="T10" fmla="*/ 2628353 w 2921000"/>
              <a:gd name="T11" fmla="*/ 2472067 h 1760362"/>
              <a:gd name="T12" fmla="*/ 3244259 w 2921000"/>
              <a:gd name="T13" fmla="*/ 2744091 h 1760362"/>
              <a:gd name="T14" fmla="*/ 3466273 w 2921000"/>
              <a:gd name="T15" fmla="*/ 2973162 h 1760362"/>
              <a:gd name="T16" fmla="*/ 3545051 w 2921000"/>
              <a:gd name="T17" fmla="*/ 2722615 h 1760362"/>
              <a:gd name="T18" fmla="*/ 3387494 w 2921000"/>
              <a:gd name="T19" fmla="*/ 2457751 h 1760362"/>
              <a:gd name="T20" fmla="*/ 2972115 w 2921000"/>
              <a:gd name="T21" fmla="*/ 2178569 h 1760362"/>
              <a:gd name="T22" fmla="*/ 3015086 w 2921000"/>
              <a:gd name="T23" fmla="*/ 1963815 h 1760362"/>
              <a:gd name="T24" fmla="*/ 3315877 w 2921000"/>
              <a:gd name="T25" fmla="*/ 1799169 h 1760362"/>
              <a:gd name="T26" fmla="*/ 3623830 w 2921000"/>
              <a:gd name="T27" fmla="*/ 1706108 h 1760362"/>
              <a:gd name="T28" fmla="*/ 4110829 w 2921000"/>
              <a:gd name="T29" fmla="*/ 1584414 h 1760362"/>
              <a:gd name="T30" fmla="*/ 4318516 w 2921000"/>
              <a:gd name="T31" fmla="*/ 1534306 h 1760362"/>
              <a:gd name="T32" fmla="*/ 4612148 w 2921000"/>
              <a:gd name="T33" fmla="*/ 1455561 h 1760362"/>
              <a:gd name="T34" fmla="*/ 4712412 w 2921000"/>
              <a:gd name="T35" fmla="*/ 1319550 h 1760362"/>
              <a:gd name="T36" fmla="*/ 4662280 w 2921000"/>
              <a:gd name="T37" fmla="*/ 1212173 h 1760362"/>
              <a:gd name="T38" fmla="*/ 4497561 w 2921000"/>
              <a:gd name="T39" fmla="*/ 1205013 h 1760362"/>
              <a:gd name="T40" fmla="*/ 3552214 w 2921000"/>
              <a:gd name="T41" fmla="*/ 1333867 h 1760362"/>
              <a:gd name="T42" fmla="*/ 3580860 w 2921000"/>
              <a:gd name="T43" fmla="*/ 1255124 h 1760362"/>
              <a:gd name="T44" fmla="*/ 4225414 w 2921000"/>
              <a:gd name="T45" fmla="*/ 1097635 h 1760362"/>
              <a:gd name="T46" fmla="*/ 4476076 w 2921000"/>
              <a:gd name="T47" fmla="*/ 1018893 h 1760362"/>
              <a:gd name="T48" fmla="*/ 4877131 w 2921000"/>
              <a:gd name="T49" fmla="*/ 925833 h 1760362"/>
              <a:gd name="T50" fmla="*/ 4855646 w 2921000"/>
              <a:gd name="T51" fmla="*/ 725396 h 1760362"/>
              <a:gd name="T52" fmla="*/ 4361488 w 2921000"/>
              <a:gd name="T53" fmla="*/ 782663 h 1760362"/>
              <a:gd name="T54" fmla="*/ 3996239 w 2921000"/>
              <a:gd name="T55" fmla="*/ 804139 h 1760362"/>
              <a:gd name="T56" fmla="*/ 3487758 w 2921000"/>
              <a:gd name="T57" fmla="*/ 904357 h 1760362"/>
              <a:gd name="T58" fmla="*/ 3530728 w 2921000"/>
              <a:gd name="T59" fmla="*/ 789820 h 1760362"/>
              <a:gd name="T60" fmla="*/ 3867328 w 2921000"/>
              <a:gd name="T61" fmla="*/ 668126 h 1760362"/>
              <a:gd name="T62" fmla="*/ 4203930 w 2921000"/>
              <a:gd name="T63" fmla="*/ 596542 h 1760362"/>
              <a:gd name="T64" fmla="*/ 4533369 w 2921000"/>
              <a:gd name="T65" fmla="*/ 503481 h 1760362"/>
              <a:gd name="T66" fmla="*/ 4547692 w 2921000"/>
              <a:gd name="T67" fmla="*/ 338835 h 1760362"/>
              <a:gd name="T68" fmla="*/ 4211090 w 2921000"/>
              <a:gd name="T69" fmla="*/ 331677 h 1760362"/>
              <a:gd name="T70" fmla="*/ 3867328 w 2921000"/>
              <a:gd name="T71" fmla="*/ 367470 h 1760362"/>
              <a:gd name="T72" fmla="*/ 3237097 w 2921000"/>
              <a:gd name="T73" fmla="*/ 560748 h 1760362"/>
              <a:gd name="T74" fmla="*/ 3265745 w 2921000"/>
              <a:gd name="T75" fmla="*/ 467689 h 1760362"/>
              <a:gd name="T76" fmla="*/ 3688286 w 2921000"/>
              <a:gd name="T77" fmla="*/ 295885 h 1760362"/>
              <a:gd name="T78" fmla="*/ 3996239 w 2921000"/>
              <a:gd name="T79" fmla="*/ 188507 h 1760362"/>
              <a:gd name="T80" fmla="*/ 3960431 w 2921000"/>
              <a:gd name="T81" fmla="*/ 16704 h 1760362"/>
              <a:gd name="T82" fmla="*/ 3373170 w 2921000"/>
              <a:gd name="T83" fmla="*/ 88288 h 1760362"/>
              <a:gd name="T84" fmla="*/ 2921981 w 2921000"/>
              <a:gd name="T85" fmla="*/ 281567 h 1760362"/>
              <a:gd name="T86" fmla="*/ 2449308 w 2921000"/>
              <a:gd name="T87" fmla="*/ 388944 h 1760362"/>
              <a:gd name="T88" fmla="*/ 1803613 w 2921000"/>
              <a:gd name="T89" fmla="*/ 654950 h 1760362"/>
              <a:gd name="T90" fmla="*/ 1453831 w 2921000"/>
              <a:gd name="T91" fmla="*/ 890039 h 1760362"/>
              <a:gd name="T92" fmla="*/ 7163 w 2921000"/>
              <a:gd name="T93" fmla="*/ 968784 h 1760362"/>
              <a:gd name="T94" fmla="*/ 7163 w 2921000"/>
              <a:gd name="T95" fmla="*/ 2371849 h 1760362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2921000"/>
              <a:gd name="T145" fmla="*/ 0 h 1760362"/>
              <a:gd name="T146" fmla="*/ 2921000 w 2921000"/>
              <a:gd name="T147" fmla="*/ 1760362 h 1760362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2921000" h="1760362">
                <a:moveTo>
                  <a:pt x="4234" y="1402645"/>
                </a:moveTo>
                <a:cubicBezTo>
                  <a:pt x="313267" y="1273528"/>
                  <a:pt x="234951" y="1291872"/>
                  <a:pt x="410634" y="1246011"/>
                </a:cubicBezTo>
                <a:cubicBezTo>
                  <a:pt x="586317" y="1200150"/>
                  <a:pt x="910167" y="1119717"/>
                  <a:pt x="1058334" y="1127478"/>
                </a:cubicBezTo>
                <a:cubicBezTo>
                  <a:pt x="1206501" y="1135239"/>
                  <a:pt x="1236840" y="1241778"/>
                  <a:pt x="1299634" y="1292578"/>
                </a:cubicBezTo>
                <a:cubicBezTo>
                  <a:pt x="1362428" y="1343378"/>
                  <a:pt x="1392767" y="1404056"/>
                  <a:pt x="1435100" y="1432278"/>
                </a:cubicBezTo>
                <a:cubicBezTo>
                  <a:pt x="1477433" y="1460500"/>
                  <a:pt x="1473201" y="1430161"/>
                  <a:pt x="1553634" y="1461911"/>
                </a:cubicBezTo>
                <a:cubicBezTo>
                  <a:pt x="1634067" y="1493661"/>
                  <a:pt x="1835150" y="1573389"/>
                  <a:pt x="1917700" y="1622778"/>
                </a:cubicBezTo>
                <a:cubicBezTo>
                  <a:pt x="2000250" y="1672167"/>
                  <a:pt x="2019301" y="1760362"/>
                  <a:pt x="2048934" y="1758245"/>
                </a:cubicBezTo>
                <a:cubicBezTo>
                  <a:pt x="2078567" y="1756128"/>
                  <a:pt x="2103261" y="1660878"/>
                  <a:pt x="2095500" y="1610078"/>
                </a:cubicBezTo>
                <a:cubicBezTo>
                  <a:pt x="2087739" y="1559278"/>
                  <a:pt x="2058811" y="1507067"/>
                  <a:pt x="2002367" y="1453445"/>
                </a:cubicBezTo>
                <a:cubicBezTo>
                  <a:pt x="1945923" y="1399823"/>
                  <a:pt x="1793523" y="1337028"/>
                  <a:pt x="1756834" y="1288345"/>
                </a:cubicBezTo>
                <a:cubicBezTo>
                  <a:pt x="1720145" y="1239662"/>
                  <a:pt x="1748367" y="1198740"/>
                  <a:pt x="1782234" y="1161345"/>
                </a:cubicBezTo>
                <a:cubicBezTo>
                  <a:pt x="1816101" y="1123951"/>
                  <a:pt x="1900062" y="1089378"/>
                  <a:pt x="1960034" y="1063978"/>
                </a:cubicBezTo>
                <a:cubicBezTo>
                  <a:pt x="2020006" y="1038578"/>
                  <a:pt x="2063750" y="1030112"/>
                  <a:pt x="2142067" y="1008945"/>
                </a:cubicBezTo>
                <a:cubicBezTo>
                  <a:pt x="2220384" y="987778"/>
                  <a:pt x="2429934" y="936978"/>
                  <a:pt x="2429934" y="936978"/>
                </a:cubicBezTo>
                <a:cubicBezTo>
                  <a:pt x="2498373" y="920045"/>
                  <a:pt x="2503311" y="920045"/>
                  <a:pt x="2552700" y="907345"/>
                </a:cubicBezTo>
                <a:cubicBezTo>
                  <a:pt x="2602089" y="894645"/>
                  <a:pt x="2687461" y="881945"/>
                  <a:pt x="2726267" y="860778"/>
                </a:cubicBezTo>
                <a:cubicBezTo>
                  <a:pt x="2765073" y="839611"/>
                  <a:pt x="2780595" y="804334"/>
                  <a:pt x="2785534" y="780345"/>
                </a:cubicBezTo>
                <a:cubicBezTo>
                  <a:pt x="2790473" y="756356"/>
                  <a:pt x="2777067" y="728134"/>
                  <a:pt x="2755900" y="716845"/>
                </a:cubicBezTo>
                <a:cubicBezTo>
                  <a:pt x="2734733" y="705556"/>
                  <a:pt x="2767895" y="700617"/>
                  <a:pt x="2658534" y="712611"/>
                </a:cubicBezTo>
                <a:cubicBezTo>
                  <a:pt x="2549173" y="724605"/>
                  <a:pt x="2190045" y="783872"/>
                  <a:pt x="2099734" y="788811"/>
                </a:cubicBezTo>
                <a:cubicBezTo>
                  <a:pt x="2009423" y="793750"/>
                  <a:pt x="2050345" y="765528"/>
                  <a:pt x="2116667" y="742245"/>
                </a:cubicBezTo>
                <a:cubicBezTo>
                  <a:pt x="2182989" y="718962"/>
                  <a:pt x="2409473" y="672394"/>
                  <a:pt x="2497667" y="649111"/>
                </a:cubicBezTo>
                <a:cubicBezTo>
                  <a:pt x="2585861" y="625828"/>
                  <a:pt x="2581629" y="619478"/>
                  <a:pt x="2645834" y="602545"/>
                </a:cubicBezTo>
                <a:cubicBezTo>
                  <a:pt x="2710039" y="585612"/>
                  <a:pt x="2845506" y="576439"/>
                  <a:pt x="2882900" y="547511"/>
                </a:cubicBezTo>
                <a:cubicBezTo>
                  <a:pt x="2920294" y="518583"/>
                  <a:pt x="2921000" y="443089"/>
                  <a:pt x="2870200" y="428978"/>
                </a:cubicBezTo>
                <a:cubicBezTo>
                  <a:pt x="2819400" y="414867"/>
                  <a:pt x="2662767" y="455084"/>
                  <a:pt x="2578100" y="462845"/>
                </a:cubicBezTo>
                <a:cubicBezTo>
                  <a:pt x="2493433" y="470606"/>
                  <a:pt x="2448278" y="463551"/>
                  <a:pt x="2362200" y="475545"/>
                </a:cubicBezTo>
                <a:cubicBezTo>
                  <a:pt x="2276122" y="487539"/>
                  <a:pt x="2107495" y="536222"/>
                  <a:pt x="2061634" y="534811"/>
                </a:cubicBezTo>
                <a:cubicBezTo>
                  <a:pt x="2015773" y="533400"/>
                  <a:pt x="2049640" y="490361"/>
                  <a:pt x="2087034" y="467078"/>
                </a:cubicBezTo>
                <a:cubicBezTo>
                  <a:pt x="2124428" y="443795"/>
                  <a:pt x="2219678" y="414161"/>
                  <a:pt x="2286000" y="395111"/>
                </a:cubicBezTo>
                <a:cubicBezTo>
                  <a:pt x="2352322" y="376061"/>
                  <a:pt x="2419350" y="369006"/>
                  <a:pt x="2484967" y="352778"/>
                </a:cubicBezTo>
                <a:cubicBezTo>
                  <a:pt x="2550584" y="336550"/>
                  <a:pt x="2645833" y="323145"/>
                  <a:pt x="2679700" y="297745"/>
                </a:cubicBezTo>
                <a:cubicBezTo>
                  <a:pt x="2713567" y="272345"/>
                  <a:pt x="2719917" y="217311"/>
                  <a:pt x="2688167" y="200378"/>
                </a:cubicBezTo>
                <a:cubicBezTo>
                  <a:pt x="2656417" y="183445"/>
                  <a:pt x="2556228" y="193323"/>
                  <a:pt x="2489200" y="196145"/>
                </a:cubicBezTo>
                <a:cubicBezTo>
                  <a:pt x="2422172" y="198967"/>
                  <a:pt x="2381956" y="194733"/>
                  <a:pt x="2286000" y="217311"/>
                </a:cubicBezTo>
                <a:cubicBezTo>
                  <a:pt x="2190045" y="239889"/>
                  <a:pt x="1972734" y="321733"/>
                  <a:pt x="1913467" y="331611"/>
                </a:cubicBezTo>
                <a:cubicBezTo>
                  <a:pt x="1854200" y="341489"/>
                  <a:pt x="1885950" y="302684"/>
                  <a:pt x="1930400" y="276578"/>
                </a:cubicBezTo>
                <a:cubicBezTo>
                  <a:pt x="1974850" y="250473"/>
                  <a:pt x="2108200" y="202495"/>
                  <a:pt x="2180167" y="174978"/>
                </a:cubicBezTo>
                <a:cubicBezTo>
                  <a:pt x="2252134" y="147461"/>
                  <a:pt x="2335389" y="138995"/>
                  <a:pt x="2362200" y="111478"/>
                </a:cubicBezTo>
                <a:cubicBezTo>
                  <a:pt x="2389011" y="83961"/>
                  <a:pt x="2402417" y="19756"/>
                  <a:pt x="2341034" y="9878"/>
                </a:cubicBezTo>
                <a:cubicBezTo>
                  <a:pt x="2279651" y="0"/>
                  <a:pt x="2096206" y="26106"/>
                  <a:pt x="1993900" y="52211"/>
                </a:cubicBezTo>
                <a:cubicBezTo>
                  <a:pt x="1891594" y="78317"/>
                  <a:pt x="1818217" y="136878"/>
                  <a:pt x="1727200" y="166511"/>
                </a:cubicBezTo>
                <a:cubicBezTo>
                  <a:pt x="1636183" y="196144"/>
                  <a:pt x="1557979" y="193210"/>
                  <a:pt x="1447800" y="230011"/>
                </a:cubicBezTo>
                <a:cubicBezTo>
                  <a:pt x="1337621" y="266812"/>
                  <a:pt x="1164198" y="337930"/>
                  <a:pt x="1066126" y="387319"/>
                </a:cubicBezTo>
                <a:cubicBezTo>
                  <a:pt x="968054" y="436708"/>
                  <a:pt x="1036349" y="495413"/>
                  <a:pt x="859367" y="526345"/>
                </a:cubicBezTo>
                <a:cubicBezTo>
                  <a:pt x="682385" y="557277"/>
                  <a:pt x="158751" y="508000"/>
                  <a:pt x="4234" y="572911"/>
                </a:cubicBezTo>
                <a:cubicBezTo>
                  <a:pt x="8467" y="798688"/>
                  <a:pt x="0" y="1226962"/>
                  <a:pt x="4234" y="1402645"/>
                </a:cubicBezTo>
                <a:close/>
              </a:path>
            </a:pathLst>
          </a:custGeom>
          <a:solidFill>
            <a:srgbClr val="376092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n-US">
              <a:latin typeface="Arial" charset="0"/>
              <a:ea typeface="ＭＳ Ｐゴシック" charset="-128"/>
            </a:endParaRPr>
          </a:p>
        </p:txBody>
      </p:sp>
      <p:sp>
        <p:nvSpPr>
          <p:cNvPr id="18" name="Freeform 17"/>
          <p:cNvSpPr>
            <a:spLocks noChangeArrowheads="1"/>
          </p:cNvSpPr>
          <p:nvPr/>
        </p:nvSpPr>
        <p:spPr bwMode="auto">
          <a:xfrm rot="18588937">
            <a:off x="2752725" y="4059238"/>
            <a:ext cx="4727575" cy="2289175"/>
          </a:xfrm>
          <a:custGeom>
            <a:avLst/>
            <a:gdLst>
              <a:gd name="T0" fmla="*/ 1085030 w 3634808"/>
              <a:gd name="T1" fmla="*/ 2472759 h 1760362"/>
              <a:gd name="T2" fmla="*/ 1902465 w 3634808"/>
              <a:gd name="T3" fmla="*/ 2107235 h 1760362"/>
              <a:gd name="T4" fmla="*/ 2998319 w 3634808"/>
              <a:gd name="T5" fmla="*/ 1906774 h 1760362"/>
              <a:gd name="T6" fmla="*/ 3414599 w 3634808"/>
              <a:gd name="T7" fmla="*/ 2219787 h 1760362"/>
              <a:gd name="T8" fmla="*/ 3635777 w 3634808"/>
              <a:gd name="T9" fmla="*/ 2422248 h 1760362"/>
              <a:gd name="T10" fmla="*/ 3836327 w 3634808"/>
              <a:gd name="T11" fmla="*/ 2472361 h 1760362"/>
              <a:gd name="T12" fmla="*/ 4452297 w 3634808"/>
              <a:gd name="T13" fmla="*/ 2744418 h 1760362"/>
              <a:gd name="T14" fmla="*/ 4674335 w 3634808"/>
              <a:gd name="T15" fmla="*/ 2973517 h 1760362"/>
              <a:gd name="T16" fmla="*/ 4753121 w 3634808"/>
              <a:gd name="T17" fmla="*/ 2722939 h 1760362"/>
              <a:gd name="T18" fmla="*/ 4595547 w 3634808"/>
              <a:gd name="T19" fmla="*/ 2458045 h 1760362"/>
              <a:gd name="T20" fmla="*/ 4180124 w 3634808"/>
              <a:gd name="T21" fmla="*/ 2178831 h 1760362"/>
              <a:gd name="T22" fmla="*/ 4223099 w 3634808"/>
              <a:gd name="T23" fmla="*/ 1964050 h 1760362"/>
              <a:gd name="T24" fmla="*/ 4523922 w 3634808"/>
              <a:gd name="T25" fmla="*/ 1799383 h 1760362"/>
              <a:gd name="T26" fmla="*/ 4831908 w 3634808"/>
              <a:gd name="T27" fmla="*/ 1706314 h 1760362"/>
              <a:gd name="T28" fmla="*/ 5318955 w 3634808"/>
              <a:gd name="T29" fmla="*/ 1584603 h 1760362"/>
              <a:gd name="T30" fmla="*/ 5526663 w 3634808"/>
              <a:gd name="T31" fmla="*/ 1534488 h 1760362"/>
              <a:gd name="T32" fmla="*/ 5820327 w 3634808"/>
              <a:gd name="T33" fmla="*/ 1455736 h 1760362"/>
              <a:gd name="T34" fmla="*/ 5920601 w 3634808"/>
              <a:gd name="T35" fmla="*/ 1319707 h 1760362"/>
              <a:gd name="T36" fmla="*/ 5870463 w 3634808"/>
              <a:gd name="T37" fmla="*/ 1212316 h 1760362"/>
              <a:gd name="T38" fmla="*/ 5705726 w 3634808"/>
              <a:gd name="T39" fmla="*/ 1205156 h 1760362"/>
              <a:gd name="T40" fmla="*/ 4760282 w 3634808"/>
              <a:gd name="T41" fmla="*/ 1334026 h 1760362"/>
              <a:gd name="T42" fmla="*/ 4788933 w 3634808"/>
              <a:gd name="T43" fmla="*/ 1255274 h 1760362"/>
              <a:gd name="T44" fmla="*/ 5433553 w 3634808"/>
              <a:gd name="T45" fmla="*/ 1097767 h 1760362"/>
              <a:gd name="T46" fmla="*/ 5684241 w 3634808"/>
              <a:gd name="T47" fmla="*/ 1019016 h 1760362"/>
              <a:gd name="T48" fmla="*/ 6085336 w 3634808"/>
              <a:gd name="T49" fmla="*/ 925942 h 1760362"/>
              <a:gd name="T50" fmla="*/ 6063848 w 3634808"/>
              <a:gd name="T51" fmla="*/ 725482 h 1760362"/>
              <a:gd name="T52" fmla="*/ 5569639 w 3634808"/>
              <a:gd name="T53" fmla="*/ 782756 h 1760362"/>
              <a:gd name="T54" fmla="*/ 5204354 w 3634808"/>
              <a:gd name="T55" fmla="*/ 804235 h 1760362"/>
              <a:gd name="T56" fmla="*/ 4695820 w 3634808"/>
              <a:gd name="T57" fmla="*/ 904465 h 1760362"/>
              <a:gd name="T58" fmla="*/ 4738796 w 3634808"/>
              <a:gd name="T59" fmla="*/ 789915 h 1760362"/>
              <a:gd name="T60" fmla="*/ 5075430 w 3634808"/>
              <a:gd name="T61" fmla="*/ 668205 h 1760362"/>
              <a:gd name="T62" fmla="*/ 5412065 w 3634808"/>
              <a:gd name="T63" fmla="*/ 596612 h 1760362"/>
              <a:gd name="T64" fmla="*/ 5741539 w 3634808"/>
              <a:gd name="T65" fmla="*/ 503542 h 1760362"/>
              <a:gd name="T66" fmla="*/ 5755863 w 3634808"/>
              <a:gd name="T67" fmla="*/ 338876 h 1760362"/>
              <a:gd name="T68" fmla="*/ 5419228 w 3634808"/>
              <a:gd name="T69" fmla="*/ 331718 h 1760362"/>
              <a:gd name="T70" fmla="*/ 5075430 w 3634808"/>
              <a:gd name="T71" fmla="*/ 367514 h 1760362"/>
              <a:gd name="T72" fmla="*/ 4445135 w 3634808"/>
              <a:gd name="T73" fmla="*/ 560814 h 1760362"/>
              <a:gd name="T74" fmla="*/ 4473784 w 3634808"/>
              <a:gd name="T75" fmla="*/ 467745 h 1760362"/>
              <a:gd name="T76" fmla="*/ 4896368 w 3634808"/>
              <a:gd name="T77" fmla="*/ 295920 h 1760362"/>
              <a:gd name="T78" fmla="*/ 5204354 w 3634808"/>
              <a:gd name="T79" fmla="*/ 188531 h 1760362"/>
              <a:gd name="T80" fmla="*/ 5168544 w 3634808"/>
              <a:gd name="T81" fmla="*/ 16706 h 1760362"/>
              <a:gd name="T82" fmla="*/ 4581221 w 3634808"/>
              <a:gd name="T83" fmla="*/ 88297 h 1760362"/>
              <a:gd name="T84" fmla="*/ 4129986 w 3634808"/>
              <a:gd name="T85" fmla="*/ 281600 h 1760362"/>
              <a:gd name="T86" fmla="*/ 3657264 w 3634808"/>
              <a:gd name="T87" fmla="*/ 388991 h 1760362"/>
              <a:gd name="T88" fmla="*/ 3229818 w 3634808"/>
              <a:gd name="T89" fmla="*/ 570558 h 1760362"/>
              <a:gd name="T90" fmla="*/ 2661683 w 3634808"/>
              <a:gd name="T91" fmla="*/ 890146 h 1760362"/>
              <a:gd name="T92" fmla="*/ 0 w 3634808"/>
              <a:gd name="T93" fmla="*/ 1119076 h 1760362"/>
              <a:gd name="T94" fmla="*/ 1085030 w 3634808"/>
              <a:gd name="T95" fmla="*/ 2472759 h 1760362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3634808"/>
              <a:gd name="T145" fmla="*/ 0 h 1760362"/>
              <a:gd name="T146" fmla="*/ 3634808 w 3634808"/>
              <a:gd name="T147" fmla="*/ 1760362 h 1760362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3634808" h="1760362">
                <a:moveTo>
                  <a:pt x="641301" y="1462146"/>
                </a:moveTo>
                <a:cubicBezTo>
                  <a:pt x="891150" y="1323036"/>
                  <a:pt x="935968" y="1301789"/>
                  <a:pt x="1124442" y="1246011"/>
                </a:cubicBezTo>
                <a:cubicBezTo>
                  <a:pt x="1312916" y="1190233"/>
                  <a:pt x="1623185" y="1116386"/>
                  <a:pt x="1772142" y="1127478"/>
                </a:cubicBezTo>
                <a:cubicBezTo>
                  <a:pt x="1921099" y="1138570"/>
                  <a:pt x="1919923" y="1193800"/>
                  <a:pt x="2018182" y="1312563"/>
                </a:cubicBezTo>
                <a:cubicBezTo>
                  <a:pt x="2107211" y="1405003"/>
                  <a:pt x="2107365" y="1407387"/>
                  <a:pt x="2148908" y="1432278"/>
                </a:cubicBezTo>
                <a:cubicBezTo>
                  <a:pt x="2190451" y="1457169"/>
                  <a:pt x="2187009" y="1430161"/>
                  <a:pt x="2267442" y="1461911"/>
                </a:cubicBezTo>
                <a:cubicBezTo>
                  <a:pt x="2347875" y="1493661"/>
                  <a:pt x="2548958" y="1573389"/>
                  <a:pt x="2631508" y="1622778"/>
                </a:cubicBezTo>
                <a:cubicBezTo>
                  <a:pt x="2714058" y="1672167"/>
                  <a:pt x="2733109" y="1760362"/>
                  <a:pt x="2762742" y="1758245"/>
                </a:cubicBezTo>
                <a:cubicBezTo>
                  <a:pt x="2792375" y="1756128"/>
                  <a:pt x="2817069" y="1660878"/>
                  <a:pt x="2809308" y="1610078"/>
                </a:cubicBezTo>
                <a:cubicBezTo>
                  <a:pt x="2801547" y="1559278"/>
                  <a:pt x="2772619" y="1507067"/>
                  <a:pt x="2716175" y="1453445"/>
                </a:cubicBezTo>
                <a:cubicBezTo>
                  <a:pt x="2659731" y="1399823"/>
                  <a:pt x="2507331" y="1337028"/>
                  <a:pt x="2470642" y="1288345"/>
                </a:cubicBezTo>
                <a:cubicBezTo>
                  <a:pt x="2433953" y="1239662"/>
                  <a:pt x="2462175" y="1198740"/>
                  <a:pt x="2496042" y="1161345"/>
                </a:cubicBezTo>
                <a:cubicBezTo>
                  <a:pt x="2529909" y="1123951"/>
                  <a:pt x="2613870" y="1089378"/>
                  <a:pt x="2673842" y="1063978"/>
                </a:cubicBezTo>
                <a:cubicBezTo>
                  <a:pt x="2733814" y="1038578"/>
                  <a:pt x="2777558" y="1030112"/>
                  <a:pt x="2855875" y="1008945"/>
                </a:cubicBezTo>
                <a:cubicBezTo>
                  <a:pt x="2934192" y="987778"/>
                  <a:pt x="3143742" y="936978"/>
                  <a:pt x="3143742" y="936978"/>
                </a:cubicBezTo>
                <a:cubicBezTo>
                  <a:pt x="3212181" y="920045"/>
                  <a:pt x="3217119" y="920045"/>
                  <a:pt x="3266508" y="907345"/>
                </a:cubicBezTo>
                <a:cubicBezTo>
                  <a:pt x="3315897" y="894645"/>
                  <a:pt x="3401269" y="881945"/>
                  <a:pt x="3440075" y="860778"/>
                </a:cubicBezTo>
                <a:cubicBezTo>
                  <a:pt x="3478881" y="839611"/>
                  <a:pt x="3494403" y="804334"/>
                  <a:pt x="3499342" y="780345"/>
                </a:cubicBezTo>
                <a:cubicBezTo>
                  <a:pt x="3504281" y="756356"/>
                  <a:pt x="3490875" y="728134"/>
                  <a:pt x="3469708" y="716845"/>
                </a:cubicBezTo>
                <a:cubicBezTo>
                  <a:pt x="3448541" y="705556"/>
                  <a:pt x="3481703" y="700617"/>
                  <a:pt x="3372342" y="712611"/>
                </a:cubicBezTo>
                <a:cubicBezTo>
                  <a:pt x="3262981" y="724605"/>
                  <a:pt x="2903853" y="783872"/>
                  <a:pt x="2813542" y="788811"/>
                </a:cubicBezTo>
                <a:cubicBezTo>
                  <a:pt x="2723231" y="793750"/>
                  <a:pt x="2764153" y="765528"/>
                  <a:pt x="2830475" y="742245"/>
                </a:cubicBezTo>
                <a:cubicBezTo>
                  <a:pt x="2896797" y="718962"/>
                  <a:pt x="3123281" y="672394"/>
                  <a:pt x="3211475" y="649111"/>
                </a:cubicBezTo>
                <a:cubicBezTo>
                  <a:pt x="3299669" y="625828"/>
                  <a:pt x="3295437" y="619478"/>
                  <a:pt x="3359642" y="602545"/>
                </a:cubicBezTo>
                <a:cubicBezTo>
                  <a:pt x="3423847" y="585612"/>
                  <a:pt x="3559314" y="576439"/>
                  <a:pt x="3596708" y="547511"/>
                </a:cubicBezTo>
                <a:cubicBezTo>
                  <a:pt x="3634102" y="518583"/>
                  <a:pt x="3634808" y="443089"/>
                  <a:pt x="3584008" y="428978"/>
                </a:cubicBezTo>
                <a:cubicBezTo>
                  <a:pt x="3533208" y="414867"/>
                  <a:pt x="3376575" y="455084"/>
                  <a:pt x="3291908" y="462845"/>
                </a:cubicBezTo>
                <a:cubicBezTo>
                  <a:pt x="3207241" y="470606"/>
                  <a:pt x="3162086" y="463551"/>
                  <a:pt x="3076008" y="475545"/>
                </a:cubicBezTo>
                <a:cubicBezTo>
                  <a:pt x="2989930" y="487539"/>
                  <a:pt x="2821303" y="536222"/>
                  <a:pt x="2775442" y="534811"/>
                </a:cubicBezTo>
                <a:cubicBezTo>
                  <a:pt x="2729581" y="533400"/>
                  <a:pt x="2763448" y="490361"/>
                  <a:pt x="2800842" y="467078"/>
                </a:cubicBezTo>
                <a:cubicBezTo>
                  <a:pt x="2838236" y="443795"/>
                  <a:pt x="2933486" y="414161"/>
                  <a:pt x="2999808" y="395111"/>
                </a:cubicBezTo>
                <a:cubicBezTo>
                  <a:pt x="3066130" y="376061"/>
                  <a:pt x="3133158" y="369006"/>
                  <a:pt x="3198775" y="352778"/>
                </a:cubicBezTo>
                <a:cubicBezTo>
                  <a:pt x="3264392" y="336550"/>
                  <a:pt x="3359641" y="323145"/>
                  <a:pt x="3393508" y="297745"/>
                </a:cubicBezTo>
                <a:cubicBezTo>
                  <a:pt x="3427375" y="272345"/>
                  <a:pt x="3433725" y="217311"/>
                  <a:pt x="3401975" y="200378"/>
                </a:cubicBezTo>
                <a:cubicBezTo>
                  <a:pt x="3370225" y="183445"/>
                  <a:pt x="3270036" y="193323"/>
                  <a:pt x="3203008" y="196145"/>
                </a:cubicBezTo>
                <a:cubicBezTo>
                  <a:pt x="3135980" y="198967"/>
                  <a:pt x="3095764" y="194733"/>
                  <a:pt x="2999808" y="217311"/>
                </a:cubicBezTo>
                <a:cubicBezTo>
                  <a:pt x="2903853" y="239889"/>
                  <a:pt x="2686542" y="321733"/>
                  <a:pt x="2627275" y="331611"/>
                </a:cubicBezTo>
                <a:cubicBezTo>
                  <a:pt x="2568008" y="341489"/>
                  <a:pt x="2599758" y="302684"/>
                  <a:pt x="2644208" y="276578"/>
                </a:cubicBezTo>
                <a:cubicBezTo>
                  <a:pt x="2688658" y="250473"/>
                  <a:pt x="2822008" y="202495"/>
                  <a:pt x="2893975" y="174978"/>
                </a:cubicBezTo>
                <a:cubicBezTo>
                  <a:pt x="2965942" y="147461"/>
                  <a:pt x="3049197" y="138995"/>
                  <a:pt x="3076008" y="111478"/>
                </a:cubicBezTo>
                <a:cubicBezTo>
                  <a:pt x="3102819" y="83961"/>
                  <a:pt x="3116225" y="19756"/>
                  <a:pt x="3054842" y="9878"/>
                </a:cubicBezTo>
                <a:cubicBezTo>
                  <a:pt x="2993459" y="0"/>
                  <a:pt x="2810014" y="26106"/>
                  <a:pt x="2707708" y="52211"/>
                </a:cubicBezTo>
                <a:cubicBezTo>
                  <a:pt x="2605402" y="78317"/>
                  <a:pt x="2532025" y="136878"/>
                  <a:pt x="2441008" y="166511"/>
                </a:cubicBezTo>
                <a:cubicBezTo>
                  <a:pt x="2349991" y="196144"/>
                  <a:pt x="2250281" y="201534"/>
                  <a:pt x="2161608" y="230011"/>
                </a:cubicBezTo>
                <a:cubicBezTo>
                  <a:pt x="2072935" y="258488"/>
                  <a:pt x="2007040" y="287983"/>
                  <a:pt x="1908968" y="337372"/>
                </a:cubicBezTo>
                <a:cubicBezTo>
                  <a:pt x="1715605" y="432964"/>
                  <a:pt x="1891336" y="472289"/>
                  <a:pt x="1573175" y="526345"/>
                </a:cubicBezTo>
                <a:cubicBezTo>
                  <a:pt x="1255014" y="580401"/>
                  <a:pt x="154517" y="596800"/>
                  <a:pt x="0" y="661711"/>
                </a:cubicBezTo>
                <a:cubicBezTo>
                  <a:pt x="145515" y="858706"/>
                  <a:pt x="445723" y="1201813"/>
                  <a:pt x="641301" y="1462146"/>
                </a:cubicBezTo>
                <a:close/>
              </a:path>
            </a:pathLst>
          </a:custGeom>
          <a:solidFill>
            <a:srgbClr val="558ED5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n-US">
              <a:latin typeface="Arial" charset="0"/>
              <a:ea typeface="ＭＳ Ｐゴシック" charset="-128"/>
            </a:endParaRPr>
          </a:p>
        </p:txBody>
      </p:sp>
      <p:sp>
        <p:nvSpPr>
          <p:cNvPr id="19" name="Freeform 18"/>
          <p:cNvSpPr>
            <a:spLocks noChangeArrowheads="1"/>
          </p:cNvSpPr>
          <p:nvPr/>
        </p:nvSpPr>
        <p:spPr bwMode="auto">
          <a:xfrm rot="14031643">
            <a:off x="5309394" y="3766344"/>
            <a:ext cx="5256213" cy="2289175"/>
          </a:xfrm>
          <a:custGeom>
            <a:avLst/>
            <a:gdLst>
              <a:gd name="T0" fmla="*/ 1902624 w 4041551"/>
              <a:gd name="T1" fmla="*/ 2372131 h 1760362"/>
              <a:gd name="T2" fmla="*/ 2590066 w 4041551"/>
              <a:gd name="T3" fmla="*/ 2107235 h 1760362"/>
              <a:gd name="T4" fmla="*/ 3685679 w 4041551"/>
              <a:gd name="T5" fmla="*/ 1906774 h 1760362"/>
              <a:gd name="T6" fmla="*/ 4093848 w 4041551"/>
              <a:gd name="T7" fmla="*/ 2185988 h 1760362"/>
              <a:gd name="T8" fmla="*/ 4322996 w 4041551"/>
              <a:gd name="T9" fmla="*/ 2422248 h 1760362"/>
              <a:gd name="T10" fmla="*/ 4523501 w 4041551"/>
              <a:gd name="T11" fmla="*/ 2472361 h 1760362"/>
              <a:gd name="T12" fmla="*/ 5139334 w 4041551"/>
              <a:gd name="T13" fmla="*/ 2744418 h 1760362"/>
              <a:gd name="T14" fmla="*/ 5361323 w 4041551"/>
              <a:gd name="T15" fmla="*/ 2973517 h 1760362"/>
              <a:gd name="T16" fmla="*/ 5440090 w 4041551"/>
              <a:gd name="T17" fmla="*/ 2722939 h 1760362"/>
              <a:gd name="T18" fmla="*/ 5282552 w 4041551"/>
              <a:gd name="T19" fmla="*/ 2458045 h 1760362"/>
              <a:gd name="T20" fmla="*/ 4867222 w 4041551"/>
              <a:gd name="T21" fmla="*/ 2178831 h 1760362"/>
              <a:gd name="T22" fmla="*/ 4910186 w 4041551"/>
              <a:gd name="T23" fmla="*/ 1964050 h 1760362"/>
              <a:gd name="T24" fmla="*/ 5210944 w 4041551"/>
              <a:gd name="T25" fmla="*/ 1799383 h 1760362"/>
              <a:gd name="T26" fmla="*/ 5518860 w 4041551"/>
              <a:gd name="T27" fmla="*/ 1706314 h 1760362"/>
              <a:gd name="T28" fmla="*/ 6005799 w 4041551"/>
              <a:gd name="T29" fmla="*/ 1584603 h 1760362"/>
              <a:gd name="T30" fmla="*/ 6213465 w 4041551"/>
              <a:gd name="T31" fmla="*/ 1534488 h 1760362"/>
              <a:gd name="T32" fmla="*/ 6507060 w 4041551"/>
              <a:gd name="T33" fmla="*/ 1455736 h 1760362"/>
              <a:gd name="T34" fmla="*/ 6607314 w 4041551"/>
              <a:gd name="T35" fmla="*/ 1319707 h 1760362"/>
              <a:gd name="T36" fmla="*/ 6557186 w 4041551"/>
              <a:gd name="T37" fmla="*/ 1212316 h 1760362"/>
              <a:gd name="T38" fmla="*/ 6392487 w 4041551"/>
              <a:gd name="T39" fmla="*/ 1205156 h 1760362"/>
              <a:gd name="T40" fmla="*/ 5447252 w 4041551"/>
              <a:gd name="T41" fmla="*/ 1334026 h 1760362"/>
              <a:gd name="T42" fmla="*/ 5475896 w 4041551"/>
              <a:gd name="T43" fmla="*/ 1255274 h 1760362"/>
              <a:gd name="T44" fmla="*/ 6120373 w 4041551"/>
              <a:gd name="T45" fmla="*/ 1097767 h 1760362"/>
              <a:gd name="T46" fmla="*/ 6371005 w 4041551"/>
              <a:gd name="T47" fmla="*/ 1019016 h 1760362"/>
              <a:gd name="T48" fmla="*/ 6772012 w 4041551"/>
              <a:gd name="T49" fmla="*/ 925942 h 1760362"/>
              <a:gd name="T50" fmla="*/ 6750530 w 4041551"/>
              <a:gd name="T51" fmla="*/ 725482 h 1760362"/>
              <a:gd name="T52" fmla="*/ 6256430 w 4041551"/>
              <a:gd name="T53" fmla="*/ 782756 h 1760362"/>
              <a:gd name="T54" fmla="*/ 5891225 w 4041551"/>
              <a:gd name="T55" fmla="*/ 804235 h 1760362"/>
              <a:gd name="T56" fmla="*/ 5382805 w 4041551"/>
              <a:gd name="T57" fmla="*/ 904465 h 1760362"/>
              <a:gd name="T58" fmla="*/ 5425770 w 4041551"/>
              <a:gd name="T59" fmla="*/ 789915 h 1760362"/>
              <a:gd name="T60" fmla="*/ 5762330 w 4041551"/>
              <a:gd name="T61" fmla="*/ 668205 h 1760362"/>
              <a:gd name="T62" fmla="*/ 6098890 w 4041551"/>
              <a:gd name="T63" fmla="*/ 596612 h 1760362"/>
              <a:gd name="T64" fmla="*/ 6428290 w 4041551"/>
              <a:gd name="T65" fmla="*/ 503542 h 1760362"/>
              <a:gd name="T66" fmla="*/ 6442613 w 4041551"/>
              <a:gd name="T67" fmla="*/ 338876 h 1760362"/>
              <a:gd name="T68" fmla="*/ 6106052 w 4041551"/>
              <a:gd name="T69" fmla="*/ 331718 h 1760362"/>
              <a:gd name="T70" fmla="*/ 5762330 w 4041551"/>
              <a:gd name="T71" fmla="*/ 367514 h 1760362"/>
              <a:gd name="T72" fmla="*/ 5132174 w 4041551"/>
              <a:gd name="T73" fmla="*/ 560814 h 1760362"/>
              <a:gd name="T74" fmla="*/ 5160817 w 4041551"/>
              <a:gd name="T75" fmla="*/ 467745 h 1760362"/>
              <a:gd name="T76" fmla="*/ 5583309 w 4041551"/>
              <a:gd name="T77" fmla="*/ 295920 h 1760362"/>
              <a:gd name="T78" fmla="*/ 5891225 w 4041551"/>
              <a:gd name="T79" fmla="*/ 188531 h 1760362"/>
              <a:gd name="T80" fmla="*/ 5855422 w 4041551"/>
              <a:gd name="T81" fmla="*/ 16706 h 1760362"/>
              <a:gd name="T82" fmla="*/ 5268230 w 4041551"/>
              <a:gd name="T83" fmla="*/ 88297 h 1760362"/>
              <a:gd name="T84" fmla="*/ 4817095 w 4041551"/>
              <a:gd name="T85" fmla="*/ 281600 h 1760362"/>
              <a:gd name="T86" fmla="*/ 4344479 w 4041551"/>
              <a:gd name="T87" fmla="*/ 388991 h 1760362"/>
              <a:gd name="T88" fmla="*/ 3969659 w 4041551"/>
              <a:gd name="T89" fmla="*/ 568020 h 1760362"/>
              <a:gd name="T90" fmla="*/ 3349117 w 4041551"/>
              <a:gd name="T91" fmla="*/ 890146 h 1760362"/>
              <a:gd name="T92" fmla="*/ 827973 w 4041551"/>
              <a:gd name="T93" fmla="*/ 712500 h 1760362"/>
              <a:gd name="T94" fmla="*/ 1902624 w 4041551"/>
              <a:gd name="T95" fmla="*/ 2372131 h 1760362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4041551"/>
              <a:gd name="T145" fmla="*/ 0 h 1760362"/>
              <a:gd name="T146" fmla="*/ 4041551 w 4041551"/>
              <a:gd name="T147" fmla="*/ 1760362 h 1760362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4041551" h="1760362">
                <a:moveTo>
                  <a:pt x="1124785" y="1402645"/>
                </a:moveTo>
                <a:cubicBezTo>
                  <a:pt x="1433818" y="1273528"/>
                  <a:pt x="1355502" y="1291872"/>
                  <a:pt x="1531185" y="1246011"/>
                </a:cubicBezTo>
                <a:cubicBezTo>
                  <a:pt x="1706868" y="1200150"/>
                  <a:pt x="2030718" y="1119717"/>
                  <a:pt x="2178885" y="1127478"/>
                </a:cubicBezTo>
                <a:cubicBezTo>
                  <a:pt x="2327052" y="1135239"/>
                  <a:pt x="2357391" y="1241778"/>
                  <a:pt x="2420185" y="1292578"/>
                </a:cubicBezTo>
                <a:cubicBezTo>
                  <a:pt x="2482979" y="1343378"/>
                  <a:pt x="2513318" y="1404056"/>
                  <a:pt x="2555651" y="1432278"/>
                </a:cubicBezTo>
                <a:cubicBezTo>
                  <a:pt x="2597984" y="1460500"/>
                  <a:pt x="2593752" y="1430161"/>
                  <a:pt x="2674185" y="1461911"/>
                </a:cubicBezTo>
                <a:cubicBezTo>
                  <a:pt x="2754618" y="1493661"/>
                  <a:pt x="2955701" y="1573389"/>
                  <a:pt x="3038251" y="1622778"/>
                </a:cubicBezTo>
                <a:cubicBezTo>
                  <a:pt x="3120801" y="1672167"/>
                  <a:pt x="3139852" y="1760362"/>
                  <a:pt x="3169485" y="1758245"/>
                </a:cubicBezTo>
                <a:cubicBezTo>
                  <a:pt x="3199118" y="1756128"/>
                  <a:pt x="3223812" y="1660878"/>
                  <a:pt x="3216051" y="1610078"/>
                </a:cubicBezTo>
                <a:cubicBezTo>
                  <a:pt x="3208290" y="1559278"/>
                  <a:pt x="3179362" y="1507067"/>
                  <a:pt x="3122918" y="1453445"/>
                </a:cubicBezTo>
                <a:cubicBezTo>
                  <a:pt x="3066474" y="1399823"/>
                  <a:pt x="2914074" y="1337028"/>
                  <a:pt x="2877385" y="1288345"/>
                </a:cubicBezTo>
                <a:cubicBezTo>
                  <a:pt x="2840696" y="1239662"/>
                  <a:pt x="2868918" y="1198740"/>
                  <a:pt x="2902785" y="1161345"/>
                </a:cubicBezTo>
                <a:cubicBezTo>
                  <a:pt x="2936652" y="1123951"/>
                  <a:pt x="3020613" y="1089378"/>
                  <a:pt x="3080585" y="1063978"/>
                </a:cubicBezTo>
                <a:cubicBezTo>
                  <a:pt x="3140557" y="1038578"/>
                  <a:pt x="3184301" y="1030112"/>
                  <a:pt x="3262618" y="1008945"/>
                </a:cubicBezTo>
                <a:cubicBezTo>
                  <a:pt x="3340935" y="987778"/>
                  <a:pt x="3550485" y="936978"/>
                  <a:pt x="3550485" y="936978"/>
                </a:cubicBezTo>
                <a:cubicBezTo>
                  <a:pt x="3618924" y="920045"/>
                  <a:pt x="3623862" y="920045"/>
                  <a:pt x="3673251" y="907345"/>
                </a:cubicBezTo>
                <a:cubicBezTo>
                  <a:pt x="3722640" y="894645"/>
                  <a:pt x="3808012" y="881945"/>
                  <a:pt x="3846818" y="860778"/>
                </a:cubicBezTo>
                <a:cubicBezTo>
                  <a:pt x="3885624" y="839611"/>
                  <a:pt x="3901146" y="804334"/>
                  <a:pt x="3906085" y="780345"/>
                </a:cubicBezTo>
                <a:cubicBezTo>
                  <a:pt x="3911024" y="756356"/>
                  <a:pt x="3897618" y="728134"/>
                  <a:pt x="3876451" y="716845"/>
                </a:cubicBezTo>
                <a:cubicBezTo>
                  <a:pt x="3855284" y="705556"/>
                  <a:pt x="3888446" y="700617"/>
                  <a:pt x="3779085" y="712611"/>
                </a:cubicBezTo>
                <a:cubicBezTo>
                  <a:pt x="3669724" y="724605"/>
                  <a:pt x="3310596" y="783872"/>
                  <a:pt x="3220285" y="788811"/>
                </a:cubicBezTo>
                <a:cubicBezTo>
                  <a:pt x="3129974" y="793750"/>
                  <a:pt x="3170896" y="765528"/>
                  <a:pt x="3237218" y="742245"/>
                </a:cubicBezTo>
                <a:cubicBezTo>
                  <a:pt x="3303540" y="718962"/>
                  <a:pt x="3530024" y="672394"/>
                  <a:pt x="3618218" y="649111"/>
                </a:cubicBezTo>
                <a:cubicBezTo>
                  <a:pt x="3706412" y="625828"/>
                  <a:pt x="3702180" y="619478"/>
                  <a:pt x="3766385" y="602545"/>
                </a:cubicBezTo>
                <a:cubicBezTo>
                  <a:pt x="3830590" y="585612"/>
                  <a:pt x="3966057" y="576439"/>
                  <a:pt x="4003451" y="547511"/>
                </a:cubicBezTo>
                <a:cubicBezTo>
                  <a:pt x="4040845" y="518583"/>
                  <a:pt x="4041551" y="443089"/>
                  <a:pt x="3990751" y="428978"/>
                </a:cubicBezTo>
                <a:cubicBezTo>
                  <a:pt x="3939951" y="414867"/>
                  <a:pt x="3783318" y="455084"/>
                  <a:pt x="3698651" y="462845"/>
                </a:cubicBezTo>
                <a:cubicBezTo>
                  <a:pt x="3613984" y="470606"/>
                  <a:pt x="3568829" y="463551"/>
                  <a:pt x="3482751" y="475545"/>
                </a:cubicBezTo>
                <a:cubicBezTo>
                  <a:pt x="3396673" y="487539"/>
                  <a:pt x="3228046" y="536222"/>
                  <a:pt x="3182185" y="534811"/>
                </a:cubicBezTo>
                <a:cubicBezTo>
                  <a:pt x="3136324" y="533400"/>
                  <a:pt x="3170191" y="490361"/>
                  <a:pt x="3207585" y="467078"/>
                </a:cubicBezTo>
                <a:cubicBezTo>
                  <a:pt x="3244979" y="443795"/>
                  <a:pt x="3340229" y="414161"/>
                  <a:pt x="3406551" y="395111"/>
                </a:cubicBezTo>
                <a:cubicBezTo>
                  <a:pt x="3472873" y="376061"/>
                  <a:pt x="3539901" y="369006"/>
                  <a:pt x="3605518" y="352778"/>
                </a:cubicBezTo>
                <a:cubicBezTo>
                  <a:pt x="3671135" y="336550"/>
                  <a:pt x="3766384" y="323145"/>
                  <a:pt x="3800251" y="297745"/>
                </a:cubicBezTo>
                <a:cubicBezTo>
                  <a:pt x="3834118" y="272345"/>
                  <a:pt x="3840468" y="217311"/>
                  <a:pt x="3808718" y="200378"/>
                </a:cubicBezTo>
                <a:cubicBezTo>
                  <a:pt x="3776968" y="183445"/>
                  <a:pt x="3676779" y="193323"/>
                  <a:pt x="3609751" y="196145"/>
                </a:cubicBezTo>
                <a:cubicBezTo>
                  <a:pt x="3542723" y="198967"/>
                  <a:pt x="3502507" y="194733"/>
                  <a:pt x="3406551" y="217311"/>
                </a:cubicBezTo>
                <a:cubicBezTo>
                  <a:pt x="3310596" y="239889"/>
                  <a:pt x="3093285" y="321733"/>
                  <a:pt x="3034018" y="331611"/>
                </a:cubicBezTo>
                <a:cubicBezTo>
                  <a:pt x="2974751" y="341489"/>
                  <a:pt x="3006501" y="302684"/>
                  <a:pt x="3050951" y="276578"/>
                </a:cubicBezTo>
                <a:cubicBezTo>
                  <a:pt x="3095401" y="250473"/>
                  <a:pt x="3228751" y="202495"/>
                  <a:pt x="3300718" y="174978"/>
                </a:cubicBezTo>
                <a:cubicBezTo>
                  <a:pt x="3372685" y="147461"/>
                  <a:pt x="3455940" y="138995"/>
                  <a:pt x="3482751" y="111478"/>
                </a:cubicBezTo>
                <a:cubicBezTo>
                  <a:pt x="3509562" y="83961"/>
                  <a:pt x="3522968" y="19756"/>
                  <a:pt x="3461585" y="9878"/>
                </a:cubicBezTo>
                <a:cubicBezTo>
                  <a:pt x="3400202" y="0"/>
                  <a:pt x="3216757" y="26106"/>
                  <a:pt x="3114451" y="52211"/>
                </a:cubicBezTo>
                <a:cubicBezTo>
                  <a:pt x="3012145" y="78317"/>
                  <a:pt x="2938768" y="136878"/>
                  <a:pt x="2847751" y="166511"/>
                </a:cubicBezTo>
                <a:cubicBezTo>
                  <a:pt x="2756734" y="196144"/>
                  <a:pt x="2651848" y="201784"/>
                  <a:pt x="2568351" y="230011"/>
                </a:cubicBezTo>
                <a:cubicBezTo>
                  <a:pt x="2484854" y="258238"/>
                  <a:pt x="2444839" y="286482"/>
                  <a:pt x="2346767" y="335871"/>
                </a:cubicBezTo>
                <a:cubicBezTo>
                  <a:pt x="2218173" y="435523"/>
                  <a:pt x="2289466" y="512107"/>
                  <a:pt x="1979918" y="526345"/>
                </a:cubicBezTo>
                <a:cubicBezTo>
                  <a:pt x="1670370" y="540583"/>
                  <a:pt x="709610" y="396247"/>
                  <a:pt x="489477" y="421302"/>
                </a:cubicBezTo>
                <a:cubicBezTo>
                  <a:pt x="227754" y="928480"/>
                  <a:pt x="0" y="529585"/>
                  <a:pt x="1124785" y="1402645"/>
                </a:cubicBezTo>
                <a:close/>
              </a:path>
            </a:pathLst>
          </a:custGeom>
          <a:solidFill>
            <a:srgbClr val="8EB4E3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n-US">
              <a:latin typeface="Arial" charset="0"/>
              <a:ea typeface="ＭＳ Ｐゴシック" charset="-128"/>
            </a:endParaRPr>
          </a:p>
        </p:txBody>
      </p:sp>
      <p:sp>
        <p:nvSpPr>
          <p:cNvPr id="20" name="Freeform 19"/>
          <p:cNvSpPr>
            <a:spLocks noChangeArrowheads="1"/>
          </p:cNvSpPr>
          <p:nvPr/>
        </p:nvSpPr>
        <p:spPr bwMode="auto">
          <a:xfrm rot="10062835">
            <a:off x="5969000" y="1555750"/>
            <a:ext cx="3379788" cy="2289175"/>
          </a:xfrm>
          <a:custGeom>
            <a:avLst/>
            <a:gdLst>
              <a:gd name="T0" fmla="*/ 29215 w 2636300"/>
              <a:gd name="T1" fmla="*/ 2207717 h 1760362"/>
              <a:gd name="T2" fmla="*/ 204074 w 2636300"/>
              <a:gd name="T3" fmla="*/ 2106984 h 1760362"/>
              <a:gd name="T4" fmla="*/ 1253659 w 2636300"/>
              <a:gd name="T5" fmla="*/ 1906545 h 1760362"/>
              <a:gd name="T6" fmla="*/ 1644681 w 2636300"/>
              <a:gd name="T7" fmla="*/ 2185728 h 1760362"/>
              <a:gd name="T8" fmla="*/ 1864202 w 2636300"/>
              <a:gd name="T9" fmla="*/ 2421958 h 1760362"/>
              <a:gd name="T10" fmla="*/ 2056284 w 2636300"/>
              <a:gd name="T11" fmla="*/ 2472067 h 1760362"/>
              <a:gd name="T12" fmla="*/ 2646246 w 2636300"/>
              <a:gd name="T13" fmla="*/ 2744091 h 1760362"/>
              <a:gd name="T14" fmla="*/ 2858909 w 2636300"/>
              <a:gd name="T15" fmla="*/ 2973162 h 1760362"/>
              <a:gd name="T16" fmla="*/ 2934367 w 2636300"/>
              <a:gd name="T17" fmla="*/ 2722615 h 1760362"/>
              <a:gd name="T18" fmla="*/ 2783448 w 2636300"/>
              <a:gd name="T19" fmla="*/ 2457751 h 1760362"/>
              <a:gd name="T20" fmla="*/ 2385566 w 2636300"/>
              <a:gd name="T21" fmla="*/ 2178569 h 1760362"/>
              <a:gd name="T22" fmla="*/ 2426727 w 2636300"/>
              <a:gd name="T23" fmla="*/ 1963815 h 1760362"/>
              <a:gd name="T24" fmla="*/ 2714848 w 2636300"/>
              <a:gd name="T25" fmla="*/ 1799169 h 1760362"/>
              <a:gd name="T26" fmla="*/ 3009828 w 2636300"/>
              <a:gd name="T27" fmla="*/ 1706108 h 1760362"/>
              <a:gd name="T28" fmla="*/ 3476311 w 2636300"/>
              <a:gd name="T29" fmla="*/ 1584414 h 1760362"/>
              <a:gd name="T30" fmla="*/ 3675252 w 2636300"/>
              <a:gd name="T31" fmla="*/ 1534306 h 1760362"/>
              <a:gd name="T32" fmla="*/ 3956513 w 2636300"/>
              <a:gd name="T33" fmla="*/ 1455561 h 1760362"/>
              <a:gd name="T34" fmla="*/ 4052555 w 2636300"/>
              <a:gd name="T35" fmla="*/ 1319550 h 1760362"/>
              <a:gd name="T36" fmla="*/ 4004534 w 2636300"/>
              <a:gd name="T37" fmla="*/ 1212173 h 1760362"/>
              <a:gd name="T38" fmla="*/ 3846755 w 2636300"/>
              <a:gd name="T39" fmla="*/ 1205013 h 1760362"/>
              <a:gd name="T40" fmla="*/ 2941230 w 2636300"/>
              <a:gd name="T41" fmla="*/ 1333867 h 1760362"/>
              <a:gd name="T42" fmla="*/ 2968669 w 2636300"/>
              <a:gd name="T43" fmla="*/ 1255124 h 1760362"/>
              <a:gd name="T44" fmla="*/ 3586071 w 2636300"/>
              <a:gd name="T45" fmla="*/ 1097635 h 1760362"/>
              <a:gd name="T46" fmla="*/ 3826173 w 2636300"/>
              <a:gd name="T47" fmla="*/ 1018893 h 1760362"/>
              <a:gd name="T48" fmla="*/ 4210334 w 2636300"/>
              <a:gd name="T49" fmla="*/ 925833 h 1760362"/>
              <a:gd name="T50" fmla="*/ 4189755 w 2636300"/>
              <a:gd name="T51" fmla="*/ 725396 h 1760362"/>
              <a:gd name="T52" fmla="*/ 3716412 w 2636300"/>
              <a:gd name="T53" fmla="*/ 782663 h 1760362"/>
              <a:gd name="T54" fmla="*/ 3366550 w 2636300"/>
              <a:gd name="T55" fmla="*/ 804139 h 1760362"/>
              <a:gd name="T56" fmla="*/ 2879488 w 2636300"/>
              <a:gd name="T57" fmla="*/ 904357 h 1760362"/>
              <a:gd name="T58" fmla="*/ 2920648 w 2636300"/>
              <a:gd name="T59" fmla="*/ 789820 h 1760362"/>
              <a:gd name="T60" fmla="*/ 3243070 w 2636300"/>
              <a:gd name="T61" fmla="*/ 668126 h 1760362"/>
              <a:gd name="T62" fmla="*/ 3565491 w 2636300"/>
              <a:gd name="T63" fmla="*/ 596542 h 1760362"/>
              <a:gd name="T64" fmla="*/ 3881052 w 2636300"/>
              <a:gd name="T65" fmla="*/ 503481 h 1760362"/>
              <a:gd name="T66" fmla="*/ 3894773 w 2636300"/>
              <a:gd name="T67" fmla="*/ 338835 h 1760362"/>
              <a:gd name="T68" fmla="*/ 3572351 w 2636300"/>
              <a:gd name="T69" fmla="*/ 331677 h 1760362"/>
              <a:gd name="T70" fmla="*/ 3243070 w 2636300"/>
              <a:gd name="T71" fmla="*/ 367470 h 1760362"/>
              <a:gd name="T72" fmla="*/ 2639387 w 2636300"/>
              <a:gd name="T73" fmla="*/ 560748 h 1760362"/>
              <a:gd name="T74" fmla="*/ 2666826 w 2636300"/>
              <a:gd name="T75" fmla="*/ 467689 h 1760362"/>
              <a:gd name="T76" fmla="*/ 3071569 w 2636300"/>
              <a:gd name="T77" fmla="*/ 295885 h 1760362"/>
              <a:gd name="T78" fmla="*/ 3366550 w 2636300"/>
              <a:gd name="T79" fmla="*/ 188507 h 1760362"/>
              <a:gd name="T80" fmla="*/ 3332252 w 2636300"/>
              <a:gd name="T81" fmla="*/ 16704 h 1760362"/>
              <a:gd name="T82" fmla="*/ 2769727 w 2636300"/>
              <a:gd name="T83" fmla="*/ 88288 h 1760362"/>
              <a:gd name="T84" fmla="*/ 2337545 w 2636300"/>
              <a:gd name="T85" fmla="*/ 281567 h 1760362"/>
              <a:gd name="T86" fmla="*/ 1884781 w 2636300"/>
              <a:gd name="T87" fmla="*/ 388944 h 1760362"/>
              <a:gd name="T88" fmla="*/ 1230369 w 2636300"/>
              <a:gd name="T89" fmla="*/ 762302 h 1760362"/>
              <a:gd name="T90" fmla="*/ 931237 w 2636300"/>
              <a:gd name="T91" fmla="*/ 890039 h 1760362"/>
              <a:gd name="T92" fmla="*/ 327603 w 2636300"/>
              <a:gd name="T93" fmla="*/ 798546 h 1760362"/>
              <a:gd name="T94" fmla="*/ 29215 w 2636300"/>
              <a:gd name="T95" fmla="*/ 2207717 h 1760362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2636300"/>
              <a:gd name="T145" fmla="*/ 0 h 1760362"/>
              <a:gd name="T146" fmla="*/ 2636300 w 2636300"/>
              <a:gd name="T147" fmla="*/ 1760362 h 1760362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2636300" h="1760362">
                <a:moveTo>
                  <a:pt x="18028" y="1305582"/>
                </a:moveTo>
                <a:cubicBezTo>
                  <a:pt x="23777" y="1314717"/>
                  <a:pt x="0" y="1275695"/>
                  <a:pt x="125934" y="1246011"/>
                </a:cubicBezTo>
                <a:cubicBezTo>
                  <a:pt x="251868" y="1216327"/>
                  <a:pt x="625467" y="1119717"/>
                  <a:pt x="773634" y="1127478"/>
                </a:cubicBezTo>
                <a:cubicBezTo>
                  <a:pt x="921801" y="1135239"/>
                  <a:pt x="952140" y="1241778"/>
                  <a:pt x="1014934" y="1292578"/>
                </a:cubicBezTo>
                <a:cubicBezTo>
                  <a:pt x="1077728" y="1343378"/>
                  <a:pt x="1108067" y="1404056"/>
                  <a:pt x="1150400" y="1432278"/>
                </a:cubicBezTo>
                <a:cubicBezTo>
                  <a:pt x="1192733" y="1460500"/>
                  <a:pt x="1188501" y="1430161"/>
                  <a:pt x="1268934" y="1461911"/>
                </a:cubicBezTo>
                <a:cubicBezTo>
                  <a:pt x="1349367" y="1493661"/>
                  <a:pt x="1550450" y="1573389"/>
                  <a:pt x="1633000" y="1622778"/>
                </a:cubicBezTo>
                <a:cubicBezTo>
                  <a:pt x="1715550" y="1672167"/>
                  <a:pt x="1734601" y="1760362"/>
                  <a:pt x="1764234" y="1758245"/>
                </a:cubicBezTo>
                <a:cubicBezTo>
                  <a:pt x="1793867" y="1756128"/>
                  <a:pt x="1818561" y="1660878"/>
                  <a:pt x="1810800" y="1610078"/>
                </a:cubicBezTo>
                <a:cubicBezTo>
                  <a:pt x="1803039" y="1559278"/>
                  <a:pt x="1774111" y="1507067"/>
                  <a:pt x="1717667" y="1453445"/>
                </a:cubicBezTo>
                <a:cubicBezTo>
                  <a:pt x="1661223" y="1399823"/>
                  <a:pt x="1508823" y="1337028"/>
                  <a:pt x="1472134" y="1288345"/>
                </a:cubicBezTo>
                <a:cubicBezTo>
                  <a:pt x="1435445" y="1239662"/>
                  <a:pt x="1463667" y="1198740"/>
                  <a:pt x="1497534" y="1161345"/>
                </a:cubicBezTo>
                <a:cubicBezTo>
                  <a:pt x="1531401" y="1123951"/>
                  <a:pt x="1615362" y="1089378"/>
                  <a:pt x="1675334" y="1063978"/>
                </a:cubicBezTo>
                <a:cubicBezTo>
                  <a:pt x="1735306" y="1038578"/>
                  <a:pt x="1779050" y="1030112"/>
                  <a:pt x="1857367" y="1008945"/>
                </a:cubicBezTo>
                <a:cubicBezTo>
                  <a:pt x="1935684" y="987778"/>
                  <a:pt x="2145234" y="936978"/>
                  <a:pt x="2145234" y="936978"/>
                </a:cubicBezTo>
                <a:cubicBezTo>
                  <a:pt x="2213673" y="920045"/>
                  <a:pt x="2218611" y="920045"/>
                  <a:pt x="2268000" y="907345"/>
                </a:cubicBezTo>
                <a:cubicBezTo>
                  <a:pt x="2317389" y="894645"/>
                  <a:pt x="2402761" y="881945"/>
                  <a:pt x="2441567" y="860778"/>
                </a:cubicBezTo>
                <a:cubicBezTo>
                  <a:pt x="2480373" y="839611"/>
                  <a:pt x="2495895" y="804334"/>
                  <a:pt x="2500834" y="780345"/>
                </a:cubicBezTo>
                <a:cubicBezTo>
                  <a:pt x="2505773" y="756356"/>
                  <a:pt x="2492367" y="728134"/>
                  <a:pt x="2471200" y="716845"/>
                </a:cubicBezTo>
                <a:cubicBezTo>
                  <a:pt x="2450033" y="705556"/>
                  <a:pt x="2483195" y="700617"/>
                  <a:pt x="2373834" y="712611"/>
                </a:cubicBezTo>
                <a:cubicBezTo>
                  <a:pt x="2264473" y="724605"/>
                  <a:pt x="1905345" y="783872"/>
                  <a:pt x="1815034" y="788811"/>
                </a:cubicBezTo>
                <a:cubicBezTo>
                  <a:pt x="1724723" y="793750"/>
                  <a:pt x="1765645" y="765528"/>
                  <a:pt x="1831967" y="742245"/>
                </a:cubicBezTo>
                <a:cubicBezTo>
                  <a:pt x="1898289" y="718962"/>
                  <a:pt x="2124773" y="672394"/>
                  <a:pt x="2212967" y="649111"/>
                </a:cubicBezTo>
                <a:cubicBezTo>
                  <a:pt x="2301161" y="625828"/>
                  <a:pt x="2296929" y="619478"/>
                  <a:pt x="2361134" y="602545"/>
                </a:cubicBezTo>
                <a:cubicBezTo>
                  <a:pt x="2425339" y="585612"/>
                  <a:pt x="2560806" y="576439"/>
                  <a:pt x="2598200" y="547511"/>
                </a:cubicBezTo>
                <a:cubicBezTo>
                  <a:pt x="2635594" y="518583"/>
                  <a:pt x="2636300" y="443089"/>
                  <a:pt x="2585500" y="428978"/>
                </a:cubicBezTo>
                <a:cubicBezTo>
                  <a:pt x="2534700" y="414867"/>
                  <a:pt x="2378067" y="455084"/>
                  <a:pt x="2293400" y="462845"/>
                </a:cubicBezTo>
                <a:cubicBezTo>
                  <a:pt x="2208733" y="470606"/>
                  <a:pt x="2163578" y="463551"/>
                  <a:pt x="2077500" y="475545"/>
                </a:cubicBezTo>
                <a:cubicBezTo>
                  <a:pt x="1991422" y="487539"/>
                  <a:pt x="1822795" y="536222"/>
                  <a:pt x="1776934" y="534811"/>
                </a:cubicBezTo>
                <a:cubicBezTo>
                  <a:pt x="1731073" y="533400"/>
                  <a:pt x="1764940" y="490361"/>
                  <a:pt x="1802334" y="467078"/>
                </a:cubicBezTo>
                <a:cubicBezTo>
                  <a:pt x="1839728" y="443795"/>
                  <a:pt x="1934978" y="414161"/>
                  <a:pt x="2001300" y="395111"/>
                </a:cubicBezTo>
                <a:cubicBezTo>
                  <a:pt x="2067622" y="376061"/>
                  <a:pt x="2134650" y="369006"/>
                  <a:pt x="2200267" y="352778"/>
                </a:cubicBezTo>
                <a:cubicBezTo>
                  <a:pt x="2265884" y="336550"/>
                  <a:pt x="2361133" y="323145"/>
                  <a:pt x="2395000" y="297745"/>
                </a:cubicBezTo>
                <a:cubicBezTo>
                  <a:pt x="2428867" y="272345"/>
                  <a:pt x="2435217" y="217311"/>
                  <a:pt x="2403467" y="200378"/>
                </a:cubicBezTo>
                <a:cubicBezTo>
                  <a:pt x="2371717" y="183445"/>
                  <a:pt x="2271528" y="193323"/>
                  <a:pt x="2204500" y="196145"/>
                </a:cubicBezTo>
                <a:cubicBezTo>
                  <a:pt x="2137472" y="198967"/>
                  <a:pt x="2097256" y="194733"/>
                  <a:pt x="2001300" y="217311"/>
                </a:cubicBezTo>
                <a:cubicBezTo>
                  <a:pt x="1905345" y="239889"/>
                  <a:pt x="1688034" y="321733"/>
                  <a:pt x="1628767" y="331611"/>
                </a:cubicBezTo>
                <a:cubicBezTo>
                  <a:pt x="1569500" y="341489"/>
                  <a:pt x="1601250" y="302684"/>
                  <a:pt x="1645700" y="276578"/>
                </a:cubicBezTo>
                <a:cubicBezTo>
                  <a:pt x="1690150" y="250473"/>
                  <a:pt x="1823500" y="202495"/>
                  <a:pt x="1895467" y="174978"/>
                </a:cubicBezTo>
                <a:cubicBezTo>
                  <a:pt x="1967434" y="147461"/>
                  <a:pt x="2050689" y="138995"/>
                  <a:pt x="2077500" y="111478"/>
                </a:cubicBezTo>
                <a:cubicBezTo>
                  <a:pt x="2104311" y="83961"/>
                  <a:pt x="2117717" y="19756"/>
                  <a:pt x="2056334" y="9878"/>
                </a:cubicBezTo>
                <a:cubicBezTo>
                  <a:pt x="1994951" y="0"/>
                  <a:pt x="1811506" y="26106"/>
                  <a:pt x="1709200" y="52211"/>
                </a:cubicBezTo>
                <a:cubicBezTo>
                  <a:pt x="1606894" y="78317"/>
                  <a:pt x="1533517" y="136878"/>
                  <a:pt x="1442500" y="166511"/>
                </a:cubicBezTo>
                <a:cubicBezTo>
                  <a:pt x="1351483" y="196144"/>
                  <a:pt x="1276973" y="182629"/>
                  <a:pt x="1163100" y="230011"/>
                </a:cubicBezTo>
                <a:cubicBezTo>
                  <a:pt x="1049227" y="277393"/>
                  <a:pt x="857334" y="401415"/>
                  <a:pt x="759262" y="450804"/>
                </a:cubicBezTo>
                <a:cubicBezTo>
                  <a:pt x="639336" y="508759"/>
                  <a:pt x="667517" y="522773"/>
                  <a:pt x="574667" y="526345"/>
                </a:cubicBezTo>
                <a:cubicBezTo>
                  <a:pt x="481817" y="529917"/>
                  <a:pt x="425524" y="488949"/>
                  <a:pt x="202164" y="472238"/>
                </a:cubicBezTo>
                <a:cubicBezTo>
                  <a:pt x="142222" y="717351"/>
                  <a:pt x="13794" y="1129899"/>
                  <a:pt x="18028" y="1305582"/>
                </a:cubicBezTo>
                <a:close/>
              </a:path>
            </a:pathLst>
          </a:custGeom>
          <a:solidFill>
            <a:srgbClr val="C6D9F1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n-US">
              <a:latin typeface="Arial" charset="0"/>
              <a:ea typeface="ＭＳ Ｐゴシック" charset="-128"/>
            </a:endParaRPr>
          </a:p>
        </p:txBody>
      </p:sp>
      <p:sp>
        <p:nvSpPr>
          <p:cNvPr id="21" name="Freeform 20"/>
          <p:cNvSpPr>
            <a:spLocks noChangeArrowheads="1"/>
          </p:cNvSpPr>
          <p:nvPr/>
        </p:nvSpPr>
        <p:spPr bwMode="auto">
          <a:xfrm rot="5400000">
            <a:off x="3794919" y="754856"/>
            <a:ext cx="3798888" cy="2289175"/>
          </a:xfrm>
          <a:custGeom>
            <a:avLst/>
            <a:gdLst>
              <a:gd name="T0" fmla="*/ 7162 w 2921000"/>
              <a:gd name="T1" fmla="*/ 2372131 h 1760362"/>
              <a:gd name="T2" fmla="*/ 694606 w 2921000"/>
              <a:gd name="T3" fmla="*/ 2107235 h 1760362"/>
              <a:gd name="T4" fmla="*/ 1790219 w 2921000"/>
              <a:gd name="T5" fmla="*/ 1906774 h 1760362"/>
              <a:gd name="T6" fmla="*/ 2198388 w 2921000"/>
              <a:gd name="T7" fmla="*/ 2185988 h 1760362"/>
              <a:gd name="T8" fmla="*/ 2427536 w 2921000"/>
              <a:gd name="T9" fmla="*/ 2422248 h 1760362"/>
              <a:gd name="T10" fmla="*/ 2628041 w 2921000"/>
              <a:gd name="T11" fmla="*/ 2472361 h 1760362"/>
              <a:gd name="T12" fmla="*/ 3243874 w 2921000"/>
              <a:gd name="T13" fmla="*/ 2744418 h 1760362"/>
              <a:gd name="T14" fmla="*/ 3465863 w 2921000"/>
              <a:gd name="T15" fmla="*/ 2973517 h 1760362"/>
              <a:gd name="T16" fmla="*/ 3544630 w 2921000"/>
              <a:gd name="T17" fmla="*/ 2722939 h 1760362"/>
              <a:gd name="T18" fmla="*/ 3387092 w 2921000"/>
              <a:gd name="T19" fmla="*/ 2458045 h 1760362"/>
              <a:gd name="T20" fmla="*/ 2971762 w 2921000"/>
              <a:gd name="T21" fmla="*/ 2178831 h 1760362"/>
              <a:gd name="T22" fmla="*/ 3014727 w 2921000"/>
              <a:gd name="T23" fmla="*/ 1964050 h 1760362"/>
              <a:gd name="T24" fmla="*/ 3315484 w 2921000"/>
              <a:gd name="T25" fmla="*/ 1799383 h 1760362"/>
              <a:gd name="T26" fmla="*/ 3623400 w 2921000"/>
              <a:gd name="T27" fmla="*/ 1706314 h 1760362"/>
              <a:gd name="T28" fmla="*/ 4110340 w 2921000"/>
              <a:gd name="T29" fmla="*/ 1584603 h 1760362"/>
              <a:gd name="T30" fmla="*/ 4318005 w 2921000"/>
              <a:gd name="T31" fmla="*/ 1534488 h 1760362"/>
              <a:gd name="T32" fmla="*/ 4611600 w 2921000"/>
              <a:gd name="T33" fmla="*/ 1455736 h 1760362"/>
              <a:gd name="T34" fmla="*/ 4711854 w 2921000"/>
              <a:gd name="T35" fmla="*/ 1319707 h 1760362"/>
              <a:gd name="T36" fmla="*/ 4661726 w 2921000"/>
              <a:gd name="T37" fmla="*/ 1212316 h 1760362"/>
              <a:gd name="T38" fmla="*/ 4497028 w 2921000"/>
              <a:gd name="T39" fmla="*/ 1205156 h 1760362"/>
              <a:gd name="T40" fmla="*/ 3551793 w 2921000"/>
              <a:gd name="T41" fmla="*/ 1334026 h 1760362"/>
              <a:gd name="T42" fmla="*/ 3580436 w 2921000"/>
              <a:gd name="T43" fmla="*/ 1255274 h 1760362"/>
              <a:gd name="T44" fmla="*/ 4224914 w 2921000"/>
              <a:gd name="T45" fmla="*/ 1097767 h 1760362"/>
              <a:gd name="T46" fmla="*/ 4475545 w 2921000"/>
              <a:gd name="T47" fmla="*/ 1019016 h 1760362"/>
              <a:gd name="T48" fmla="*/ 4876552 w 2921000"/>
              <a:gd name="T49" fmla="*/ 925942 h 1760362"/>
              <a:gd name="T50" fmla="*/ 4855070 w 2921000"/>
              <a:gd name="T51" fmla="*/ 725482 h 1760362"/>
              <a:gd name="T52" fmla="*/ 4360970 w 2921000"/>
              <a:gd name="T53" fmla="*/ 782756 h 1760362"/>
              <a:gd name="T54" fmla="*/ 3995766 w 2921000"/>
              <a:gd name="T55" fmla="*/ 804235 h 1760362"/>
              <a:gd name="T56" fmla="*/ 3487345 w 2921000"/>
              <a:gd name="T57" fmla="*/ 904465 h 1760362"/>
              <a:gd name="T58" fmla="*/ 3530310 w 2921000"/>
              <a:gd name="T59" fmla="*/ 789915 h 1760362"/>
              <a:gd name="T60" fmla="*/ 3866870 w 2921000"/>
              <a:gd name="T61" fmla="*/ 668205 h 1760362"/>
              <a:gd name="T62" fmla="*/ 4203430 w 2921000"/>
              <a:gd name="T63" fmla="*/ 596612 h 1760362"/>
              <a:gd name="T64" fmla="*/ 4532830 w 2921000"/>
              <a:gd name="T65" fmla="*/ 503542 h 1760362"/>
              <a:gd name="T66" fmla="*/ 4547153 w 2921000"/>
              <a:gd name="T67" fmla="*/ 338876 h 1760362"/>
              <a:gd name="T68" fmla="*/ 4210592 w 2921000"/>
              <a:gd name="T69" fmla="*/ 331718 h 1760362"/>
              <a:gd name="T70" fmla="*/ 3866870 w 2921000"/>
              <a:gd name="T71" fmla="*/ 367514 h 1760362"/>
              <a:gd name="T72" fmla="*/ 3236714 w 2921000"/>
              <a:gd name="T73" fmla="*/ 560814 h 1760362"/>
              <a:gd name="T74" fmla="*/ 3265357 w 2921000"/>
              <a:gd name="T75" fmla="*/ 467745 h 1760362"/>
              <a:gd name="T76" fmla="*/ 3687849 w 2921000"/>
              <a:gd name="T77" fmla="*/ 295920 h 1760362"/>
              <a:gd name="T78" fmla="*/ 3995766 w 2921000"/>
              <a:gd name="T79" fmla="*/ 188531 h 1760362"/>
              <a:gd name="T80" fmla="*/ 3959962 w 2921000"/>
              <a:gd name="T81" fmla="*/ 16706 h 1760362"/>
              <a:gd name="T82" fmla="*/ 3372770 w 2921000"/>
              <a:gd name="T83" fmla="*/ 88297 h 1760362"/>
              <a:gd name="T84" fmla="*/ 2921635 w 2921000"/>
              <a:gd name="T85" fmla="*/ 281600 h 1760362"/>
              <a:gd name="T86" fmla="*/ 2449019 w 2921000"/>
              <a:gd name="T87" fmla="*/ 388991 h 1760362"/>
              <a:gd name="T88" fmla="*/ 1882333 w 2921000"/>
              <a:gd name="T89" fmla="*/ 620295 h 1760362"/>
              <a:gd name="T90" fmla="*/ 1453657 w 2921000"/>
              <a:gd name="T91" fmla="*/ 890146 h 1760362"/>
              <a:gd name="T92" fmla="*/ 7162 w 2921000"/>
              <a:gd name="T93" fmla="*/ 968898 h 1760362"/>
              <a:gd name="T94" fmla="*/ 7162 w 2921000"/>
              <a:gd name="T95" fmla="*/ 2372131 h 1760362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2921000"/>
              <a:gd name="T145" fmla="*/ 0 h 1760362"/>
              <a:gd name="T146" fmla="*/ 2921000 w 2921000"/>
              <a:gd name="T147" fmla="*/ 1760362 h 1760362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2921000" h="1760362">
                <a:moveTo>
                  <a:pt x="4234" y="1402645"/>
                </a:moveTo>
                <a:cubicBezTo>
                  <a:pt x="313267" y="1273528"/>
                  <a:pt x="234951" y="1291872"/>
                  <a:pt x="410634" y="1246011"/>
                </a:cubicBezTo>
                <a:cubicBezTo>
                  <a:pt x="586317" y="1200150"/>
                  <a:pt x="910167" y="1119717"/>
                  <a:pt x="1058334" y="1127478"/>
                </a:cubicBezTo>
                <a:cubicBezTo>
                  <a:pt x="1206501" y="1135239"/>
                  <a:pt x="1236840" y="1241778"/>
                  <a:pt x="1299634" y="1292578"/>
                </a:cubicBezTo>
                <a:cubicBezTo>
                  <a:pt x="1362428" y="1343378"/>
                  <a:pt x="1392767" y="1404056"/>
                  <a:pt x="1435100" y="1432278"/>
                </a:cubicBezTo>
                <a:cubicBezTo>
                  <a:pt x="1477433" y="1460500"/>
                  <a:pt x="1473201" y="1430161"/>
                  <a:pt x="1553634" y="1461911"/>
                </a:cubicBezTo>
                <a:cubicBezTo>
                  <a:pt x="1634067" y="1493661"/>
                  <a:pt x="1835150" y="1573389"/>
                  <a:pt x="1917700" y="1622778"/>
                </a:cubicBezTo>
                <a:cubicBezTo>
                  <a:pt x="2000250" y="1672167"/>
                  <a:pt x="2019301" y="1760362"/>
                  <a:pt x="2048934" y="1758245"/>
                </a:cubicBezTo>
                <a:cubicBezTo>
                  <a:pt x="2078567" y="1756128"/>
                  <a:pt x="2103261" y="1660878"/>
                  <a:pt x="2095500" y="1610078"/>
                </a:cubicBezTo>
                <a:cubicBezTo>
                  <a:pt x="2087739" y="1559278"/>
                  <a:pt x="2058811" y="1507067"/>
                  <a:pt x="2002367" y="1453445"/>
                </a:cubicBezTo>
                <a:cubicBezTo>
                  <a:pt x="1945923" y="1399823"/>
                  <a:pt x="1793523" y="1337028"/>
                  <a:pt x="1756834" y="1288345"/>
                </a:cubicBezTo>
                <a:cubicBezTo>
                  <a:pt x="1720145" y="1239662"/>
                  <a:pt x="1748367" y="1198740"/>
                  <a:pt x="1782234" y="1161345"/>
                </a:cubicBezTo>
                <a:cubicBezTo>
                  <a:pt x="1816101" y="1123951"/>
                  <a:pt x="1900062" y="1089378"/>
                  <a:pt x="1960034" y="1063978"/>
                </a:cubicBezTo>
                <a:cubicBezTo>
                  <a:pt x="2020006" y="1038578"/>
                  <a:pt x="2063750" y="1030112"/>
                  <a:pt x="2142067" y="1008945"/>
                </a:cubicBezTo>
                <a:cubicBezTo>
                  <a:pt x="2220384" y="987778"/>
                  <a:pt x="2429934" y="936978"/>
                  <a:pt x="2429934" y="936978"/>
                </a:cubicBezTo>
                <a:cubicBezTo>
                  <a:pt x="2498373" y="920045"/>
                  <a:pt x="2503311" y="920045"/>
                  <a:pt x="2552700" y="907345"/>
                </a:cubicBezTo>
                <a:cubicBezTo>
                  <a:pt x="2602089" y="894645"/>
                  <a:pt x="2687461" y="881945"/>
                  <a:pt x="2726267" y="860778"/>
                </a:cubicBezTo>
                <a:cubicBezTo>
                  <a:pt x="2765073" y="839611"/>
                  <a:pt x="2780595" y="804334"/>
                  <a:pt x="2785534" y="780345"/>
                </a:cubicBezTo>
                <a:cubicBezTo>
                  <a:pt x="2790473" y="756356"/>
                  <a:pt x="2777067" y="728134"/>
                  <a:pt x="2755900" y="716845"/>
                </a:cubicBezTo>
                <a:cubicBezTo>
                  <a:pt x="2734733" y="705556"/>
                  <a:pt x="2767895" y="700617"/>
                  <a:pt x="2658534" y="712611"/>
                </a:cubicBezTo>
                <a:cubicBezTo>
                  <a:pt x="2549173" y="724605"/>
                  <a:pt x="2190045" y="783872"/>
                  <a:pt x="2099734" y="788811"/>
                </a:cubicBezTo>
                <a:cubicBezTo>
                  <a:pt x="2009423" y="793750"/>
                  <a:pt x="2050345" y="765528"/>
                  <a:pt x="2116667" y="742245"/>
                </a:cubicBezTo>
                <a:cubicBezTo>
                  <a:pt x="2182989" y="718962"/>
                  <a:pt x="2409473" y="672394"/>
                  <a:pt x="2497667" y="649111"/>
                </a:cubicBezTo>
                <a:cubicBezTo>
                  <a:pt x="2585861" y="625828"/>
                  <a:pt x="2581629" y="619478"/>
                  <a:pt x="2645834" y="602545"/>
                </a:cubicBezTo>
                <a:cubicBezTo>
                  <a:pt x="2710039" y="585612"/>
                  <a:pt x="2845506" y="576439"/>
                  <a:pt x="2882900" y="547511"/>
                </a:cubicBezTo>
                <a:cubicBezTo>
                  <a:pt x="2920294" y="518583"/>
                  <a:pt x="2921000" y="443089"/>
                  <a:pt x="2870200" y="428978"/>
                </a:cubicBezTo>
                <a:cubicBezTo>
                  <a:pt x="2819400" y="414867"/>
                  <a:pt x="2662767" y="455084"/>
                  <a:pt x="2578100" y="462845"/>
                </a:cubicBezTo>
                <a:cubicBezTo>
                  <a:pt x="2493433" y="470606"/>
                  <a:pt x="2448278" y="463551"/>
                  <a:pt x="2362200" y="475545"/>
                </a:cubicBezTo>
                <a:cubicBezTo>
                  <a:pt x="2276122" y="487539"/>
                  <a:pt x="2107495" y="536222"/>
                  <a:pt x="2061634" y="534811"/>
                </a:cubicBezTo>
                <a:cubicBezTo>
                  <a:pt x="2015773" y="533400"/>
                  <a:pt x="2049640" y="490361"/>
                  <a:pt x="2087034" y="467078"/>
                </a:cubicBezTo>
                <a:cubicBezTo>
                  <a:pt x="2124428" y="443795"/>
                  <a:pt x="2219678" y="414161"/>
                  <a:pt x="2286000" y="395111"/>
                </a:cubicBezTo>
                <a:cubicBezTo>
                  <a:pt x="2352322" y="376061"/>
                  <a:pt x="2419350" y="369006"/>
                  <a:pt x="2484967" y="352778"/>
                </a:cubicBezTo>
                <a:cubicBezTo>
                  <a:pt x="2550584" y="336550"/>
                  <a:pt x="2645833" y="323145"/>
                  <a:pt x="2679700" y="297745"/>
                </a:cubicBezTo>
                <a:cubicBezTo>
                  <a:pt x="2713567" y="272345"/>
                  <a:pt x="2719917" y="217311"/>
                  <a:pt x="2688167" y="200378"/>
                </a:cubicBezTo>
                <a:cubicBezTo>
                  <a:pt x="2656417" y="183445"/>
                  <a:pt x="2556228" y="193323"/>
                  <a:pt x="2489200" y="196145"/>
                </a:cubicBezTo>
                <a:cubicBezTo>
                  <a:pt x="2422172" y="198967"/>
                  <a:pt x="2381956" y="194733"/>
                  <a:pt x="2286000" y="217311"/>
                </a:cubicBezTo>
                <a:cubicBezTo>
                  <a:pt x="2190045" y="239889"/>
                  <a:pt x="1972734" y="321733"/>
                  <a:pt x="1913467" y="331611"/>
                </a:cubicBezTo>
                <a:cubicBezTo>
                  <a:pt x="1854200" y="341489"/>
                  <a:pt x="1885950" y="302684"/>
                  <a:pt x="1930400" y="276578"/>
                </a:cubicBezTo>
                <a:cubicBezTo>
                  <a:pt x="1974850" y="250473"/>
                  <a:pt x="2108200" y="202495"/>
                  <a:pt x="2180167" y="174978"/>
                </a:cubicBezTo>
                <a:cubicBezTo>
                  <a:pt x="2252134" y="147461"/>
                  <a:pt x="2335389" y="138995"/>
                  <a:pt x="2362200" y="111478"/>
                </a:cubicBezTo>
                <a:cubicBezTo>
                  <a:pt x="2389011" y="83961"/>
                  <a:pt x="2402417" y="19756"/>
                  <a:pt x="2341034" y="9878"/>
                </a:cubicBezTo>
                <a:cubicBezTo>
                  <a:pt x="2279651" y="0"/>
                  <a:pt x="2096206" y="26106"/>
                  <a:pt x="1993900" y="52211"/>
                </a:cubicBezTo>
                <a:cubicBezTo>
                  <a:pt x="1891594" y="78317"/>
                  <a:pt x="1818217" y="136878"/>
                  <a:pt x="1727200" y="166511"/>
                </a:cubicBezTo>
                <a:cubicBezTo>
                  <a:pt x="1636183" y="196144"/>
                  <a:pt x="1550202" y="196633"/>
                  <a:pt x="1447800" y="230011"/>
                </a:cubicBezTo>
                <a:cubicBezTo>
                  <a:pt x="1345398" y="263390"/>
                  <a:pt x="1210861" y="317393"/>
                  <a:pt x="1112789" y="366782"/>
                </a:cubicBezTo>
                <a:cubicBezTo>
                  <a:pt x="1014717" y="416171"/>
                  <a:pt x="1044126" y="491990"/>
                  <a:pt x="859367" y="526345"/>
                </a:cubicBezTo>
                <a:cubicBezTo>
                  <a:pt x="674608" y="560700"/>
                  <a:pt x="158751" y="508000"/>
                  <a:pt x="4234" y="572911"/>
                </a:cubicBezTo>
                <a:cubicBezTo>
                  <a:pt x="8467" y="798688"/>
                  <a:pt x="0" y="1226962"/>
                  <a:pt x="4234" y="1402645"/>
                </a:cubicBezTo>
                <a:close/>
              </a:path>
            </a:pathLst>
          </a:custGeom>
          <a:solidFill>
            <a:srgbClr val="10253F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n-US">
              <a:latin typeface="Arial" charset="0"/>
              <a:ea typeface="ＭＳ Ｐゴシック" charset="-128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0" y="1736813"/>
            <a:ext cx="3779912" cy="3825788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latin typeface="Calibri" charset="0"/>
              <a:ea typeface="ＭＳ Ｐゴシック" charset="-128"/>
            </a:endParaRPr>
          </a:p>
        </p:txBody>
      </p:sp>
      <p:sp>
        <p:nvSpPr>
          <p:cNvPr id="29" name="Rektangel 76"/>
          <p:cNvSpPr>
            <a:spLocks noChangeArrowheads="1"/>
          </p:cNvSpPr>
          <p:nvPr/>
        </p:nvSpPr>
        <p:spPr bwMode="auto">
          <a:xfrm>
            <a:off x="395536" y="4304129"/>
            <a:ext cx="273062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/>
            <a:r>
              <a:rPr lang="en-US" sz="1400" dirty="0">
                <a:solidFill>
                  <a:schemeClr val="bg1"/>
                </a:solidFill>
              </a:rPr>
              <a:t>To give emotional support</a:t>
            </a:r>
            <a:endParaRPr lang="ka-GE" sz="1400" dirty="0">
              <a:solidFill>
                <a:schemeClr val="bg1"/>
              </a:solidFill>
            </a:endParaRPr>
          </a:p>
        </p:txBody>
      </p:sp>
      <p:grpSp>
        <p:nvGrpSpPr>
          <p:cNvPr id="30" name="Group 19"/>
          <p:cNvGrpSpPr>
            <a:grpSpLocks/>
          </p:cNvGrpSpPr>
          <p:nvPr/>
        </p:nvGrpSpPr>
        <p:grpSpPr bwMode="auto">
          <a:xfrm>
            <a:off x="37065" y="4329142"/>
            <a:ext cx="277536" cy="250825"/>
            <a:chOff x="530225" y="5016500"/>
            <a:chExt cx="393700" cy="393700"/>
          </a:xfrm>
        </p:grpSpPr>
        <p:sp>
          <p:nvSpPr>
            <p:cNvPr id="31" name="Oval 19"/>
            <p:cNvSpPr>
              <a:spLocks noChangeArrowheads="1"/>
            </p:cNvSpPr>
            <p:nvPr/>
          </p:nvSpPr>
          <p:spPr bwMode="auto">
            <a:xfrm>
              <a:off x="530225" y="5016500"/>
              <a:ext cx="393700" cy="393700"/>
            </a:xfrm>
            <a:prstGeom prst="ellips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 lang="en-US" sz="18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32" name="Isosceles Triangle 20"/>
            <p:cNvSpPr>
              <a:spLocks noChangeArrowheads="1"/>
            </p:cNvSpPr>
            <p:nvPr/>
          </p:nvSpPr>
          <p:spPr bwMode="auto">
            <a:xfrm rot="5400000">
              <a:off x="634879" y="5111187"/>
              <a:ext cx="234227" cy="204325"/>
            </a:xfrm>
            <a:prstGeom prst="triangle">
              <a:avLst>
                <a:gd name="adj" fmla="val 50000"/>
              </a:avLst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en-US" sz="1800">
                <a:solidFill>
                  <a:srgbClr val="353637"/>
                </a:solidFill>
                <a:latin typeface="Calibri" pitchFamily="34" charset="0"/>
              </a:endParaRPr>
            </a:p>
          </p:txBody>
        </p:sp>
      </p:grpSp>
      <p:sp>
        <p:nvSpPr>
          <p:cNvPr id="33" name="Rektangel 76"/>
          <p:cNvSpPr>
            <a:spLocks noChangeArrowheads="1"/>
          </p:cNvSpPr>
          <p:nvPr/>
        </p:nvSpPr>
        <p:spPr bwMode="auto">
          <a:xfrm>
            <a:off x="349403" y="3610280"/>
            <a:ext cx="343051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/>
            <a:r>
              <a:rPr lang="en-US" sz="1400" dirty="0">
                <a:solidFill>
                  <a:schemeClr val="bg1"/>
                </a:solidFill>
              </a:rPr>
              <a:t>To protect the interests of the witnesses and victims associated with criminal law</a:t>
            </a:r>
            <a:endParaRPr lang="ka-GE" sz="1400" dirty="0">
              <a:solidFill>
                <a:schemeClr val="bg1"/>
              </a:solidFill>
            </a:endParaRPr>
          </a:p>
        </p:txBody>
      </p:sp>
      <p:grpSp>
        <p:nvGrpSpPr>
          <p:cNvPr id="34" name="Group 19"/>
          <p:cNvGrpSpPr>
            <a:grpSpLocks/>
          </p:cNvGrpSpPr>
          <p:nvPr/>
        </p:nvGrpSpPr>
        <p:grpSpPr bwMode="auto">
          <a:xfrm>
            <a:off x="35496" y="3766081"/>
            <a:ext cx="277536" cy="250825"/>
            <a:chOff x="530225" y="5016500"/>
            <a:chExt cx="393700" cy="393700"/>
          </a:xfrm>
        </p:grpSpPr>
        <p:sp>
          <p:nvSpPr>
            <p:cNvPr id="35" name="Oval 23"/>
            <p:cNvSpPr>
              <a:spLocks noChangeArrowheads="1"/>
            </p:cNvSpPr>
            <p:nvPr/>
          </p:nvSpPr>
          <p:spPr bwMode="auto">
            <a:xfrm>
              <a:off x="530225" y="5016500"/>
              <a:ext cx="393700" cy="393700"/>
            </a:xfrm>
            <a:prstGeom prst="ellips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 lang="en-US" sz="18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36" name="Isosceles Triangle 24"/>
            <p:cNvSpPr>
              <a:spLocks noChangeArrowheads="1"/>
            </p:cNvSpPr>
            <p:nvPr/>
          </p:nvSpPr>
          <p:spPr bwMode="auto">
            <a:xfrm rot="5400000">
              <a:off x="634879" y="5111187"/>
              <a:ext cx="234227" cy="204325"/>
            </a:xfrm>
            <a:prstGeom prst="triangle">
              <a:avLst>
                <a:gd name="adj" fmla="val 50000"/>
              </a:avLst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en-US" sz="1800">
                <a:solidFill>
                  <a:srgbClr val="353637"/>
                </a:solidFill>
                <a:latin typeface="Calibri" pitchFamily="34" charset="0"/>
              </a:endParaRPr>
            </a:p>
          </p:txBody>
        </p:sp>
      </p:grpSp>
      <p:sp>
        <p:nvSpPr>
          <p:cNvPr id="28" name="TextBox 54"/>
          <p:cNvSpPr txBox="1">
            <a:spLocks noChangeArrowheads="1"/>
          </p:cNvSpPr>
          <p:nvPr/>
        </p:nvSpPr>
        <p:spPr bwMode="auto">
          <a:xfrm>
            <a:off x="35496" y="1772816"/>
            <a:ext cx="339358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/>
            <a:r>
              <a:rPr lang="en-US" sz="1400" b="1" dirty="0">
                <a:solidFill>
                  <a:schemeClr val="bg1"/>
                </a:solidFill>
                <a:latin typeface="Arial" charset="0"/>
                <a:ea typeface="+mn-ea"/>
              </a:rPr>
              <a:t>The Witness and Victim Coordinator Service</a:t>
            </a:r>
            <a:endParaRPr lang="ka-GE" sz="1400" b="1" dirty="0">
              <a:solidFill>
                <a:schemeClr val="bg1"/>
              </a:solidFill>
              <a:latin typeface="Arial" charset="0"/>
              <a:ea typeface="+mn-ea"/>
            </a:endParaRPr>
          </a:p>
        </p:txBody>
      </p:sp>
      <p:sp>
        <p:nvSpPr>
          <p:cNvPr id="37" name="Rektangel 76"/>
          <p:cNvSpPr>
            <a:spLocks noChangeArrowheads="1"/>
          </p:cNvSpPr>
          <p:nvPr/>
        </p:nvSpPr>
        <p:spPr bwMode="auto">
          <a:xfrm>
            <a:off x="395536" y="4767535"/>
            <a:ext cx="301454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/>
            <a:r>
              <a:rPr lang="en-US" sz="1400" dirty="0">
                <a:solidFill>
                  <a:schemeClr val="bg1"/>
                </a:solidFill>
              </a:rPr>
              <a:t>To avoid secondary or reoccurring </a:t>
            </a:r>
            <a:r>
              <a:rPr lang="en-US" sz="1400" dirty="0" smtClean="0">
                <a:solidFill>
                  <a:schemeClr val="bg1"/>
                </a:solidFill>
              </a:rPr>
              <a:t>victimization.</a:t>
            </a:r>
            <a:endParaRPr lang="da-DK" sz="2400" dirty="0">
              <a:solidFill>
                <a:schemeClr val="bg1"/>
              </a:solidFill>
              <a:latin typeface="Calibri" pitchFamily="34" charset="0"/>
            </a:endParaRPr>
          </a:p>
        </p:txBody>
      </p:sp>
      <p:grpSp>
        <p:nvGrpSpPr>
          <p:cNvPr id="38" name="Group 19"/>
          <p:cNvGrpSpPr>
            <a:grpSpLocks/>
          </p:cNvGrpSpPr>
          <p:nvPr/>
        </p:nvGrpSpPr>
        <p:grpSpPr bwMode="auto">
          <a:xfrm>
            <a:off x="71866" y="4906367"/>
            <a:ext cx="277536" cy="250825"/>
            <a:chOff x="530225" y="5016500"/>
            <a:chExt cx="393700" cy="393700"/>
          </a:xfrm>
        </p:grpSpPr>
        <p:sp>
          <p:nvSpPr>
            <p:cNvPr id="39" name="Oval 19"/>
            <p:cNvSpPr>
              <a:spLocks noChangeArrowheads="1"/>
            </p:cNvSpPr>
            <p:nvPr/>
          </p:nvSpPr>
          <p:spPr bwMode="auto">
            <a:xfrm>
              <a:off x="530225" y="5016500"/>
              <a:ext cx="393700" cy="393700"/>
            </a:xfrm>
            <a:prstGeom prst="ellips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 lang="en-US" sz="18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40" name="Isosceles Triangle 20"/>
            <p:cNvSpPr>
              <a:spLocks noChangeArrowheads="1"/>
            </p:cNvSpPr>
            <p:nvPr/>
          </p:nvSpPr>
          <p:spPr bwMode="auto">
            <a:xfrm rot="5400000">
              <a:off x="634879" y="5111187"/>
              <a:ext cx="234227" cy="204325"/>
            </a:xfrm>
            <a:prstGeom prst="triangle">
              <a:avLst>
                <a:gd name="adj" fmla="val 50000"/>
              </a:avLst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en-US" sz="1800">
                <a:solidFill>
                  <a:srgbClr val="353637"/>
                </a:solidFill>
                <a:latin typeface="Calibri" pitchFamily="34" charset="0"/>
              </a:endParaRPr>
            </a:p>
          </p:txBody>
        </p:sp>
      </p:grpSp>
      <p:sp>
        <p:nvSpPr>
          <p:cNvPr id="45" name="Rektangel 76"/>
          <p:cNvSpPr>
            <a:spLocks noChangeArrowheads="1"/>
          </p:cNvSpPr>
          <p:nvPr/>
        </p:nvSpPr>
        <p:spPr bwMode="auto">
          <a:xfrm>
            <a:off x="35496" y="2296666"/>
            <a:ext cx="3744416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The functions of the witness and victim coordinator service of the Prosecutor's Office of Georgia have increased</a:t>
            </a:r>
            <a:endParaRPr lang="ka-GE" sz="1400" dirty="0">
              <a:solidFill>
                <a:schemeClr val="bg1"/>
              </a:solidFill>
            </a:endParaRPr>
          </a:p>
        </p:txBody>
      </p:sp>
      <p:sp>
        <p:nvSpPr>
          <p:cNvPr id="49" name="Rektangel 76"/>
          <p:cNvSpPr>
            <a:spLocks noChangeArrowheads="1"/>
          </p:cNvSpPr>
          <p:nvPr/>
        </p:nvSpPr>
        <p:spPr bwMode="auto">
          <a:xfrm>
            <a:off x="1049287" y="3111351"/>
            <a:ext cx="273062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en-US" sz="1400" b="1" dirty="0">
                <a:solidFill>
                  <a:schemeClr val="bg1"/>
                </a:solidFill>
              </a:rPr>
              <a:t>Main goals of the reforms:</a:t>
            </a:r>
            <a:endParaRPr lang="ka-G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7834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auto">
          <a:xfrm>
            <a:off x="0" y="4431506"/>
            <a:ext cx="9144000" cy="2426494"/>
          </a:xfrm>
          <a:prstGeom prst="rect">
            <a:avLst/>
          </a:prstGeom>
          <a:gradFill>
            <a:gsLst>
              <a:gs pos="24000">
                <a:schemeClr val="tx1">
                  <a:lumMod val="20000"/>
                  <a:lumOff val="80000"/>
                </a:schemeClr>
              </a:gs>
              <a:gs pos="100000">
                <a:schemeClr val="tx2">
                  <a:lumMod val="0"/>
                  <a:lumOff val="100000"/>
                  <a:alpha val="0"/>
                </a:schemeClr>
              </a:gs>
            </a:gsLst>
            <a:lin ang="16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5" name="Oval 14"/>
          <p:cNvSpPr/>
          <p:nvPr/>
        </p:nvSpPr>
        <p:spPr>
          <a:xfrm>
            <a:off x="2267744" y="1270350"/>
            <a:ext cx="5040560" cy="4752528"/>
          </a:xfrm>
          <a:prstGeom prst="ellipse">
            <a:avLst/>
          </a:prstGeom>
          <a:blipFill dpi="0" rotWithShape="1">
            <a:blip r:embed="rId2">
              <a:alphaModFix amt="1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oup 9"/>
          <p:cNvGrpSpPr/>
          <p:nvPr/>
        </p:nvGrpSpPr>
        <p:grpSpPr>
          <a:xfrm>
            <a:off x="0" y="0"/>
            <a:ext cx="1475656" cy="1268760"/>
            <a:chOff x="0" y="0"/>
            <a:chExt cx="1475656" cy="126876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475656" cy="10527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/>
            <p:cNvSpPr/>
            <p:nvPr/>
          </p:nvSpPr>
          <p:spPr>
            <a:xfrm>
              <a:off x="251520" y="44624"/>
              <a:ext cx="936104" cy="936104"/>
            </a:xfrm>
            <a:prstGeom prst="ellipse">
              <a:avLst/>
            </a:prstGeom>
            <a:blipFill>
              <a:blip r:embed="rId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0" y="1052736"/>
              <a:ext cx="1475656" cy="2160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4705672" y="1252701"/>
            <a:ext cx="2425700" cy="3130550"/>
            <a:chOff x="4267200" y="831850"/>
            <a:chExt cx="2425700" cy="3130550"/>
          </a:xfr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grpSpPr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4308475" y="864837"/>
              <a:ext cx="2343150" cy="455524"/>
            </a:xfrm>
            <a:custGeom>
              <a:avLst/>
              <a:gdLst/>
              <a:ahLst/>
              <a:cxnLst>
                <a:cxn ang="0">
                  <a:pos x="1492" y="77"/>
                </a:cxn>
                <a:cxn ang="0">
                  <a:pos x="1276" y="0"/>
                </a:cxn>
                <a:cxn ang="0">
                  <a:pos x="0" y="180"/>
                </a:cxn>
                <a:cxn ang="0">
                  <a:pos x="129" y="296"/>
                </a:cxn>
                <a:cxn ang="0">
                  <a:pos x="1492" y="77"/>
                </a:cxn>
              </a:cxnLst>
              <a:rect l="0" t="0" r="r" b="b"/>
              <a:pathLst>
                <a:path w="1492" h="296">
                  <a:moveTo>
                    <a:pt x="1492" y="77"/>
                  </a:moveTo>
                  <a:lnTo>
                    <a:pt x="1276" y="0"/>
                  </a:lnTo>
                  <a:lnTo>
                    <a:pt x="0" y="180"/>
                  </a:lnTo>
                  <a:lnTo>
                    <a:pt x="129" y="296"/>
                  </a:lnTo>
                  <a:lnTo>
                    <a:pt x="1492" y="77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-109" charset="0"/>
                <a:ea typeface="ＭＳ Ｐゴシック" pitchFamily="-109" charset="-128"/>
                <a:cs typeface="ＭＳ Ｐゴシック" pitchFamily="-109" charset="-128"/>
              </a:endParaRPr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4267200" y="1105164"/>
              <a:ext cx="498475" cy="2857236"/>
            </a:xfrm>
            <a:custGeom>
              <a:avLst/>
              <a:gdLst>
                <a:gd name="T0" fmla="*/ 0 w 317"/>
                <a:gd name="T1" fmla="*/ 0 h 1856"/>
                <a:gd name="T2" fmla="*/ 0 w 317"/>
                <a:gd name="T3" fmla="*/ 2147483647 h 1856"/>
                <a:gd name="T4" fmla="*/ 0 w 317"/>
                <a:gd name="T5" fmla="*/ 2147483647 h 1856"/>
                <a:gd name="T6" fmla="*/ 2147483647 w 317"/>
                <a:gd name="T7" fmla="*/ 2147483647 h 1856"/>
                <a:gd name="T8" fmla="*/ 2147483647 w 317"/>
                <a:gd name="T9" fmla="*/ 2147483647 h 1856"/>
                <a:gd name="T10" fmla="*/ 2147483647 w 317"/>
                <a:gd name="T11" fmla="*/ 2147483647 h 1856"/>
                <a:gd name="T12" fmla="*/ 2147483647 w 317"/>
                <a:gd name="T13" fmla="*/ 2147483647 h 1856"/>
                <a:gd name="T14" fmla="*/ 2147483647 w 317"/>
                <a:gd name="T15" fmla="*/ 2147483647 h 1856"/>
                <a:gd name="T16" fmla="*/ 2147483647 w 317"/>
                <a:gd name="T17" fmla="*/ 2147483647 h 1856"/>
                <a:gd name="T18" fmla="*/ 2147483647 w 317"/>
                <a:gd name="T19" fmla="*/ 2147483647 h 1856"/>
                <a:gd name="T20" fmla="*/ 2147483647 w 317"/>
                <a:gd name="T21" fmla="*/ 2147483647 h 1856"/>
                <a:gd name="T22" fmla="*/ 2147483647 w 317"/>
                <a:gd name="T23" fmla="*/ 2147483647 h 1856"/>
                <a:gd name="T24" fmla="*/ 2147483647 w 317"/>
                <a:gd name="T25" fmla="*/ 2147483647 h 1856"/>
                <a:gd name="T26" fmla="*/ 2147483647 w 317"/>
                <a:gd name="T27" fmla="*/ 2147483647 h 1856"/>
                <a:gd name="T28" fmla="*/ 2147483647 w 317"/>
                <a:gd name="T29" fmla="*/ 2147483647 h 1856"/>
                <a:gd name="T30" fmla="*/ 2147483647 w 317"/>
                <a:gd name="T31" fmla="*/ 2147483647 h 1856"/>
                <a:gd name="T32" fmla="*/ 2147483647 w 317"/>
                <a:gd name="T33" fmla="*/ 2147483647 h 1856"/>
                <a:gd name="T34" fmla="*/ 2147483647 w 317"/>
                <a:gd name="T35" fmla="*/ 2147483647 h 1856"/>
                <a:gd name="T36" fmla="*/ 2147483647 w 317"/>
                <a:gd name="T37" fmla="*/ 2147483647 h 1856"/>
                <a:gd name="T38" fmla="*/ 2147483647 w 317"/>
                <a:gd name="T39" fmla="*/ 2147483647 h 1856"/>
                <a:gd name="T40" fmla="*/ 2147483647 w 317"/>
                <a:gd name="T41" fmla="*/ 2147483647 h 1856"/>
                <a:gd name="T42" fmla="*/ 2147483647 w 317"/>
                <a:gd name="T43" fmla="*/ 2147483647 h 1856"/>
                <a:gd name="T44" fmla="*/ 2147483647 w 317"/>
                <a:gd name="T45" fmla="*/ 2147483647 h 1856"/>
                <a:gd name="T46" fmla="*/ 2147483647 w 317"/>
                <a:gd name="T47" fmla="*/ 2147483647 h 1856"/>
                <a:gd name="T48" fmla="*/ 2147483647 w 317"/>
                <a:gd name="T49" fmla="*/ 2147483647 h 1856"/>
                <a:gd name="T50" fmla="*/ 2147483647 w 317"/>
                <a:gd name="T51" fmla="*/ 2147483647 h 1856"/>
                <a:gd name="T52" fmla="*/ 2147483647 w 317"/>
                <a:gd name="T53" fmla="*/ 2147483647 h 1856"/>
                <a:gd name="T54" fmla="*/ 2147483647 w 317"/>
                <a:gd name="T55" fmla="*/ 2147483647 h 1856"/>
                <a:gd name="T56" fmla="*/ 0 w 317"/>
                <a:gd name="T57" fmla="*/ 0 h 1856"/>
                <a:gd name="T58" fmla="*/ 0 w 317"/>
                <a:gd name="T59" fmla="*/ 0 h 18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17"/>
                <a:gd name="T91" fmla="*/ 0 h 1856"/>
                <a:gd name="T92" fmla="*/ 317 w 317"/>
                <a:gd name="T93" fmla="*/ 1856 h 185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17" h="1856">
                  <a:moveTo>
                    <a:pt x="0" y="0"/>
                  </a:moveTo>
                  <a:lnTo>
                    <a:pt x="0" y="1722"/>
                  </a:lnTo>
                  <a:lnTo>
                    <a:pt x="3" y="1730"/>
                  </a:lnTo>
                  <a:lnTo>
                    <a:pt x="10" y="1748"/>
                  </a:lnTo>
                  <a:lnTo>
                    <a:pt x="26" y="1771"/>
                  </a:lnTo>
                  <a:lnTo>
                    <a:pt x="39" y="1786"/>
                  </a:lnTo>
                  <a:lnTo>
                    <a:pt x="54" y="1799"/>
                  </a:lnTo>
                  <a:lnTo>
                    <a:pt x="72" y="1812"/>
                  </a:lnTo>
                  <a:lnTo>
                    <a:pt x="93" y="1825"/>
                  </a:lnTo>
                  <a:lnTo>
                    <a:pt x="119" y="1835"/>
                  </a:lnTo>
                  <a:lnTo>
                    <a:pt x="149" y="1846"/>
                  </a:lnTo>
                  <a:lnTo>
                    <a:pt x="183" y="1851"/>
                  </a:lnTo>
                  <a:lnTo>
                    <a:pt x="224" y="1856"/>
                  </a:lnTo>
                  <a:lnTo>
                    <a:pt x="268" y="1853"/>
                  </a:lnTo>
                  <a:lnTo>
                    <a:pt x="317" y="1851"/>
                  </a:lnTo>
                  <a:lnTo>
                    <a:pt x="317" y="82"/>
                  </a:lnTo>
                  <a:lnTo>
                    <a:pt x="289" y="88"/>
                  </a:lnTo>
                  <a:lnTo>
                    <a:pt x="255" y="93"/>
                  </a:lnTo>
                  <a:lnTo>
                    <a:pt x="214" y="93"/>
                  </a:lnTo>
                  <a:lnTo>
                    <a:pt x="188" y="90"/>
                  </a:lnTo>
                  <a:lnTo>
                    <a:pt x="165" y="88"/>
                  </a:lnTo>
                  <a:lnTo>
                    <a:pt x="137" y="80"/>
                  </a:lnTo>
                  <a:lnTo>
                    <a:pt x="111" y="72"/>
                  </a:lnTo>
                  <a:lnTo>
                    <a:pt x="82" y="59"/>
                  </a:lnTo>
                  <a:lnTo>
                    <a:pt x="57" y="44"/>
                  </a:lnTo>
                  <a:lnTo>
                    <a:pt x="28" y="2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50000">
                  <a:srgbClr val="92D050"/>
                </a:gs>
                <a:gs pos="0">
                  <a:srgbClr val="00B050"/>
                </a:gs>
                <a:gs pos="100000">
                  <a:schemeClr val="accent3">
                    <a:lumMod val="40000"/>
                    <a:lumOff val="60000"/>
                  </a:schemeClr>
                </a:gs>
              </a:gsLst>
              <a:lin ang="0" scaled="1"/>
              <a:tileRect/>
            </a:gradFill>
            <a:ln w="952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-109" charset="0"/>
                <a:ea typeface="ＭＳ Ｐゴシック" pitchFamily="-109" charset="-128"/>
                <a:cs typeface="ＭＳ Ｐゴシック" pitchFamily="-109" charset="-128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4765675" y="977932"/>
              <a:ext cx="1927225" cy="2976614"/>
            </a:xfrm>
            <a:custGeom>
              <a:avLst/>
              <a:gdLst>
                <a:gd name="T0" fmla="*/ 0 w 1227"/>
                <a:gd name="T1" fmla="*/ 2147483647 h 1934"/>
                <a:gd name="T2" fmla="*/ 2147483647 w 1227"/>
                <a:gd name="T3" fmla="*/ 0 h 1934"/>
                <a:gd name="T4" fmla="*/ 2147483647 w 1227"/>
                <a:gd name="T5" fmla="*/ 2147483647 h 1934"/>
                <a:gd name="T6" fmla="*/ 0 w 1227"/>
                <a:gd name="T7" fmla="*/ 2147483647 h 1934"/>
                <a:gd name="T8" fmla="*/ 0 w 1227"/>
                <a:gd name="T9" fmla="*/ 2147483647 h 19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27"/>
                <a:gd name="T16" fmla="*/ 0 h 1934"/>
                <a:gd name="T17" fmla="*/ 1227 w 1227"/>
                <a:gd name="T18" fmla="*/ 1934 h 19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27" h="1934">
                  <a:moveTo>
                    <a:pt x="0" y="165"/>
                  </a:moveTo>
                  <a:lnTo>
                    <a:pt x="1227" y="0"/>
                  </a:lnTo>
                  <a:lnTo>
                    <a:pt x="1227" y="1686"/>
                  </a:lnTo>
                  <a:lnTo>
                    <a:pt x="0" y="1934"/>
                  </a:lnTo>
                  <a:lnTo>
                    <a:pt x="0" y="165"/>
                  </a:lnTo>
                  <a:close/>
                </a:path>
              </a:pathLst>
            </a:custGeom>
            <a:gradFill flip="none" rotWithShape="1">
              <a:gsLst>
                <a:gs pos="50000">
                  <a:srgbClr val="00B050"/>
                </a:gs>
                <a:gs pos="0">
                  <a:srgbClr val="92D050"/>
                </a:gs>
                <a:gs pos="100000">
                  <a:srgbClr val="92D050"/>
                </a:gs>
              </a:gsLst>
              <a:path path="circle">
                <a:fillToRect t="100000" r="100000"/>
              </a:path>
              <a:tileRect l="-100000" b="-100000"/>
            </a:gradFill>
            <a:ln w="9525">
              <a:solidFill>
                <a:schemeClr val="tx1">
                  <a:lumMod val="85000"/>
                  <a:lumOff val="1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-109" charset="0"/>
                <a:ea typeface="ＭＳ Ｐゴシック" pitchFamily="-109" charset="-128"/>
                <a:cs typeface="ＭＳ Ｐゴシック" pitchFamily="-109" charset="-128"/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4267200" y="831850"/>
              <a:ext cx="2046287" cy="309443"/>
            </a:xfrm>
            <a:custGeom>
              <a:avLst/>
              <a:gdLst>
                <a:gd name="T0" fmla="*/ 0 w 1302"/>
                <a:gd name="T1" fmla="*/ 2147483647 h 201"/>
                <a:gd name="T2" fmla="*/ 2147483647 w 1302"/>
                <a:gd name="T3" fmla="*/ 0 h 201"/>
                <a:gd name="T4" fmla="*/ 2147483647 w 1302"/>
                <a:gd name="T5" fmla="*/ 2147483647 h 201"/>
                <a:gd name="T6" fmla="*/ 2147483647 w 1302"/>
                <a:gd name="T7" fmla="*/ 2147483647 h 201"/>
                <a:gd name="T8" fmla="*/ 0 w 1302"/>
                <a:gd name="T9" fmla="*/ 2147483647 h 20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02"/>
                <a:gd name="T16" fmla="*/ 0 h 201"/>
                <a:gd name="T17" fmla="*/ 1302 w 1302"/>
                <a:gd name="T18" fmla="*/ 201 h 20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02" h="201">
                  <a:moveTo>
                    <a:pt x="0" y="178"/>
                  </a:moveTo>
                  <a:lnTo>
                    <a:pt x="1302" y="0"/>
                  </a:lnTo>
                  <a:lnTo>
                    <a:pt x="1302" y="21"/>
                  </a:lnTo>
                  <a:lnTo>
                    <a:pt x="26" y="201"/>
                  </a:lnTo>
                  <a:lnTo>
                    <a:pt x="0" y="178"/>
                  </a:lnTo>
                  <a:close/>
                </a:path>
              </a:pathLst>
            </a:custGeom>
            <a:gradFill rotWithShape="0">
              <a:gsLst>
                <a:gs pos="50000">
                  <a:srgbClr val="92D050"/>
                </a:gs>
                <a:gs pos="0">
                  <a:srgbClr val="00B050"/>
                </a:gs>
                <a:gs pos="100000">
                  <a:schemeClr val="accent3">
                    <a:lumMod val="40000"/>
                    <a:lumOff val="60000"/>
                  </a:schemeClr>
                </a:gs>
              </a:gsLst>
              <a:lin ang="2700000" scaled="1"/>
            </a:gradFill>
            <a:ln w="952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-109" charset="0"/>
                <a:ea typeface="ＭＳ Ｐゴシック" pitchFamily="-109" charset="-128"/>
                <a:cs typeface="ＭＳ Ｐゴシック" pitchFamily="-109" charset="-128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5315272" y="1868651"/>
            <a:ext cx="2693988" cy="3396862"/>
            <a:chOff x="4876800" y="1447800"/>
            <a:chExt cx="2693988" cy="3396862"/>
          </a:xfr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grpSpPr>
        <p:grpSp>
          <p:nvGrpSpPr>
            <p:cNvPr id="20" name="Group 19"/>
            <p:cNvGrpSpPr/>
            <p:nvPr/>
          </p:nvGrpSpPr>
          <p:grpSpPr>
            <a:xfrm>
              <a:off x="4876800" y="1482757"/>
              <a:ext cx="2647949" cy="3361905"/>
              <a:chOff x="4876800" y="1482757"/>
              <a:chExt cx="2647949" cy="3361905"/>
            </a:xfrm>
          </p:grpSpPr>
          <p:sp>
            <p:nvSpPr>
              <p:cNvPr id="23" name="Freeform 9"/>
              <p:cNvSpPr>
                <a:spLocks/>
              </p:cNvSpPr>
              <p:nvPr/>
            </p:nvSpPr>
            <p:spPr bwMode="auto">
              <a:xfrm>
                <a:off x="4922838" y="1482757"/>
                <a:ext cx="2601911" cy="493950"/>
              </a:xfrm>
              <a:custGeom>
                <a:avLst/>
                <a:gdLst/>
                <a:ahLst/>
                <a:cxnLst>
                  <a:cxn ang="0">
                    <a:pos x="1492" y="77"/>
                  </a:cxn>
                  <a:cxn ang="0">
                    <a:pos x="1276" y="0"/>
                  </a:cxn>
                  <a:cxn ang="0">
                    <a:pos x="0" y="180"/>
                  </a:cxn>
                  <a:cxn ang="0">
                    <a:pos x="129" y="296"/>
                  </a:cxn>
                  <a:cxn ang="0">
                    <a:pos x="1492" y="77"/>
                  </a:cxn>
                </a:cxnLst>
                <a:rect l="0" t="0" r="r" b="b"/>
                <a:pathLst>
                  <a:path w="1492" h="296">
                    <a:moveTo>
                      <a:pt x="1492" y="77"/>
                    </a:moveTo>
                    <a:lnTo>
                      <a:pt x="1276" y="0"/>
                    </a:lnTo>
                    <a:lnTo>
                      <a:pt x="0" y="180"/>
                    </a:lnTo>
                    <a:lnTo>
                      <a:pt x="129" y="296"/>
                    </a:lnTo>
                    <a:lnTo>
                      <a:pt x="1492" y="77"/>
                    </a:lnTo>
                    <a:close/>
                  </a:path>
                </a:pathLst>
              </a:custGeom>
              <a:gradFill>
                <a:gsLst>
                  <a:gs pos="94170">
                    <a:schemeClr val="bg1"/>
                  </a:gs>
                  <a:gs pos="24000">
                    <a:schemeClr val="bg1"/>
                  </a:gs>
                  <a:gs pos="52000">
                    <a:schemeClr val="tx2">
                      <a:lumMod val="20000"/>
                      <a:lumOff val="80000"/>
                    </a:schemeClr>
                  </a:gs>
                  <a:gs pos="100000">
                    <a:schemeClr val="accent1">
                      <a:lumMod val="75000"/>
                    </a:schemeClr>
                  </a:gs>
                </a:gsLst>
                <a:lin ang="16200000" scaled="0"/>
              </a:gra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Arial" pitchFamily="-109" charset="0"/>
                  <a:ea typeface="ＭＳ Ｐゴシック" pitchFamily="-109" charset="-128"/>
                  <a:cs typeface="ＭＳ Ｐゴシック" pitchFamily="-109" charset="-128"/>
                </a:endParaRPr>
              </a:p>
            </p:txBody>
          </p:sp>
          <p:sp>
            <p:nvSpPr>
              <p:cNvPr id="24" name="Freeform 10"/>
              <p:cNvSpPr>
                <a:spLocks/>
              </p:cNvSpPr>
              <p:nvPr/>
            </p:nvSpPr>
            <p:spPr bwMode="auto">
              <a:xfrm>
                <a:off x="4876800" y="1745067"/>
                <a:ext cx="553105" cy="3099595"/>
              </a:xfrm>
              <a:custGeom>
                <a:avLst/>
                <a:gdLst>
                  <a:gd name="T0" fmla="*/ 0 w 317"/>
                  <a:gd name="T1" fmla="*/ 0 h 1856"/>
                  <a:gd name="T2" fmla="*/ 0 w 317"/>
                  <a:gd name="T3" fmla="*/ 2147483647 h 1856"/>
                  <a:gd name="T4" fmla="*/ 0 w 317"/>
                  <a:gd name="T5" fmla="*/ 2147483647 h 1856"/>
                  <a:gd name="T6" fmla="*/ 2147483647 w 317"/>
                  <a:gd name="T7" fmla="*/ 2147483647 h 1856"/>
                  <a:gd name="T8" fmla="*/ 2147483647 w 317"/>
                  <a:gd name="T9" fmla="*/ 2147483647 h 1856"/>
                  <a:gd name="T10" fmla="*/ 2147483647 w 317"/>
                  <a:gd name="T11" fmla="*/ 2147483647 h 1856"/>
                  <a:gd name="T12" fmla="*/ 2147483647 w 317"/>
                  <a:gd name="T13" fmla="*/ 2147483647 h 1856"/>
                  <a:gd name="T14" fmla="*/ 2147483647 w 317"/>
                  <a:gd name="T15" fmla="*/ 2147483647 h 1856"/>
                  <a:gd name="T16" fmla="*/ 2147483647 w 317"/>
                  <a:gd name="T17" fmla="*/ 2147483647 h 1856"/>
                  <a:gd name="T18" fmla="*/ 2147483647 w 317"/>
                  <a:gd name="T19" fmla="*/ 2147483647 h 1856"/>
                  <a:gd name="T20" fmla="*/ 2147483647 w 317"/>
                  <a:gd name="T21" fmla="*/ 2147483647 h 1856"/>
                  <a:gd name="T22" fmla="*/ 2147483647 w 317"/>
                  <a:gd name="T23" fmla="*/ 2147483647 h 1856"/>
                  <a:gd name="T24" fmla="*/ 2147483647 w 317"/>
                  <a:gd name="T25" fmla="*/ 2147483647 h 1856"/>
                  <a:gd name="T26" fmla="*/ 2147483647 w 317"/>
                  <a:gd name="T27" fmla="*/ 2147483647 h 1856"/>
                  <a:gd name="T28" fmla="*/ 2147483647 w 317"/>
                  <a:gd name="T29" fmla="*/ 2147483647 h 1856"/>
                  <a:gd name="T30" fmla="*/ 2147483647 w 317"/>
                  <a:gd name="T31" fmla="*/ 2147483647 h 1856"/>
                  <a:gd name="T32" fmla="*/ 2147483647 w 317"/>
                  <a:gd name="T33" fmla="*/ 2147483647 h 1856"/>
                  <a:gd name="T34" fmla="*/ 2147483647 w 317"/>
                  <a:gd name="T35" fmla="*/ 2147483647 h 1856"/>
                  <a:gd name="T36" fmla="*/ 2147483647 w 317"/>
                  <a:gd name="T37" fmla="*/ 2147483647 h 1856"/>
                  <a:gd name="T38" fmla="*/ 2147483647 w 317"/>
                  <a:gd name="T39" fmla="*/ 2147483647 h 1856"/>
                  <a:gd name="T40" fmla="*/ 2147483647 w 317"/>
                  <a:gd name="T41" fmla="*/ 2147483647 h 1856"/>
                  <a:gd name="T42" fmla="*/ 2147483647 w 317"/>
                  <a:gd name="T43" fmla="*/ 2147483647 h 1856"/>
                  <a:gd name="T44" fmla="*/ 2147483647 w 317"/>
                  <a:gd name="T45" fmla="*/ 2147483647 h 1856"/>
                  <a:gd name="T46" fmla="*/ 2147483647 w 317"/>
                  <a:gd name="T47" fmla="*/ 2147483647 h 1856"/>
                  <a:gd name="T48" fmla="*/ 2147483647 w 317"/>
                  <a:gd name="T49" fmla="*/ 2147483647 h 1856"/>
                  <a:gd name="T50" fmla="*/ 2147483647 w 317"/>
                  <a:gd name="T51" fmla="*/ 2147483647 h 1856"/>
                  <a:gd name="T52" fmla="*/ 2147483647 w 317"/>
                  <a:gd name="T53" fmla="*/ 2147483647 h 1856"/>
                  <a:gd name="T54" fmla="*/ 2147483647 w 317"/>
                  <a:gd name="T55" fmla="*/ 2147483647 h 1856"/>
                  <a:gd name="T56" fmla="*/ 0 w 317"/>
                  <a:gd name="T57" fmla="*/ 0 h 1856"/>
                  <a:gd name="T58" fmla="*/ 0 w 317"/>
                  <a:gd name="T59" fmla="*/ 0 h 185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317"/>
                  <a:gd name="T91" fmla="*/ 0 h 1856"/>
                  <a:gd name="T92" fmla="*/ 317 w 317"/>
                  <a:gd name="T93" fmla="*/ 1856 h 185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317" h="1856">
                    <a:moveTo>
                      <a:pt x="0" y="0"/>
                    </a:moveTo>
                    <a:lnTo>
                      <a:pt x="0" y="1722"/>
                    </a:lnTo>
                    <a:lnTo>
                      <a:pt x="3" y="1730"/>
                    </a:lnTo>
                    <a:lnTo>
                      <a:pt x="10" y="1748"/>
                    </a:lnTo>
                    <a:lnTo>
                      <a:pt x="26" y="1771"/>
                    </a:lnTo>
                    <a:lnTo>
                      <a:pt x="39" y="1786"/>
                    </a:lnTo>
                    <a:lnTo>
                      <a:pt x="54" y="1799"/>
                    </a:lnTo>
                    <a:lnTo>
                      <a:pt x="72" y="1812"/>
                    </a:lnTo>
                    <a:lnTo>
                      <a:pt x="93" y="1825"/>
                    </a:lnTo>
                    <a:lnTo>
                      <a:pt x="119" y="1835"/>
                    </a:lnTo>
                    <a:lnTo>
                      <a:pt x="149" y="1846"/>
                    </a:lnTo>
                    <a:lnTo>
                      <a:pt x="183" y="1851"/>
                    </a:lnTo>
                    <a:lnTo>
                      <a:pt x="224" y="1856"/>
                    </a:lnTo>
                    <a:lnTo>
                      <a:pt x="268" y="1853"/>
                    </a:lnTo>
                    <a:lnTo>
                      <a:pt x="317" y="1851"/>
                    </a:lnTo>
                    <a:lnTo>
                      <a:pt x="317" y="82"/>
                    </a:lnTo>
                    <a:lnTo>
                      <a:pt x="289" y="88"/>
                    </a:lnTo>
                    <a:lnTo>
                      <a:pt x="255" y="93"/>
                    </a:lnTo>
                    <a:lnTo>
                      <a:pt x="214" y="93"/>
                    </a:lnTo>
                    <a:lnTo>
                      <a:pt x="188" y="90"/>
                    </a:lnTo>
                    <a:lnTo>
                      <a:pt x="165" y="88"/>
                    </a:lnTo>
                    <a:lnTo>
                      <a:pt x="137" y="80"/>
                    </a:lnTo>
                    <a:lnTo>
                      <a:pt x="111" y="72"/>
                    </a:lnTo>
                    <a:lnTo>
                      <a:pt x="82" y="59"/>
                    </a:lnTo>
                    <a:lnTo>
                      <a:pt x="57" y="44"/>
                    </a:lnTo>
                    <a:lnTo>
                      <a:pt x="28" y="23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86000">
                    <a:schemeClr val="tx2">
                      <a:lumMod val="82000"/>
                    </a:schemeClr>
                  </a:gs>
                  <a:gs pos="24000">
                    <a:schemeClr val="tx2">
                      <a:lumMod val="97000"/>
                    </a:schemeClr>
                  </a:gs>
                  <a:gs pos="24000">
                    <a:schemeClr val="tx2">
                      <a:lumMod val="20000"/>
                      <a:lumOff val="80000"/>
                    </a:schemeClr>
                  </a:gs>
                  <a:gs pos="100000">
                    <a:schemeClr val="accent1">
                      <a:lumMod val="75000"/>
                    </a:schemeClr>
                  </a:gs>
                </a:gsLst>
                <a:lin ang="10800000" scaled="1"/>
                <a:tileRect/>
              </a:gra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1" name="Freeform 11"/>
            <p:cNvSpPr>
              <a:spLocks/>
            </p:cNvSpPr>
            <p:nvPr/>
          </p:nvSpPr>
          <p:spPr bwMode="auto">
            <a:xfrm>
              <a:off x="5429905" y="1606454"/>
              <a:ext cx="2140883" cy="3229858"/>
            </a:xfrm>
            <a:custGeom>
              <a:avLst/>
              <a:gdLst>
                <a:gd name="T0" fmla="*/ 0 w 1227"/>
                <a:gd name="T1" fmla="*/ 2147483647 h 1934"/>
                <a:gd name="T2" fmla="*/ 2147483647 w 1227"/>
                <a:gd name="T3" fmla="*/ 0 h 1934"/>
                <a:gd name="T4" fmla="*/ 2147483647 w 1227"/>
                <a:gd name="T5" fmla="*/ 2147483647 h 1934"/>
                <a:gd name="T6" fmla="*/ 0 w 1227"/>
                <a:gd name="T7" fmla="*/ 2147483647 h 1934"/>
                <a:gd name="T8" fmla="*/ 0 w 1227"/>
                <a:gd name="T9" fmla="*/ 2147483647 h 19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27"/>
                <a:gd name="T16" fmla="*/ 0 h 1934"/>
                <a:gd name="T17" fmla="*/ 1227 w 1227"/>
                <a:gd name="T18" fmla="*/ 1934 h 19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27" h="1934">
                  <a:moveTo>
                    <a:pt x="0" y="165"/>
                  </a:moveTo>
                  <a:lnTo>
                    <a:pt x="1227" y="0"/>
                  </a:lnTo>
                  <a:lnTo>
                    <a:pt x="1227" y="1686"/>
                  </a:lnTo>
                  <a:lnTo>
                    <a:pt x="0" y="1934"/>
                  </a:lnTo>
                  <a:lnTo>
                    <a:pt x="0" y="165"/>
                  </a:lnTo>
                  <a:close/>
                </a:path>
              </a:pathLst>
            </a:custGeom>
            <a:gradFill flip="none" rotWithShape="1">
              <a:gsLst>
                <a:gs pos="94170">
                  <a:schemeClr val="tx2">
                    <a:lumMod val="75000"/>
                  </a:schemeClr>
                </a:gs>
                <a:gs pos="24000">
                  <a:schemeClr val="tx2">
                    <a:lumMod val="97000"/>
                  </a:schemeClr>
                </a:gs>
                <a:gs pos="52000">
                  <a:schemeClr val="tx2">
                    <a:lumMod val="20000"/>
                    <a:lumOff val="80000"/>
                  </a:schemeClr>
                </a:gs>
                <a:gs pos="100000">
                  <a:schemeClr val="accent1">
                    <a:lumMod val="75000"/>
                  </a:schemeClr>
                </a:gs>
              </a:gsLst>
              <a:lin ang="8100000" scaled="1"/>
              <a:tileRect/>
            </a:gra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12"/>
            <p:cNvSpPr>
              <a:spLocks/>
            </p:cNvSpPr>
            <p:nvPr/>
          </p:nvSpPr>
          <p:spPr bwMode="auto">
            <a:xfrm>
              <a:off x="4876800" y="1447800"/>
              <a:ext cx="2271743" cy="335679"/>
            </a:xfrm>
            <a:custGeom>
              <a:avLst/>
              <a:gdLst>
                <a:gd name="T0" fmla="*/ 0 w 1302"/>
                <a:gd name="T1" fmla="*/ 2147483647 h 201"/>
                <a:gd name="T2" fmla="*/ 2147483647 w 1302"/>
                <a:gd name="T3" fmla="*/ 0 h 201"/>
                <a:gd name="T4" fmla="*/ 2147483647 w 1302"/>
                <a:gd name="T5" fmla="*/ 2147483647 h 201"/>
                <a:gd name="T6" fmla="*/ 2147483647 w 1302"/>
                <a:gd name="T7" fmla="*/ 2147483647 h 201"/>
                <a:gd name="T8" fmla="*/ 0 w 1302"/>
                <a:gd name="T9" fmla="*/ 2147483647 h 20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02"/>
                <a:gd name="T16" fmla="*/ 0 h 201"/>
                <a:gd name="T17" fmla="*/ 1302 w 1302"/>
                <a:gd name="T18" fmla="*/ 201 h 20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02" h="201">
                  <a:moveTo>
                    <a:pt x="0" y="178"/>
                  </a:moveTo>
                  <a:lnTo>
                    <a:pt x="1302" y="0"/>
                  </a:lnTo>
                  <a:lnTo>
                    <a:pt x="1302" y="21"/>
                  </a:lnTo>
                  <a:lnTo>
                    <a:pt x="26" y="201"/>
                  </a:lnTo>
                  <a:lnTo>
                    <a:pt x="0" y="178"/>
                  </a:lnTo>
                  <a:close/>
                </a:path>
              </a:pathLst>
            </a:custGeom>
            <a:gradFill>
              <a:gsLst>
                <a:gs pos="94170">
                  <a:schemeClr val="tx2">
                    <a:lumMod val="75000"/>
                  </a:schemeClr>
                </a:gs>
                <a:gs pos="24000">
                  <a:schemeClr val="tx2">
                    <a:lumMod val="97000"/>
                  </a:schemeClr>
                </a:gs>
                <a:gs pos="52000">
                  <a:schemeClr val="tx2">
                    <a:lumMod val="20000"/>
                    <a:lumOff val="80000"/>
                  </a:schemeClr>
                </a:gs>
                <a:gs pos="100000">
                  <a:schemeClr val="accent1">
                    <a:lumMod val="75000"/>
                  </a:schemeClr>
                </a:gs>
              </a:gsLst>
              <a:lin ang="16200000" scaled="0"/>
            </a:gra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5" name="Group 14"/>
          <p:cNvGrpSpPr>
            <a:grpSpLocks/>
          </p:cNvGrpSpPr>
          <p:nvPr/>
        </p:nvGrpSpPr>
        <p:grpSpPr bwMode="auto">
          <a:xfrm>
            <a:off x="6016947" y="2632129"/>
            <a:ext cx="2803525" cy="3351322"/>
            <a:chOff x="944562" y="687387"/>
            <a:chExt cx="2451101" cy="3228975"/>
          </a:xfr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grpSpPr>
        <p:sp>
          <p:nvSpPr>
            <p:cNvPr id="26" name="Freeform 9"/>
            <p:cNvSpPr>
              <a:spLocks/>
            </p:cNvSpPr>
            <p:nvPr/>
          </p:nvSpPr>
          <p:spPr bwMode="auto">
            <a:xfrm>
              <a:off x="986200" y="720704"/>
              <a:ext cx="2367825" cy="470603"/>
            </a:xfrm>
            <a:custGeom>
              <a:avLst/>
              <a:gdLst/>
              <a:ahLst/>
              <a:cxnLst>
                <a:cxn ang="0">
                  <a:pos x="1492" y="77"/>
                </a:cxn>
                <a:cxn ang="0">
                  <a:pos x="1276" y="0"/>
                </a:cxn>
                <a:cxn ang="0">
                  <a:pos x="0" y="180"/>
                </a:cxn>
                <a:cxn ang="0">
                  <a:pos x="129" y="296"/>
                </a:cxn>
                <a:cxn ang="0">
                  <a:pos x="1492" y="77"/>
                </a:cxn>
              </a:cxnLst>
              <a:rect l="0" t="0" r="r" b="b"/>
              <a:pathLst>
                <a:path w="1492" h="296">
                  <a:moveTo>
                    <a:pt x="1492" y="77"/>
                  </a:moveTo>
                  <a:lnTo>
                    <a:pt x="1276" y="0"/>
                  </a:lnTo>
                  <a:lnTo>
                    <a:pt x="0" y="180"/>
                  </a:lnTo>
                  <a:lnTo>
                    <a:pt x="129" y="296"/>
                  </a:lnTo>
                  <a:lnTo>
                    <a:pt x="1492" y="77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85000"/>
                  </a:schemeClr>
                </a:gs>
                <a:gs pos="93000">
                  <a:schemeClr val="bg1">
                    <a:lumMod val="95000"/>
                  </a:schemeClr>
                </a:gs>
              </a:gsLst>
              <a:lin ang="30000" scaled="0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-109" charset="0"/>
                <a:ea typeface="ＭＳ Ｐゴシック" pitchFamily="-109" charset="-128"/>
                <a:cs typeface="ＭＳ Ｐゴシック" pitchFamily="-109" charset="-128"/>
              </a:endParaRPr>
            </a:p>
          </p:txBody>
        </p:sp>
        <p:sp>
          <p:nvSpPr>
            <p:cNvPr id="27" name="Freeform 10"/>
            <p:cNvSpPr>
              <a:spLocks/>
            </p:cNvSpPr>
            <p:nvPr/>
          </p:nvSpPr>
          <p:spPr bwMode="auto">
            <a:xfrm>
              <a:off x="944562" y="969962"/>
              <a:ext cx="503238" cy="2946400"/>
            </a:xfrm>
            <a:custGeom>
              <a:avLst/>
              <a:gdLst>
                <a:gd name="T0" fmla="*/ 0 w 317"/>
                <a:gd name="T1" fmla="*/ 0 h 1856"/>
                <a:gd name="T2" fmla="*/ 0 w 317"/>
                <a:gd name="T3" fmla="*/ 2147483647 h 1856"/>
                <a:gd name="T4" fmla="*/ 0 w 317"/>
                <a:gd name="T5" fmla="*/ 2147483647 h 1856"/>
                <a:gd name="T6" fmla="*/ 2147483647 w 317"/>
                <a:gd name="T7" fmla="*/ 2147483647 h 1856"/>
                <a:gd name="T8" fmla="*/ 2147483647 w 317"/>
                <a:gd name="T9" fmla="*/ 2147483647 h 1856"/>
                <a:gd name="T10" fmla="*/ 2147483647 w 317"/>
                <a:gd name="T11" fmla="*/ 2147483647 h 1856"/>
                <a:gd name="T12" fmla="*/ 2147483647 w 317"/>
                <a:gd name="T13" fmla="*/ 2147483647 h 1856"/>
                <a:gd name="T14" fmla="*/ 2147483647 w 317"/>
                <a:gd name="T15" fmla="*/ 2147483647 h 1856"/>
                <a:gd name="T16" fmla="*/ 2147483647 w 317"/>
                <a:gd name="T17" fmla="*/ 2147483647 h 1856"/>
                <a:gd name="T18" fmla="*/ 2147483647 w 317"/>
                <a:gd name="T19" fmla="*/ 2147483647 h 1856"/>
                <a:gd name="T20" fmla="*/ 2147483647 w 317"/>
                <a:gd name="T21" fmla="*/ 2147483647 h 1856"/>
                <a:gd name="T22" fmla="*/ 2147483647 w 317"/>
                <a:gd name="T23" fmla="*/ 2147483647 h 1856"/>
                <a:gd name="T24" fmla="*/ 2147483647 w 317"/>
                <a:gd name="T25" fmla="*/ 2147483647 h 1856"/>
                <a:gd name="T26" fmla="*/ 2147483647 w 317"/>
                <a:gd name="T27" fmla="*/ 2147483647 h 1856"/>
                <a:gd name="T28" fmla="*/ 2147483647 w 317"/>
                <a:gd name="T29" fmla="*/ 2147483647 h 1856"/>
                <a:gd name="T30" fmla="*/ 2147483647 w 317"/>
                <a:gd name="T31" fmla="*/ 2147483647 h 1856"/>
                <a:gd name="T32" fmla="*/ 2147483647 w 317"/>
                <a:gd name="T33" fmla="*/ 2147483647 h 1856"/>
                <a:gd name="T34" fmla="*/ 2147483647 w 317"/>
                <a:gd name="T35" fmla="*/ 2147483647 h 1856"/>
                <a:gd name="T36" fmla="*/ 2147483647 w 317"/>
                <a:gd name="T37" fmla="*/ 2147483647 h 1856"/>
                <a:gd name="T38" fmla="*/ 2147483647 w 317"/>
                <a:gd name="T39" fmla="*/ 2147483647 h 1856"/>
                <a:gd name="T40" fmla="*/ 2147483647 w 317"/>
                <a:gd name="T41" fmla="*/ 2147483647 h 1856"/>
                <a:gd name="T42" fmla="*/ 2147483647 w 317"/>
                <a:gd name="T43" fmla="*/ 2147483647 h 1856"/>
                <a:gd name="T44" fmla="*/ 2147483647 w 317"/>
                <a:gd name="T45" fmla="*/ 2147483647 h 1856"/>
                <a:gd name="T46" fmla="*/ 2147483647 w 317"/>
                <a:gd name="T47" fmla="*/ 2147483647 h 1856"/>
                <a:gd name="T48" fmla="*/ 2147483647 w 317"/>
                <a:gd name="T49" fmla="*/ 2147483647 h 1856"/>
                <a:gd name="T50" fmla="*/ 2147483647 w 317"/>
                <a:gd name="T51" fmla="*/ 2147483647 h 1856"/>
                <a:gd name="T52" fmla="*/ 2147483647 w 317"/>
                <a:gd name="T53" fmla="*/ 2147483647 h 1856"/>
                <a:gd name="T54" fmla="*/ 2147483647 w 317"/>
                <a:gd name="T55" fmla="*/ 2147483647 h 1856"/>
                <a:gd name="T56" fmla="*/ 0 w 317"/>
                <a:gd name="T57" fmla="*/ 0 h 1856"/>
                <a:gd name="T58" fmla="*/ 0 w 317"/>
                <a:gd name="T59" fmla="*/ 0 h 18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17"/>
                <a:gd name="T91" fmla="*/ 0 h 1856"/>
                <a:gd name="T92" fmla="*/ 317 w 317"/>
                <a:gd name="T93" fmla="*/ 1856 h 185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17" h="1856">
                  <a:moveTo>
                    <a:pt x="0" y="0"/>
                  </a:moveTo>
                  <a:lnTo>
                    <a:pt x="0" y="1722"/>
                  </a:lnTo>
                  <a:lnTo>
                    <a:pt x="3" y="1730"/>
                  </a:lnTo>
                  <a:lnTo>
                    <a:pt x="10" y="1748"/>
                  </a:lnTo>
                  <a:lnTo>
                    <a:pt x="26" y="1771"/>
                  </a:lnTo>
                  <a:lnTo>
                    <a:pt x="39" y="1786"/>
                  </a:lnTo>
                  <a:lnTo>
                    <a:pt x="54" y="1799"/>
                  </a:lnTo>
                  <a:lnTo>
                    <a:pt x="72" y="1812"/>
                  </a:lnTo>
                  <a:lnTo>
                    <a:pt x="93" y="1825"/>
                  </a:lnTo>
                  <a:lnTo>
                    <a:pt x="119" y="1835"/>
                  </a:lnTo>
                  <a:lnTo>
                    <a:pt x="149" y="1846"/>
                  </a:lnTo>
                  <a:lnTo>
                    <a:pt x="183" y="1851"/>
                  </a:lnTo>
                  <a:lnTo>
                    <a:pt x="224" y="1856"/>
                  </a:lnTo>
                  <a:lnTo>
                    <a:pt x="268" y="1853"/>
                  </a:lnTo>
                  <a:lnTo>
                    <a:pt x="317" y="1851"/>
                  </a:lnTo>
                  <a:lnTo>
                    <a:pt x="317" y="82"/>
                  </a:lnTo>
                  <a:lnTo>
                    <a:pt x="289" y="88"/>
                  </a:lnTo>
                  <a:lnTo>
                    <a:pt x="255" y="93"/>
                  </a:lnTo>
                  <a:lnTo>
                    <a:pt x="214" y="93"/>
                  </a:lnTo>
                  <a:lnTo>
                    <a:pt x="188" y="90"/>
                  </a:lnTo>
                  <a:lnTo>
                    <a:pt x="165" y="88"/>
                  </a:lnTo>
                  <a:lnTo>
                    <a:pt x="137" y="80"/>
                  </a:lnTo>
                  <a:lnTo>
                    <a:pt x="111" y="72"/>
                  </a:lnTo>
                  <a:lnTo>
                    <a:pt x="82" y="59"/>
                  </a:lnTo>
                  <a:lnTo>
                    <a:pt x="57" y="44"/>
                  </a:lnTo>
                  <a:lnTo>
                    <a:pt x="28" y="23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800000"/>
                </a:gs>
                <a:gs pos="45000">
                  <a:srgbClr val="FF6132"/>
                </a:gs>
                <a:gs pos="92000">
                  <a:srgbClr val="800000"/>
                </a:gs>
                <a:gs pos="100000">
                  <a:srgbClr val="800000"/>
                </a:gs>
              </a:gsLst>
              <a:lin ang="21540000"/>
            </a:gradFill>
            <a:ln w="9525">
              <a:solidFill>
                <a:srgbClr val="8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 11"/>
            <p:cNvSpPr>
              <a:spLocks/>
            </p:cNvSpPr>
            <p:nvPr/>
          </p:nvSpPr>
          <p:spPr bwMode="auto">
            <a:xfrm>
              <a:off x="1447800" y="838200"/>
              <a:ext cx="1947863" cy="3070225"/>
            </a:xfrm>
            <a:custGeom>
              <a:avLst/>
              <a:gdLst>
                <a:gd name="T0" fmla="*/ 0 w 1227"/>
                <a:gd name="T1" fmla="*/ 2147483647 h 1934"/>
                <a:gd name="T2" fmla="*/ 2147483647 w 1227"/>
                <a:gd name="T3" fmla="*/ 0 h 1934"/>
                <a:gd name="T4" fmla="*/ 2147483647 w 1227"/>
                <a:gd name="T5" fmla="*/ 2147483647 h 1934"/>
                <a:gd name="T6" fmla="*/ 0 w 1227"/>
                <a:gd name="T7" fmla="*/ 2147483647 h 1934"/>
                <a:gd name="T8" fmla="*/ 0 w 1227"/>
                <a:gd name="T9" fmla="*/ 2147483647 h 19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27"/>
                <a:gd name="T16" fmla="*/ 0 h 1934"/>
                <a:gd name="T17" fmla="*/ 1227 w 1227"/>
                <a:gd name="T18" fmla="*/ 1934 h 19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27" h="1934">
                  <a:moveTo>
                    <a:pt x="0" y="165"/>
                  </a:moveTo>
                  <a:lnTo>
                    <a:pt x="1227" y="0"/>
                  </a:lnTo>
                  <a:lnTo>
                    <a:pt x="1227" y="1686"/>
                  </a:lnTo>
                  <a:lnTo>
                    <a:pt x="0" y="1934"/>
                  </a:lnTo>
                  <a:lnTo>
                    <a:pt x="0" y="165"/>
                  </a:lnTo>
                  <a:close/>
                </a:path>
              </a:pathLst>
            </a:custGeom>
            <a:gradFill rotWithShape="1">
              <a:gsLst>
                <a:gs pos="0">
                  <a:srgbClr val="800000"/>
                </a:gs>
                <a:gs pos="7001">
                  <a:srgbClr val="800000"/>
                </a:gs>
                <a:gs pos="55000">
                  <a:srgbClr val="FF6132"/>
                </a:gs>
                <a:gs pos="100000">
                  <a:srgbClr val="800000"/>
                </a:gs>
              </a:gsLst>
              <a:lin ang="19200000"/>
            </a:gradFill>
            <a:ln w="9525">
              <a:solidFill>
                <a:srgbClr val="8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12"/>
            <p:cNvSpPr>
              <a:spLocks/>
            </p:cNvSpPr>
            <p:nvPr/>
          </p:nvSpPr>
          <p:spPr bwMode="auto">
            <a:xfrm>
              <a:off x="944562" y="687387"/>
              <a:ext cx="2066925" cy="319088"/>
            </a:xfrm>
            <a:custGeom>
              <a:avLst/>
              <a:gdLst>
                <a:gd name="T0" fmla="*/ 0 w 1302"/>
                <a:gd name="T1" fmla="*/ 2147483647 h 201"/>
                <a:gd name="T2" fmla="*/ 2147483647 w 1302"/>
                <a:gd name="T3" fmla="*/ 0 h 201"/>
                <a:gd name="T4" fmla="*/ 2147483647 w 1302"/>
                <a:gd name="T5" fmla="*/ 2147483647 h 201"/>
                <a:gd name="T6" fmla="*/ 2147483647 w 1302"/>
                <a:gd name="T7" fmla="*/ 2147483647 h 201"/>
                <a:gd name="T8" fmla="*/ 0 w 1302"/>
                <a:gd name="T9" fmla="*/ 2147483647 h 20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02"/>
                <a:gd name="T16" fmla="*/ 0 h 201"/>
                <a:gd name="T17" fmla="*/ 1302 w 1302"/>
                <a:gd name="T18" fmla="*/ 201 h 20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02" h="201">
                  <a:moveTo>
                    <a:pt x="0" y="178"/>
                  </a:moveTo>
                  <a:lnTo>
                    <a:pt x="1302" y="0"/>
                  </a:lnTo>
                  <a:lnTo>
                    <a:pt x="1302" y="21"/>
                  </a:lnTo>
                  <a:lnTo>
                    <a:pt x="26" y="201"/>
                  </a:lnTo>
                  <a:lnTo>
                    <a:pt x="0" y="178"/>
                  </a:lnTo>
                  <a:close/>
                </a:path>
              </a:pathLst>
            </a:custGeom>
            <a:gradFill rotWithShape="1">
              <a:gsLst>
                <a:gs pos="0">
                  <a:srgbClr val="800000"/>
                </a:gs>
                <a:gs pos="7001">
                  <a:srgbClr val="800000"/>
                </a:gs>
                <a:gs pos="55000">
                  <a:srgbClr val="FF6132"/>
                </a:gs>
                <a:gs pos="100000">
                  <a:srgbClr val="800000"/>
                </a:gs>
              </a:gsLst>
              <a:lin ang="19200000"/>
            </a:gradFill>
            <a:ln w="9525">
              <a:solidFill>
                <a:srgbClr val="006D6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pic>
          <p:nvPicPr>
            <p:cNvPr id="30" name="Picture 1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4025" y="700087"/>
              <a:ext cx="36513" cy="36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1" name="Group 30"/>
          <p:cNvGrpSpPr/>
          <p:nvPr/>
        </p:nvGrpSpPr>
        <p:grpSpPr>
          <a:xfrm>
            <a:off x="590872" y="3168246"/>
            <a:ext cx="3477786" cy="1443605"/>
            <a:chOff x="152400" y="2667000"/>
            <a:chExt cx="3477786" cy="1702204"/>
          </a:xfrm>
        </p:grpSpPr>
        <p:sp>
          <p:nvSpPr>
            <p:cNvPr id="32" name="Rounded Rectangle 31"/>
            <p:cNvSpPr/>
            <p:nvPr/>
          </p:nvSpPr>
          <p:spPr>
            <a:xfrm>
              <a:off x="152400" y="2667000"/>
              <a:ext cx="3477786" cy="1702204"/>
            </a:xfrm>
            <a:prstGeom prst="roundRect">
              <a:avLst/>
            </a:prstGeom>
            <a:gradFill>
              <a:gsLst>
                <a:gs pos="45000">
                  <a:schemeClr val="accent1">
                    <a:lumMod val="20000"/>
                    <a:lumOff val="80000"/>
                  </a:schemeClr>
                </a:gs>
                <a:gs pos="99000">
                  <a:schemeClr val="bg2">
                    <a:lumMod val="50000"/>
                  </a:schemeClr>
                </a:gs>
                <a:gs pos="94600">
                  <a:schemeClr val="accent1">
                    <a:lumMod val="64000"/>
                    <a:lumOff val="36000"/>
                  </a:schemeClr>
                </a:gs>
                <a:gs pos="79000">
                  <a:schemeClr val="accent1">
                    <a:lumMod val="40000"/>
                    <a:lumOff val="60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ktangel 63"/>
            <p:cNvSpPr/>
            <p:nvPr/>
          </p:nvSpPr>
          <p:spPr bwMode="auto">
            <a:xfrm>
              <a:off x="248200" y="2804650"/>
              <a:ext cx="3237256" cy="14153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1200" b="1" i="1" dirty="0" smtClean="0">
                  <a:solidFill>
                    <a:srgbClr val="002060"/>
                  </a:solidFill>
                </a:rPr>
                <a:t>Educational </a:t>
              </a:r>
              <a:r>
                <a:rPr lang="en-US" sz="1200" b="1" i="1" dirty="0">
                  <a:solidFill>
                    <a:srgbClr val="002060"/>
                  </a:solidFill>
                </a:rPr>
                <a:t>program includes:</a:t>
              </a:r>
            </a:p>
            <a:p>
              <a:pPr marL="171450" indent="-171450" algn="ctr">
                <a:lnSpc>
                  <a:spcPct val="150000"/>
                </a:lnSpc>
                <a:buFont typeface="Wingdings" pitchFamily="2" charset="2"/>
                <a:buChar char="ü"/>
              </a:pPr>
              <a:r>
                <a:rPr lang="en-US" sz="1200" b="1" i="1" dirty="0" smtClean="0">
                  <a:solidFill>
                    <a:srgbClr val="002060"/>
                  </a:solidFill>
                </a:rPr>
                <a:t>International </a:t>
              </a:r>
              <a:r>
                <a:rPr lang="en-US" sz="1200" b="1" i="1" dirty="0">
                  <a:solidFill>
                    <a:srgbClr val="002060"/>
                  </a:solidFill>
                </a:rPr>
                <a:t>standards</a:t>
              </a:r>
            </a:p>
            <a:p>
              <a:pPr marL="171450" indent="-171450" algn="ctr">
                <a:lnSpc>
                  <a:spcPct val="150000"/>
                </a:lnSpc>
                <a:buFont typeface="Wingdings" pitchFamily="2" charset="2"/>
                <a:buChar char="ü"/>
              </a:pPr>
              <a:r>
                <a:rPr lang="en-US" sz="1200" b="1" i="1" dirty="0" smtClean="0">
                  <a:solidFill>
                    <a:srgbClr val="002060"/>
                  </a:solidFill>
                </a:rPr>
                <a:t>National </a:t>
              </a:r>
              <a:r>
                <a:rPr lang="en-US" sz="1200" b="1" i="1" dirty="0">
                  <a:solidFill>
                    <a:srgbClr val="002060"/>
                  </a:solidFill>
                </a:rPr>
                <a:t>legislation</a:t>
              </a:r>
            </a:p>
            <a:p>
              <a:pPr marL="171450" indent="-171450" algn="ctr">
                <a:lnSpc>
                  <a:spcPct val="150000"/>
                </a:lnSpc>
                <a:buFont typeface="Wingdings" pitchFamily="2" charset="2"/>
                <a:buChar char="ü"/>
              </a:pPr>
              <a:r>
                <a:rPr lang="en-US" sz="1200" b="1" i="1" dirty="0" smtClean="0">
                  <a:solidFill>
                    <a:srgbClr val="002060"/>
                  </a:solidFill>
                </a:rPr>
                <a:t>Psychological part</a:t>
              </a:r>
              <a:endParaRPr lang="en-US" sz="1200" b="1" i="1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611560" y="4992851"/>
            <a:ext cx="3418999" cy="1316469"/>
            <a:chOff x="3204658" y="5181600"/>
            <a:chExt cx="2671078" cy="1328724"/>
          </a:xfrm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grpSpPr>
        <p:sp>
          <p:nvSpPr>
            <p:cNvPr id="35" name="Rounded Rectangle 34"/>
            <p:cNvSpPr/>
            <p:nvPr/>
          </p:nvSpPr>
          <p:spPr>
            <a:xfrm>
              <a:off x="3218262" y="5181600"/>
              <a:ext cx="2657474" cy="1328724"/>
            </a:xfrm>
            <a:prstGeom prst="roundRect">
              <a:avLst/>
            </a:prstGeom>
            <a:gradFill>
              <a:gsLst>
                <a:gs pos="60000">
                  <a:schemeClr val="accent2">
                    <a:lumMod val="20000"/>
                    <a:lumOff val="80000"/>
                    <a:alpha val="64000"/>
                  </a:schemeClr>
                </a:gs>
                <a:gs pos="90000">
                  <a:srgbClr val="D38482"/>
                </a:gs>
                <a:gs pos="100000">
                  <a:schemeClr val="accent2">
                    <a:lumMod val="99000"/>
                    <a:alpha val="59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ktangel 63"/>
            <p:cNvSpPr/>
            <p:nvPr/>
          </p:nvSpPr>
          <p:spPr bwMode="auto">
            <a:xfrm>
              <a:off x="3204658" y="5453556"/>
              <a:ext cx="2598420" cy="83873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1200" b="1" i="1" noProof="1" smtClean="0">
                  <a:solidFill>
                    <a:srgbClr val="002060"/>
                  </a:solidFill>
                </a:rPr>
                <a:t>Theory+ Practice</a:t>
              </a:r>
            </a:p>
            <a:p>
              <a:pPr algn="ctr">
                <a:defRPr/>
              </a:pPr>
              <a:endParaRPr lang="en-US" sz="1200" b="1" i="1" noProof="1">
                <a:solidFill>
                  <a:srgbClr val="002060"/>
                </a:solidFill>
              </a:endParaRPr>
            </a:p>
            <a:p>
              <a:pPr algn="ctr">
                <a:defRPr/>
              </a:pPr>
              <a:r>
                <a:rPr lang="en-US" sz="1200" b="1" i="1" noProof="1">
                  <a:solidFill>
                    <a:srgbClr val="002060"/>
                  </a:solidFill>
                </a:rPr>
                <a:t>Discussion and various practical tasks are included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590872" y="1504846"/>
            <a:ext cx="3353505" cy="1292872"/>
            <a:chOff x="685800" y="228599"/>
            <a:chExt cx="2859087" cy="1730848"/>
          </a:xfrm>
          <a:gradFill>
            <a:gsLst>
              <a:gs pos="15000">
                <a:schemeClr val="accent1">
                  <a:lumMod val="20000"/>
                  <a:lumOff val="80000"/>
                </a:schemeClr>
              </a:gs>
              <a:gs pos="99000">
                <a:schemeClr val="bg1">
                  <a:lumMod val="75000"/>
                </a:schemeClr>
              </a:gs>
              <a:gs pos="59000">
                <a:schemeClr val="bg1">
                  <a:lumMod val="85000"/>
                </a:schemeClr>
              </a:gs>
            </a:gsLst>
            <a:lin ang="16200000" scaled="0"/>
          </a:gradFill>
        </p:grpSpPr>
        <p:sp>
          <p:nvSpPr>
            <p:cNvPr id="38" name="Rounded Rectangle 37"/>
            <p:cNvSpPr/>
            <p:nvPr/>
          </p:nvSpPr>
          <p:spPr>
            <a:xfrm>
              <a:off x="685800" y="228599"/>
              <a:ext cx="2859087" cy="1730848"/>
            </a:xfrm>
            <a:prstGeom prst="roundRect">
              <a:avLst/>
            </a:prstGeom>
            <a:gradFill flip="none" rotWithShape="1">
              <a:gsLst>
                <a:gs pos="9000">
                  <a:srgbClr val="92D050">
                    <a:alpha val="38000"/>
                    <a:lumMod val="10000"/>
                    <a:lumOff val="90000"/>
                  </a:srgbClr>
                </a:gs>
                <a:gs pos="52000">
                  <a:srgbClr val="00B050">
                    <a:alpha val="36000"/>
                  </a:srgb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ktangel 63"/>
            <p:cNvSpPr/>
            <p:nvPr/>
          </p:nvSpPr>
          <p:spPr bwMode="auto">
            <a:xfrm>
              <a:off x="762001" y="561691"/>
              <a:ext cx="2686546" cy="11125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i="1" dirty="0">
                  <a:solidFill>
                    <a:srgbClr val="002060"/>
                  </a:solidFill>
                </a:rPr>
                <a:t>Special preparatory courses have been </a:t>
              </a:r>
              <a:r>
                <a:rPr lang="en-US" sz="1200" b="1" i="1" dirty="0" smtClean="0">
                  <a:solidFill>
                    <a:srgbClr val="002060"/>
                  </a:solidFill>
                </a:rPr>
                <a:t>constructed</a:t>
              </a:r>
            </a:p>
            <a:p>
              <a:pPr algn="ctr"/>
              <a:endParaRPr lang="en-US" sz="1200" b="1" i="1" dirty="0" smtClean="0">
                <a:solidFill>
                  <a:srgbClr val="002060"/>
                </a:solidFill>
              </a:endParaRPr>
            </a:p>
            <a:p>
              <a:pPr algn="ctr"/>
              <a:r>
                <a:rPr lang="en-US" sz="1200" dirty="0">
                  <a:solidFill>
                    <a:srgbClr val="002060"/>
                  </a:solidFill>
                </a:rPr>
                <a:t>3-5 days of intense preparatory </a:t>
              </a:r>
              <a:r>
                <a:rPr lang="en-US" sz="1200" dirty="0" smtClean="0">
                  <a:solidFill>
                    <a:srgbClr val="002060"/>
                  </a:solidFill>
                </a:rPr>
                <a:t>courses</a:t>
              </a:r>
            </a:p>
          </p:txBody>
        </p:sp>
      </p:grpSp>
      <p:sp>
        <p:nvSpPr>
          <p:cNvPr id="40" name="Title 1"/>
          <p:cNvSpPr>
            <a:spLocks noGrp="1"/>
          </p:cNvSpPr>
          <p:nvPr>
            <p:ph type="title"/>
          </p:nvPr>
        </p:nvSpPr>
        <p:spPr>
          <a:xfrm>
            <a:off x="1447800" y="206375"/>
            <a:ext cx="6858000" cy="533400"/>
          </a:xfrm>
        </p:spPr>
        <p:txBody>
          <a:bodyPr/>
          <a:lstStyle/>
          <a:p>
            <a:r>
              <a:rPr lang="en-US" sz="1800" b="1" dirty="0"/>
              <a:t>Putting the </a:t>
            </a:r>
            <a:r>
              <a:rPr lang="en-US" sz="1800" b="1" dirty="0" smtClean="0"/>
              <a:t>Process </a:t>
            </a:r>
            <a:r>
              <a:rPr lang="en-US" sz="1800" b="1" dirty="0"/>
              <a:t>of </a:t>
            </a:r>
            <a:r>
              <a:rPr lang="en-US" sz="1800" b="1" dirty="0" smtClean="0"/>
              <a:t>Specialization </a:t>
            </a:r>
            <a:r>
              <a:rPr lang="en-US" sz="1800" b="1" dirty="0"/>
              <a:t>to </a:t>
            </a:r>
            <a:r>
              <a:rPr lang="en-US" sz="1800" b="1" dirty="0" smtClean="0"/>
              <a:t>Work</a:t>
            </a:r>
            <a:endParaRPr lang="ka-GE" sz="1800" dirty="0"/>
          </a:p>
        </p:txBody>
      </p:sp>
    </p:spTree>
    <p:extLst>
      <p:ext uri="{BB962C8B-B14F-4D97-AF65-F5344CB8AC3E}">
        <p14:creationId xmlns:p14="http://schemas.microsoft.com/office/powerpoint/2010/main" val="3337212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val 19"/>
          <p:cNvSpPr/>
          <p:nvPr/>
        </p:nvSpPr>
        <p:spPr>
          <a:xfrm>
            <a:off x="2267744" y="1270350"/>
            <a:ext cx="5040560" cy="4752528"/>
          </a:xfrm>
          <a:prstGeom prst="ellipse">
            <a:avLst/>
          </a:prstGeom>
          <a:blipFill dpi="0" rotWithShape="1">
            <a:blip r:embed="rId2">
              <a:alphaModFix amt="1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 bwMode="auto">
          <a:xfrm>
            <a:off x="0" y="4431506"/>
            <a:ext cx="9144000" cy="2426494"/>
          </a:xfrm>
          <a:prstGeom prst="rect">
            <a:avLst/>
          </a:prstGeom>
          <a:gradFill>
            <a:gsLst>
              <a:gs pos="24000">
                <a:schemeClr val="tx1">
                  <a:lumMod val="20000"/>
                  <a:lumOff val="80000"/>
                </a:schemeClr>
              </a:gs>
              <a:gs pos="100000">
                <a:schemeClr val="tx2">
                  <a:lumMod val="0"/>
                  <a:lumOff val="100000"/>
                  <a:alpha val="0"/>
                </a:schemeClr>
              </a:gs>
            </a:gsLst>
            <a:lin ang="16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pSp>
        <p:nvGrpSpPr>
          <p:cNvPr id="16" name="Group 15"/>
          <p:cNvGrpSpPr/>
          <p:nvPr/>
        </p:nvGrpSpPr>
        <p:grpSpPr>
          <a:xfrm>
            <a:off x="0" y="0"/>
            <a:ext cx="1475656" cy="1268760"/>
            <a:chOff x="0" y="0"/>
            <a:chExt cx="1475656" cy="1268760"/>
          </a:xfrm>
        </p:grpSpPr>
        <p:sp>
          <p:nvSpPr>
            <p:cNvPr id="17" name="Rectangle 16"/>
            <p:cNvSpPr/>
            <p:nvPr/>
          </p:nvSpPr>
          <p:spPr>
            <a:xfrm>
              <a:off x="0" y="0"/>
              <a:ext cx="1475656" cy="10527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Oval 17"/>
            <p:cNvSpPr/>
            <p:nvPr/>
          </p:nvSpPr>
          <p:spPr>
            <a:xfrm>
              <a:off x="251520" y="44624"/>
              <a:ext cx="936104" cy="936104"/>
            </a:xfrm>
            <a:prstGeom prst="ellipse">
              <a:avLst/>
            </a:prstGeom>
            <a:blipFill>
              <a:blip r:embed="rId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0" y="1052736"/>
              <a:ext cx="1475656" cy="2160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" name="Rectangle 5"/>
          <p:cNvSpPr txBox="1">
            <a:spLocks noChangeArrowheads="1"/>
          </p:cNvSpPr>
          <p:nvPr/>
        </p:nvSpPr>
        <p:spPr>
          <a:xfrm>
            <a:off x="6588224" y="6165304"/>
            <a:ext cx="2664296" cy="457200"/>
          </a:xfrm>
          <a:prstGeom prst="rect">
            <a:avLst/>
          </a:prstGeom>
          <a:noFill/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SzPct val="50000"/>
              <a:buFont typeface="Wingdings 2" pitchFamily="18" charset="2"/>
              <a:buChar char="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SzPct val="60000"/>
              <a:buFont typeface="Wingdings 2" pitchFamily="18" charset="2"/>
              <a:buChar char="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b="1" dirty="0" smtClean="0">
                <a:solidFill>
                  <a:schemeClr val="tx1">
                    <a:lumMod val="50000"/>
                  </a:schemeClr>
                </a:solidFill>
              </a:rPr>
              <a:t>www.pog.gov.ge</a:t>
            </a:r>
            <a:endParaRPr lang="en-GB" sz="20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 bwMode="gray">
          <a:xfrm>
            <a:off x="1447800" y="206375"/>
            <a:ext cx="68580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1800" b="1" dirty="0"/>
              <a:t>Legal Part</a:t>
            </a:r>
            <a:endParaRPr lang="ka-GE" sz="1800" dirty="0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093234828"/>
              </p:ext>
            </p:extLst>
          </p:nvPr>
        </p:nvGraphicFramePr>
        <p:xfrm>
          <a:off x="35496" y="1268760"/>
          <a:ext cx="9073008" cy="53537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228066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val 19"/>
          <p:cNvSpPr/>
          <p:nvPr/>
        </p:nvSpPr>
        <p:spPr>
          <a:xfrm>
            <a:off x="2267744" y="1270350"/>
            <a:ext cx="5040560" cy="4752528"/>
          </a:xfrm>
          <a:prstGeom prst="ellipse">
            <a:avLst/>
          </a:prstGeom>
          <a:blipFill dpi="0" rotWithShape="1">
            <a:blip r:embed="rId2">
              <a:alphaModFix amt="1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 bwMode="auto">
          <a:xfrm>
            <a:off x="0" y="4431506"/>
            <a:ext cx="9144000" cy="2426494"/>
          </a:xfrm>
          <a:prstGeom prst="rect">
            <a:avLst/>
          </a:prstGeom>
          <a:gradFill>
            <a:gsLst>
              <a:gs pos="24000">
                <a:schemeClr val="tx1">
                  <a:lumMod val="20000"/>
                  <a:lumOff val="80000"/>
                </a:schemeClr>
              </a:gs>
              <a:gs pos="100000">
                <a:schemeClr val="tx2">
                  <a:lumMod val="0"/>
                  <a:lumOff val="100000"/>
                  <a:alpha val="0"/>
                </a:schemeClr>
              </a:gs>
            </a:gsLst>
            <a:lin ang="16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pSp>
        <p:nvGrpSpPr>
          <p:cNvPr id="16" name="Group 15"/>
          <p:cNvGrpSpPr/>
          <p:nvPr/>
        </p:nvGrpSpPr>
        <p:grpSpPr>
          <a:xfrm>
            <a:off x="0" y="0"/>
            <a:ext cx="1475656" cy="1268760"/>
            <a:chOff x="0" y="0"/>
            <a:chExt cx="1475656" cy="1268760"/>
          </a:xfrm>
        </p:grpSpPr>
        <p:sp>
          <p:nvSpPr>
            <p:cNvPr id="17" name="Rectangle 16"/>
            <p:cNvSpPr/>
            <p:nvPr/>
          </p:nvSpPr>
          <p:spPr>
            <a:xfrm>
              <a:off x="0" y="0"/>
              <a:ext cx="1475656" cy="10527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Oval 17"/>
            <p:cNvSpPr/>
            <p:nvPr/>
          </p:nvSpPr>
          <p:spPr>
            <a:xfrm>
              <a:off x="251520" y="44624"/>
              <a:ext cx="936104" cy="936104"/>
            </a:xfrm>
            <a:prstGeom prst="ellipse">
              <a:avLst/>
            </a:prstGeom>
            <a:blipFill>
              <a:blip r:embed="rId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0" y="1052736"/>
              <a:ext cx="1475656" cy="2160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" name="Rectangle 5"/>
          <p:cNvSpPr txBox="1">
            <a:spLocks noChangeArrowheads="1"/>
          </p:cNvSpPr>
          <p:nvPr/>
        </p:nvSpPr>
        <p:spPr>
          <a:xfrm>
            <a:off x="6588224" y="6284168"/>
            <a:ext cx="2664296" cy="457200"/>
          </a:xfrm>
          <a:prstGeom prst="rect">
            <a:avLst/>
          </a:prstGeom>
          <a:noFill/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SzPct val="50000"/>
              <a:buFont typeface="Wingdings 2" pitchFamily="18" charset="2"/>
              <a:buChar char="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SzPct val="60000"/>
              <a:buFont typeface="Wingdings 2" pitchFamily="18" charset="2"/>
              <a:buChar char="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b="1" dirty="0" smtClean="0">
                <a:solidFill>
                  <a:schemeClr val="tx1">
                    <a:lumMod val="50000"/>
                  </a:schemeClr>
                </a:solidFill>
              </a:rPr>
              <a:t>www.pog.gov.ge</a:t>
            </a:r>
            <a:endParaRPr lang="en-GB" sz="20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 bwMode="gray">
          <a:xfrm>
            <a:off x="1447800" y="206375"/>
            <a:ext cx="68580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1800" b="1" dirty="0"/>
              <a:t>Psychological </a:t>
            </a:r>
            <a:r>
              <a:rPr lang="en-US" sz="1800" b="1" dirty="0" smtClean="0"/>
              <a:t>Part</a:t>
            </a:r>
            <a:endParaRPr lang="ka-GE" sz="1800" dirty="0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621963907"/>
              </p:ext>
            </p:extLst>
          </p:nvPr>
        </p:nvGraphicFramePr>
        <p:xfrm>
          <a:off x="35496" y="908720"/>
          <a:ext cx="9073008" cy="55697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261380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auto">
          <a:xfrm>
            <a:off x="0" y="4431506"/>
            <a:ext cx="9144000" cy="2426494"/>
          </a:xfrm>
          <a:prstGeom prst="rect">
            <a:avLst/>
          </a:prstGeom>
          <a:gradFill>
            <a:gsLst>
              <a:gs pos="24000">
                <a:schemeClr val="tx1">
                  <a:lumMod val="20000"/>
                  <a:lumOff val="80000"/>
                </a:schemeClr>
              </a:gs>
              <a:gs pos="100000">
                <a:schemeClr val="tx2">
                  <a:lumMod val="0"/>
                  <a:lumOff val="100000"/>
                  <a:alpha val="0"/>
                </a:schemeClr>
              </a:gs>
            </a:gsLst>
            <a:lin ang="16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5" name="Oval 14"/>
          <p:cNvSpPr/>
          <p:nvPr/>
        </p:nvSpPr>
        <p:spPr>
          <a:xfrm>
            <a:off x="2267744" y="1270350"/>
            <a:ext cx="5040560" cy="4752528"/>
          </a:xfrm>
          <a:prstGeom prst="ellipse">
            <a:avLst/>
          </a:prstGeom>
          <a:blipFill dpi="0" rotWithShape="1">
            <a:blip r:embed="rId2">
              <a:alphaModFix amt="1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0" y="0"/>
            <a:ext cx="1475656" cy="1268760"/>
            <a:chOff x="0" y="0"/>
            <a:chExt cx="1475656" cy="126876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475656" cy="10527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Oval 11"/>
            <p:cNvSpPr/>
            <p:nvPr/>
          </p:nvSpPr>
          <p:spPr>
            <a:xfrm>
              <a:off x="251520" y="44624"/>
              <a:ext cx="936104" cy="936104"/>
            </a:xfrm>
            <a:prstGeom prst="ellipse">
              <a:avLst/>
            </a:prstGeom>
            <a:blipFill>
              <a:blip r:embed="rId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0" y="1052736"/>
              <a:ext cx="1475656" cy="2160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1447800" y="206375"/>
            <a:ext cx="6858000" cy="533400"/>
          </a:xfrm>
        </p:spPr>
        <p:txBody>
          <a:bodyPr/>
          <a:lstStyle/>
          <a:p>
            <a:r>
              <a:rPr lang="en-US" sz="2000" b="1" dirty="0"/>
              <a:t>Key </a:t>
            </a:r>
            <a:r>
              <a:rPr lang="en-US" sz="2000" b="1" dirty="0" smtClean="0"/>
              <a:t>Achievements</a:t>
            </a:r>
            <a:endParaRPr lang="en-US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Rectangle 5"/>
          <p:cNvSpPr txBox="1">
            <a:spLocks noChangeArrowheads="1"/>
          </p:cNvSpPr>
          <p:nvPr/>
        </p:nvSpPr>
        <p:spPr>
          <a:xfrm>
            <a:off x="6588224" y="6309320"/>
            <a:ext cx="2664296" cy="457200"/>
          </a:xfrm>
          <a:prstGeom prst="rect">
            <a:avLst/>
          </a:prstGeom>
          <a:noFill/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SzPct val="50000"/>
              <a:buFont typeface="Wingdings 2" pitchFamily="18" charset="2"/>
              <a:buChar char="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SzPct val="60000"/>
              <a:buFont typeface="Wingdings 2" pitchFamily="18" charset="2"/>
              <a:buChar char="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b="1" dirty="0" smtClean="0">
                <a:solidFill>
                  <a:schemeClr val="tx1">
                    <a:lumMod val="50000"/>
                  </a:schemeClr>
                </a:solidFill>
              </a:rPr>
              <a:t>www.pog.gov.ge</a:t>
            </a:r>
            <a:endParaRPr lang="en-GB" sz="2000" b="1" dirty="0">
              <a:solidFill>
                <a:schemeClr val="tx1">
                  <a:lumMod val="50000"/>
                </a:schemeClr>
              </a:solidFill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660400" y="2647791"/>
            <a:ext cx="7797800" cy="2628900"/>
            <a:chOff x="660400" y="2324100"/>
            <a:chExt cx="7797800" cy="2628900"/>
          </a:xfrm>
        </p:grpSpPr>
        <p:grpSp>
          <p:nvGrpSpPr>
            <p:cNvPr id="19" name="Group 18"/>
            <p:cNvGrpSpPr/>
            <p:nvPr/>
          </p:nvGrpSpPr>
          <p:grpSpPr>
            <a:xfrm>
              <a:off x="668338" y="4614863"/>
              <a:ext cx="7781925" cy="338137"/>
              <a:chOff x="642938" y="3840163"/>
              <a:chExt cx="7781925" cy="338137"/>
            </a:xfrm>
            <a:gradFill>
              <a:gsLst>
                <a:gs pos="5000">
                  <a:schemeClr val="tx2">
                    <a:lumMod val="60000"/>
                    <a:lumOff val="40000"/>
                  </a:schemeClr>
                </a:gs>
                <a:gs pos="15000">
                  <a:schemeClr val="tx2">
                    <a:lumMod val="89000"/>
                    <a:alpha val="90000"/>
                  </a:schemeClr>
                </a:gs>
                <a:gs pos="100000">
                  <a:schemeClr val="accent1">
                    <a:lumMod val="0"/>
                    <a:lumOff val="100000"/>
                    <a:alpha val="0"/>
                  </a:schemeClr>
                </a:gs>
              </a:gsLst>
              <a:lin ang="5400000" scaled="0"/>
            </a:gradFill>
          </p:grpSpPr>
          <p:sp>
            <p:nvSpPr>
              <p:cNvPr id="51" name="Rectangle 50"/>
              <p:cNvSpPr/>
              <p:nvPr/>
            </p:nvSpPr>
            <p:spPr bwMode="auto">
              <a:xfrm>
                <a:off x="3194050" y="3840163"/>
                <a:ext cx="30163" cy="322262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52" name="Rectangle 51"/>
              <p:cNvSpPr/>
              <p:nvPr/>
            </p:nvSpPr>
            <p:spPr bwMode="auto">
              <a:xfrm>
                <a:off x="642938" y="3844925"/>
                <a:ext cx="2552700" cy="33337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53" name="Rectangle 52"/>
              <p:cNvSpPr/>
              <p:nvPr/>
            </p:nvSpPr>
            <p:spPr bwMode="auto">
              <a:xfrm flipH="1">
                <a:off x="5872163" y="3844925"/>
                <a:ext cx="2552700" cy="33337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54" name="Rectangle 53"/>
              <p:cNvSpPr/>
              <p:nvPr/>
            </p:nvSpPr>
            <p:spPr bwMode="auto">
              <a:xfrm flipH="1">
                <a:off x="5843588" y="3840163"/>
                <a:ext cx="30162" cy="322262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</p:grpSp>
        <p:grpSp>
          <p:nvGrpSpPr>
            <p:cNvPr id="20" name="Group 19"/>
            <p:cNvGrpSpPr/>
            <p:nvPr/>
          </p:nvGrpSpPr>
          <p:grpSpPr>
            <a:xfrm>
              <a:off x="660400" y="2324100"/>
              <a:ext cx="7797800" cy="2325688"/>
              <a:chOff x="635000" y="1549400"/>
              <a:chExt cx="7797800" cy="2325688"/>
            </a:xfrm>
            <a:gradFill>
              <a:gsLst>
                <a:gs pos="5000">
                  <a:schemeClr val="tx2">
                    <a:lumMod val="60000"/>
                    <a:lumOff val="40000"/>
                  </a:schemeClr>
                </a:gs>
                <a:gs pos="15000">
                  <a:schemeClr val="tx2">
                    <a:lumMod val="89000"/>
                    <a:alpha val="90000"/>
                  </a:schemeClr>
                </a:gs>
                <a:gs pos="100000">
                  <a:schemeClr val="accent1">
                    <a:lumMod val="0"/>
                    <a:lumOff val="100000"/>
                    <a:alpha val="0"/>
                  </a:schemeClr>
                </a:gs>
              </a:gsLst>
              <a:lin ang="5400000" scaled="0"/>
            </a:gradFill>
          </p:grpSpPr>
          <p:sp>
            <p:nvSpPr>
              <p:cNvPr id="21" name="Freeform 20"/>
              <p:cNvSpPr>
                <a:spLocks noChangeArrowheads="1"/>
              </p:cNvSpPr>
              <p:nvPr/>
            </p:nvSpPr>
            <p:spPr bwMode="auto">
              <a:xfrm>
                <a:off x="1416050" y="2932113"/>
                <a:ext cx="3576638" cy="904875"/>
              </a:xfrm>
              <a:custGeom>
                <a:avLst/>
                <a:gdLst>
                  <a:gd name="T0" fmla="*/ 2692461 w 5321300"/>
                  <a:gd name="T1" fmla="*/ 1346549 h 1346200"/>
                  <a:gd name="T2" fmla="*/ 5321421 w 5321300"/>
                  <a:gd name="T3" fmla="*/ 76220 h 1346200"/>
                  <a:gd name="T4" fmla="*/ 0 w 5321300"/>
                  <a:gd name="T5" fmla="*/ 0 h 1346200"/>
                  <a:gd name="T6" fmla="*/ 2692461 w 5321300"/>
                  <a:gd name="T7" fmla="*/ 1346549 h 13462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321300"/>
                  <a:gd name="T13" fmla="*/ 0 h 1346200"/>
                  <a:gd name="T14" fmla="*/ 5321300 w 5321300"/>
                  <a:gd name="T15" fmla="*/ 1346200 h 13462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321300" h="1346200">
                    <a:moveTo>
                      <a:pt x="2692400" y="1346200"/>
                    </a:moveTo>
                    <a:lnTo>
                      <a:pt x="5321300" y="76200"/>
                    </a:lnTo>
                    <a:lnTo>
                      <a:pt x="0" y="0"/>
                    </a:lnTo>
                    <a:lnTo>
                      <a:pt x="2692400" y="1346200"/>
                    </a:lnTo>
                    <a:close/>
                  </a:path>
                </a:pathLst>
              </a:custGeom>
              <a:grpFill/>
              <a:ln w="0" cap="flat" cmpd="dbl">
                <a:noFill/>
                <a:prstDash val="sysDot"/>
                <a:miter lim="800000"/>
                <a:headEnd/>
                <a:tailEnd/>
              </a:ln>
              <a:effectLst>
                <a:outerShdw dist="23000" dir="5400000" rotWithShape="0">
                  <a:srgbClr val="808080">
                    <a:alpha val="34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latin typeface="Calibri" pitchFamily="-109" charset="0"/>
                  <a:ea typeface="ＭＳ Ｐゴシック" pitchFamily="-109" charset="-128"/>
                </a:endParaRPr>
              </a:p>
            </p:txBody>
          </p:sp>
          <p:sp>
            <p:nvSpPr>
              <p:cNvPr id="22" name="Parallelogram 21"/>
              <p:cNvSpPr/>
              <p:nvPr/>
            </p:nvSpPr>
            <p:spPr bwMode="auto">
              <a:xfrm>
                <a:off x="635000" y="3513138"/>
                <a:ext cx="2803525" cy="136525"/>
              </a:xfrm>
              <a:prstGeom prst="parallelogram">
                <a:avLst>
                  <a:gd name="adj" fmla="val 166356"/>
                </a:avLst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 bwMode="auto">
              <a:xfrm>
                <a:off x="860425" y="3335338"/>
                <a:ext cx="2578100" cy="211137"/>
              </a:xfrm>
              <a:prstGeom prst="rect">
                <a:avLst/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24" name="Rectangle 23"/>
              <p:cNvSpPr/>
              <p:nvPr/>
            </p:nvSpPr>
            <p:spPr bwMode="auto">
              <a:xfrm>
                <a:off x="642938" y="3643313"/>
                <a:ext cx="2570162" cy="231775"/>
              </a:xfrm>
              <a:prstGeom prst="rect">
                <a:avLst/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25" name="Parallelogram 24"/>
              <p:cNvSpPr/>
              <p:nvPr/>
            </p:nvSpPr>
            <p:spPr bwMode="auto">
              <a:xfrm>
                <a:off x="857250" y="3205163"/>
                <a:ext cx="2803525" cy="136525"/>
              </a:xfrm>
              <a:prstGeom prst="parallelogram">
                <a:avLst>
                  <a:gd name="adj" fmla="val 166356"/>
                </a:avLst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26" name="Rectangle 25"/>
              <p:cNvSpPr/>
              <p:nvPr/>
            </p:nvSpPr>
            <p:spPr bwMode="auto">
              <a:xfrm>
                <a:off x="1079500" y="3028950"/>
                <a:ext cx="2576513" cy="211138"/>
              </a:xfrm>
              <a:prstGeom prst="rect">
                <a:avLst/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27" name="Parallelogram 26"/>
              <p:cNvSpPr/>
              <p:nvPr/>
            </p:nvSpPr>
            <p:spPr bwMode="auto">
              <a:xfrm>
                <a:off x="1074738" y="2898775"/>
                <a:ext cx="2803525" cy="136525"/>
              </a:xfrm>
              <a:prstGeom prst="parallelogram">
                <a:avLst>
                  <a:gd name="adj" fmla="val 166356"/>
                </a:avLst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28" name="Rectangle 27"/>
              <p:cNvSpPr/>
              <p:nvPr/>
            </p:nvSpPr>
            <p:spPr bwMode="auto">
              <a:xfrm>
                <a:off x="1296988" y="2714625"/>
                <a:ext cx="2578100" cy="211138"/>
              </a:xfrm>
              <a:prstGeom prst="rect">
                <a:avLst/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29" name="Parallelogram 28"/>
              <p:cNvSpPr/>
              <p:nvPr/>
            </p:nvSpPr>
            <p:spPr bwMode="auto">
              <a:xfrm>
                <a:off x="1292225" y="2590800"/>
                <a:ext cx="2803525" cy="136525"/>
              </a:xfrm>
              <a:prstGeom prst="parallelogram">
                <a:avLst>
                  <a:gd name="adj" fmla="val 166356"/>
                </a:avLst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30" name="Rectangle 29"/>
              <p:cNvSpPr/>
              <p:nvPr/>
            </p:nvSpPr>
            <p:spPr bwMode="auto">
              <a:xfrm>
                <a:off x="1519238" y="2414588"/>
                <a:ext cx="2576512" cy="209550"/>
              </a:xfrm>
              <a:prstGeom prst="rect">
                <a:avLst/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31" name="Parallelogram 30"/>
              <p:cNvSpPr/>
              <p:nvPr/>
            </p:nvSpPr>
            <p:spPr bwMode="auto">
              <a:xfrm>
                <a:off x="1519238" y="2284413"/>
                <a:ext cx="2803525" cy="136525"/>
              </a:xfrm>
              <a:prstGeom prst="parallelogram">
                <a:avLst>
                  <a:gd name="adj" fmla="val 166356"/>
                </a:avLst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32" name="Rectangle 31"/>
              <p:cNvSpPr/>
              <p:nvPr/>
            </p:nvSpPr>
            <p:spPr bwMode="auto">
              <a:xfrm>
                <a:off x="1744663" y="2108200"/>
                <a:ext cx="2578100" cy="211138"/>
              </a:xfrm>
              <a:prstGeom prst="rect">
                <a:avLst/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33" name="Parallelogram 32"/>
              <p:cNvSpPr/>
              <p:nvPr/>
            </p:nvSpPr>
            <p:spPr bwMode="auto">
              <a:xfrm>
                <a:off x="1739900" y="1976438"/>
                <a:ext cx="2805113" cy="136525"/>
              </a:xfrm>
              <a:prstGeom prst="parallelogram">
                <a:avLst>
                  <a:gd name="adj" fmla="val 166356"/>
                </a:avLst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34" name="Freeform 55"/>
              <p:cNvSpPr>
                <a:spLocks noChangeArrowheads="1"/>
              </p:cNvSpPr>
              <p:nvPr/>
            </p:nvSpPr>
            <p:spPr bwMode="auto">
              <a:xfrm>
                <a:off x="3208338" y="1984375"/>
                <a:ext cx="1331912" cy="1860550"/>
              </a:xfrm>
              <a:custGeom>
                <a:avLst/>
                <a:gdLst>
                  <a:gd name="T0" fmla="*/ 1332219 w 1981200"/>
                  <a:gd name="T1" fmla="*/ 0 h 2781300"/>
                  <a:gd name="T2" fmla="*/ 1118722 w 1981200"/>
                  <a:gd name="T3" fmla="*/ 126858 h 2781300"/>
                  <a:gd name="T4" fmla="*/ 1118722 w 1981200"/>
                  <a:gd name="T5" fmla="*/ 304458 h 2781300"/>
                  <a:gd name="T6" fmla="*/ 892415 w 1981200"/>
                  <a:gd name="T7" fmla="*/ 439772 h 2781300"/>
                  <a:gd name="T8" fmla="*/ 892415 w 1981200"/>
                  <a:gd name="T9" fmla="*/ 613143 h 2781300"/>
                  <a:gd name="T10" fmla="*/ 666109 w 1981200"/>
                  <a:gd name="T11" fmla="*/ 744229 h 2781300"/>
                  <a:gd name="T12" fmla="*/ 666109 w 1981200"/>
                  <a:gd name="T13" fmla="*/ 917601 h 2781300"/>
                  <a:gd name="T14" fmla="*/ 444073 w 1981200"/>
                  <a:gd name="T15" fmla="*/ 1044459 h 2781300"/>
                  <a:gd name="T16" fmla="*/ 448342 w 1981200"/>
                  <a:gd name="T17" fmla="*/ 1222059 h 2781300"/>
                  <a:gd name="T18" fmla="*/ 230576 w 1981200"/>
                  <a:gd name="T19" fmla="*/ 1353144 h 2781300"/>
                  <a:gd name="T20" fmla="*/ 234846 w 1981200"/>
                  <a:gd name="T21" fmla="*/ 1526516 h 2781300"/>
                  <a:gd name="T22" fmla="*/ 0 w 1981200"/>
                  <a:gd name="T23" fmla="*/ 1661830 h 2781300"/>
                  <a:gd name="T24" fmla="*/ 0 w 1981200"/>
                  <a:gd name="T25" fmla="*/ 1852117 h 278130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981200"/>
                  <a:gd name="T40" fmla="*/ 0 h 2781300"/>
                  <a:gd name="T41" fmla="*/ 1981200 w 1981200"/>
                  <a:gd name="T42" fmla="*/ 2781300 h 278130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981200" h="2781300">
                    <a:moveTo>
                      <a:pt x="1981200" y="0"/>
                    </a:moveTo>
                    <a:lnTo>
                      <a:pt x="1663700" y="190500"/>
                    </a:lnTo>
                    <a:lnTo>
                      <a:pt x="1663700" y="457200"/>
                    </a:lnTo>
                    <a:lnTo>
                      <a:pt x="1327150" y="660400"/>
                    </a:lnTo>
                    <a:lnTo>
                      <a:pt x="1327150" y="920750"/>
                    </a:lnTo>
                    <a:lnTo>
                      <a:pt x="990600" y="1117600"/>
                    </a:lnTo>
                    <a:lnTo>
                      <a:pt x="990600" y="1377950"/>
                    </a:lnTo>
                    <a:lnTo>
                      <a:pt x="660400" y="1568450"/>
                    </a:lnTo>
                    <a:lnTo>
                      <a:pt x="666750" y="1835150"/>
                    </a:lnTo>
                    <a:lnTo>
                      <a:pt x="342900" y="2032000"/>
                    </a:lnTo>
                    <a:lnTo>
                      <a:pt x="349250" y="2292350"/>
                    </a:lnTo>
                    <a:lnTo>
                      <a:pt x="0" y="2495550"/>
                    </a:lnTo>
                    <a:lnTo>
                      <a:pt x="0" y="2781300"/>
                    </a:lnTo>
                  </a:path>
                </a:pathLst>
              </a:custGeom>
              <a:grpFill/>
              <a:ln w="0" cap="flat" cmpd="dbl">
                <a:noFill/>
                <a:prstDash val="sysDot"/>
                <a:miter lim="800000"/>
                <a:headEnd/>
                <a:tailEnd/>
              </a:ln>
              <a:effectLst>
                <a:outerShdw dist="20000" dir="5400000" rotWithShape="0">
                  <a:srgbClr val="808080">
                    <a:alpha val="37999"/>
                  </a:srgbClr>
                </a:outerShdw>
              </a:effectLst>
              <a:extLst/>
            </p:spPr>
            <p:txBody>
              <a:bodyPr anchor="ctr"/>
              <a:lstStyle/>
              <a:p>
                <a:endParaRPr lang="en-US" dirty="0"/>
              </a:p>
            </p:txBody>
          </p:sp>
          <p:sp>
            <p:nvSpPr>
              <p:cNvPr id="35" name="Freeform 34"/>
              <p:cNvSpPr>
                <a:spLocks noChangeArrowheads="1"/>
              </p:cNvSpPr>
              <p:nvPr/>
            </p:nvSpPr>
            <p:spPr bwMode="auto">
              <a:xfrm flipH="1">
                <a:off x="4075113" y="2932113"/>
                <a:ext cx="3576637" cy="904875"/>
              </a:xfrm>
              <a:custGeom>
                <a:avLst/>
                <a:gdLst>
                  <a:gd name="T0" fmla="*/ 2692461 w 5321300"/>
                  <a:gd name="T1" fmla="*/ 1346549 h 1346200"/>
                  <a:gd name="T2" fmla="*/ 5321420 w 5321300"/>
                  <a:gd name="T3" fmla="*/ 76220 h 1346200"/>
                  <a:gd name="T4" fmla="*/ 0 w 5321300"/>
                  <a:gd name="T5" fmla="*/ 0 h 1346200"/>
                  <a:gd name="T6" fmla="*/ 2692461 w 5321300"/>
                  <a:gd name="T7" fmla="*/ 1346549 h 13462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321300"/>
                  <a:gd name="T13" fmla="*/ 0 h 1346200"/>
                  <a:gd name="T14" fmla="*/ 5321300 w 5321300"/>
                  <a:gd name="T15" fmla="*/ 1346200 h 13462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321300" h="1346200">
                    <a:moveTo>
                      <a:pt x="2692400" y="1346200"/>
                    </a:moveTo>
                    <a:lnTo>
                      <a:pt x="5321300" y="76200"/>
                    </a:lnTo>
                    <a:lnTo>
                      <a:pt x="0" y="0"/>
                    </a:lnTo>
                    <a:lnTo>
                      <a:pt x="2692400" y="1346200"/>
                    </a:lnTo>
                    <a:close/>
                  </a:path>
                </a:pathLst>
              </a:custGeom>
              <a:grpFill/>
              <a:ln w="0" cap="flat" cmpd="dbl">
                <a:noFill/>
                <a:prstDash val="sysDot"/>
                <a:miter lim="800000"/>
                <a:headEnd/>
                <a:tailEnd/>
              </a:ln>
              <a:effectLst>
                <a:outerShdw dist="23000" dir="5400000" rotWithShape="0">
                  <a:srgbClr val="808080">
                    <a:alpha val="34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latin typeface="Calibri" pitchFamily="-109" charset="0"/>
                  <a:ea typeface="ＭＳ Ｐゴシック" pitchFamily="-109" charset="-128"/>
                </a:endParaRPr>
              </a:p>
            </p:txBody>
          </p:sp>
          <p:sp>
            <p:nvSpPr>
              <p:cNvPr id="36" name="Parallelogram 35"/>
              <p:cNvSpPr/>
              <p:nvPr/>
            </p:nvSpPr>
            <p:spPr bwMode="auto">
              <a:xfrm flipH="1">
                <a:off x="5629275" y="3513138"/>
                <a:ext cx="2803525" cy="136525"/>
              </a:xfrm>
              <a:prstGeom prst="parallelogram">
                <a:avLst>
                  <a:gd name="adj" fmla="val 166356"/>
                </a:avLst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37" name="Rectangle 36"/>
              <p:cNvSpPr/>
              <p:nvPr/>
            </p:nvSpPr>
            <p:spPr bwMode="auto">
              <a:xfrm flipH="1">
                <a:off x="5629275" y="3335338"/>
                <a:ext cx="2578100" cy="211137"/>
              </a:xfrm>
              <a:prstGeom prst="rect">
                <a:avLst/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38" name="Rectangle 37"/>
              <p:cNvSpPr/>
              <p:nvPr/>
            </p:nvSpPr>
            <p:spPr bwMode="auto">
              <a:xfrm flipH="1">
                <a:off x="5854700" y="3643313"/>
                <a:ext cx="2570163" cy="231775"/>
              </a:xfrm>
              <a:prstGeom prst="rect">
                <a:avLst/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39" name="Parallelogram 38"/>
              <p:cNvSpPr/>
              <p:nvPr/>
            </p:nvSpPr>
            <p:spPr bwMode="auto">
              <a:xfrm flipH="1">
                <a:off x="5407025" y="3205163"/>
                <a:ext cx="2803525" cy="136525"/>
              </a:xfrm>
              <a:prstGeom prst="parallelogram">
                <a:avLst>
                  <a:gd name="adj" fmla="val 166356"/>
                </a:avLst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40" name="Rectangle 39"/>
              <p:cNvSpPr/>
              <p:nvPr/>
            </p:nvSpPr>
            <p:spPr bwMode="auto">
              <a:xfrm flipH="1">
                <a:off x="5411788" y="3028950"/>
                <a:ext cx="2576512" cy="211138"/>
              </a:xfrm>
              <a:prstGeom prst="rect">
                <a:avLst/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41" name="Parallelogram 40"/>
              <p:cNvSpPr/>
              <p:nvPr/>
            </p:nvSpPr>
            <p:spPr bwMode="auto">
              <a:xfrm flipH="1">
                <a:off x="5189538" y="2898775"/>
                <a:ext cx="2803525" cy="136525"/>
              </a:xfrm>
              <a:prstGeom prst="parallelogram">
                <a:avLst>
                  <a:gd name="adj" fmla="val 166356"/>
                </a:avLst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42" name="Rectangle 41"/>
              <p:cNvSpPr/>
              <p:nvPr/>
            </p:nvSpPr>
            <p:spPr bwMode="auto">
              <a:xfrm flipH="1">
                <a:off x="5192713" y="2720975"/>
                <a:ext cx="2578100" cy="211138"/>
              </a:xfrm>
              <a:prstGeom prst="rect">
                <a:avLst/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43" name="Parallelogram 42"/>
              <p:cNvSpPr/>
              <p:nvPr/>
            </p:nvSpPr>
            <p:spPr bwMode="auto">
              <a:xfrm flipH="1">
                <a:off x="4972050" y="2590800"/>
                <a:ext cx="2803525" cy="136525"/>
              </a:xfrm>
              <a:prstGeom prst="parallelogram">
                <a:avLst>
                  <a:gd name="adj" fmla="val 166356"/>
                </a:avLst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44" name="Rectangle 43"/>
              <p:cNvSpPr/>
              <p:nvPr/>
            </p:nvSpPr>
            <p:spPr bwMode="auto">
              <a:xfrm flipH="1">
                <a:off x="4972050" y="2414588"/>
                <a:ext cx="2576513" cy="209550"/>
              </a:xfrm>
              <a:prstGeom prst="rect">
                <a:avLst/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45" name="Parallelogram 44"/>
              <p:cNvSpPr/>
              <p:nvPr/>
            </p:nvSpPr>
            <p:spPr bwMode="auto">
              <a:xfrm flipH="1">
                <a:off x="4745038" y="2284413"/>
                <a:ext cx="2803525" cy="136525"/>
              </a:xfrm>
              <a:prstGeom prst="parallelogram">
                <a:avLst>
                  <a:gd name="adj" fmla="val 166356"/>
                </a:avLst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46" name="Rectangle 45"/>
              <p:cNvSpPr/>
              <p:nvPr/>
            </p:nvSpPr>
            <p:spPr bwMode="auto">
              <a:xfrm flipH="1">
                <a:off x="4745038" y="2108200"/>
                <a:ext cx="2578100" cy="211138"/>
              </a:xfrm>
              <a:prstGeom prst="rect">
                <a:avLst/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47" name="Parallelogram 46"/>
              <p:cNvSpPr/>
              <p:nvPr/>
            </p:nvSpPr>
            <p:spPr bwMode="auto">
              <a:xfrm flipH="1">
                <a:off x="4522788" y="1976438"/>
                <a:ext cx="2805112" cy="136525"/>
              </a:xfrm>
              <a:prstGeom prst="parallelogram">
                <a:avLst>
                  <a:gd name="adj" fmla="val 166356"/>
                </a:avLst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48" name="Freeform 39"/>
              <p:cNvSpPr>
                <a:spLocks noChangeArrowheads="1"/>
              </p:cNvSpPr>
              <p:nvPr/>
            </p:nvSpPr>
            <p:spPr bwMode="auto">
              <a:xfrm flipH="1">
                <a:off x="4527550" y="1984375"/>
                <a:ext cx="1331913" cy="1860550"/>
              </a:xfrm>
              <a:custGeom>
                <a:avLst/>
                <a:gdLst>
                  <a:gd name="T0" fmla="*/ 1332220 w 1981200"/>
                  <a:gd name="T1" fmla="*/ 0 h 2781300"/>
                  <a:gd name="T2" fmla="*/ 1118724 w 1981200"/>
                  <a:gd name="T3" fmla="*/ 126858 h 2781300"/>
                  <a:gd name="T4" fmla="*/ 1118724 w 1981200"/>
                  <a:gd name="T5" fmla="*/ 304458 h 2781300"/>
                  <a:gd name="T6" fmla="*/ 892417 w 1981200"/>
                  <a:gd name="T7" fmla="*/ 439772 h 2781300"/>
                  <a:gd name="T8" fmla="*/ 892417 w 1981200"/>
                  <a:gd name="T9" fmla="*/ 613143 h 2781300"/>
                  <a:gd name="T10" fmla="*/ 666110 w 1981200"/>
                  <a:gd name="T11" fmla="*/ 744229 h 2781300"/>
                  <a:gd name="T12" fmla="*/ 666110 w 1981200"/>
                  <a:gd name="T13" fmla="*/ 917601 h 2781300"/>
                  <a:gd name="T14" fmla="*/ 444073 w 1981200"/>
                  <a:gd name="T15" fmla="*/ 1044459 h 2781300"/>
                  <a:gd name="T16" fmla="*/ 448343 w 1981200"/>
                  <a:gd name="T17" fmla="*/ 1222059 h 2781300"/>
                  <a:gd name="T18" fmla="*/ 230577 w 1981200"/>
                  <a:gd name="T19" fmla="*/ 1353144 h 2781300"/>
                  <a:gd name="T20" fmla="*/ 234847 w 1981200"/>
                  <a:gd name="T21" fmla="*/ 1526516 h 2781300"/>
                  <a:gd name="T22" fmla="*/ 0 w 1981200"/>
                  <a:gd name="T23" fmla="*/ 1661830 h 2781300"/>
                  <a:gd name="T24" fmla="*/ 0 w 1981200"/>
                  <a:gd name="T25" fmla="*/ 1852117 h 278130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981200"/>
                  <a:gd name="T40" fmla="*/ 0 h 2781300"/>
                  <a:gd name="T41" fmla="*/ 1981200 w 1981200"/>
                  <a:gd name="T42" fmla="*/ 2781300 h 278130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981200" h="2781300">
                    <a:moveTo>
                      <a:pt x="1981200" y="0"/>
                    </a:moveTo>
                    <a:lnTo>
                      <a:pt x="1663700" y="190500"/>
                    </a:lnTo>
                    <a:lnTo>
                      <a:pt x="1663700" y="457200"/>
                    </a:lnTo>
                    <a:lnTo>
                      <a:pt x="1327150" y="660400"/>
                    </a:lnTo>
                    <a:lnTo>
                      <a:pt x="1327150" y="920750"/>
                    </a:lnTo>
                    <a:lnTo>
                      <a:pt x="990600" y="1117600"/>
                    </a:lnTo>
                    <a:lnTo>
                      <a:pt x="990600" y="1377950"/>
                    </a:lnTo>
                    <a:lnTo>
                      <a:pt x="660400" y="1568450"/>
                    </a:lnTo>
                    <a:lnTo>
                      <a:pt x="666750" y="1835150"/>
                    </a:lnTo>
                    <a:lnTo>
                      <a:pt x="342900" y="2032000"/>
                    </a:lnTo>
                    <a:lnTo>
                      <a:pt x="349250" y="2292350"/>
                    </a:lnTo>
                    <a:lnTo>
                      <a:pt x="0" y="2495550"/>
                    </a:lnTo>
                    <a:lnTo>
                      <a:pt x="0" y="2781300"/>
                    </a:lnTo>
                  </a:path>
                </a:pathLst>
              </a:custGeom>
              <a:grpFill/>
              <a:ln w="0" cap="flat" cmpd="dbl">
                <a:noFill/>
                <a:prstDash val="sysDot"/>
                <a:miter lim="800000"/>
                <a:headEnd/>
                <a:tailEnd/>
              </a:ln>
              <a:effectLst>
                <a:outerShdw dist="20000" dir="5400000" rotWithShape="0">
                  <a:srgbClr val="808080">
                    <a:alpha val="37999"/>
                  </a:srgbClr>
                </a:outerShdw>
              </a:effectLst>
              <a:extLst/>
            </p:spPr>
            <p:txBody>
              <a:bodyPr anchor="ctr"/>
              <a:lstStyle/>
              <a:p>
                <a:endParaRPr lang="en-US" dirty="0"/>
              </a:p>
            </p:txBody>
          </p:sp>
          <p:sp>
            <p:nvSpPr>
              <p:cNvPr id="49" name="Trapezoid 48"/>
              <p:cNvSpPr/>
              <p:nvPr/>
            </p:nvSpPr>
            <p:spPr bwMode="auto">
              <a:xfrm>
                <a:off x="1981200" y="1549400"/>
                <a:ext cx="5143500" cy="431800"/>
              </a:xfrm>
              <a:prstGeom prst="trapezoid">
                <a:avLst>
                  <a:gd name="adj" fmla="val 602941"/>
                </a:avLst>
              </a:prstGeom>
              <a:grpFill/>
              <a:ln w="0" cap="flat" cmpd="dbl">
                <a:noFill/>
                <a:prstDash val="sysDot"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>
                  <a:solidFill>
                    <a:srgbClr val="FFFFFF"/>
                  </a:solidFill>
                  <a:ea typeface="ＭＳ Ｐゴシック" pitchFamily="-109" charset="-128"/>
                </a:endParaRPr>
              </a:p>
            </p:txBody>
          </p:sp>
          <p:sp>
            <p:nvSpPr>
              <p:cNvPr id="50" name="Ellipse 98"/>
              <p:cNvSpPr/>
              <p:nvPr/>
            </p:nvSpPr>
            <p:spPr bwMode="auto">
              <a:xfrm>
                <a:off x="4028981" y="1621783"/>
                <a:ext cx="835119" cy="295917"/>
              </a:xfrm>
              <a:prstGeom prst="ellipse">
                <a:avLst/>
              </a:prstGeom>
              <a:grpFill/>
              <a:ln w="0" cap="flat" cmpd="dbl" algn="ctr">
                <a:noFill/>
                <a:prstDash val="sysDot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dirty="0">
                  <a:solidFill>
                    <a:srgbClr val="FFFFFF"/>
                  </a:solidFill>
                  <a:latin typeface="Calibri" pitchFamily="-109" charset="0"/>
                  <a:ea typeface="ＭＳ Ｐゴシック" pitchFamily="-109" charset="-128"/>
                </a:endParaRPr>
              </a:p>
            </p:txBody>
          </p:sp>
        </p:grpSp>
      </p:grpSp>
      <p:grpSp>
        <p:nvGrpSpPr>
          <p:cNvPr id="64" name="Group 63"/>
          <p:cNvGrpSpPr/>
          <p:nvPr/>
        </p:nvGrpSpPr>
        <p:grpSpPr>
          <a:xfrm>
            <a:off x="1792288" y="2146300"/>
            <a:ext cx="823912" cy="1879600"/>
            <a:chOff x="6376988" y="1525588"/>
            <a:chExt cx="823912" cy="1803400"/>
          </a:xfrm>
          <a:gradFill>
            <a:gsLst>
              <a:gs pos="68000">
                <a:schemeClr val="accent5">
                  <a:lumMod val="60000"/>
                  <a:lumOff val="40000"/>
                </a:schemeClr>
              </a:gs>
              <a:gs pos="32000">
                <a:schemeClr val="accent5">
                  <a:lumMod val="60000"/>
                  <a:lumOff val="40000"/>
                </a:schemeClr>
              </a:gs>
              <a:gs pos="84000">
                <a:schemeClr val="accent5">
                  <a:lumMod val="78000"/>
                </a:schemeClr>
              </a:gs>
              <a:gs pos="100000">
                <a:schemeClr val="accent1">
                  <a:lumMod val="0"/>
                  <a:lumOff val="100000"/>
                  <a:alpha val="0"/>
                </a:schemeClr>
              </a:gs>
            </a:gsLst>
            <a:lin ang="5400000" scaled="0"/>
          </a:gradFill>
          <a:scene3d>
            <a:camera prst="orthographicFront">
              <a:rot lat="0" lon="13199976" rev="0"/>
            </a:camera>
            <a:lightRig rig="threePt" dir="t"/>
          </a:scene3d>
        </p:grpSpPr>
        <p:sp>
          <p:nvSpPr>
            <p:cNvPr id="65" name="Rounded Rectangle 64"/>
            <p:cNvSpPr/>
            <p:nvPr/>
          </p:nvSpPr>
          <p:spPr bwMode="auto">
            <a:xfrm rot="20808544" flipH="1" flipV="1">
              <a:off x="6931025" y="2455863"/>
              <a:ext cx="173038" cy="847725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/>
            </a:p>
          </p:txBody>
        </p:sp>
        <p:sp>
          <p:nvSpPr>
            <p:cNvPr id="66" name="Oval 65"/>
            <p:cNvSpPr/>
            <p:nvPr/>
          </p:nvSpPr>
          <p:spPr bwMode="auto">
            <a:xfrm flipH="1">
              <a:off x="6748463" y="1530350"/>
              <a:ext cx="350837" cy="350838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/>
            </a:p>
          </p:txBody>
        </p:sp>
        <p:sp>
          <p:nvSpPr>
            <p:cNvPr id="67" name="Rounded Rectangle 66"/>
            <p:cNvSpPr/>
            <p:nvPr/>
          </p:nvSpPr>
          <p:spPr bwMode="auto">
            <a:xfrm rot="19252155">
              <a:off x="7042150" y="1911350"/>
              <a:ext cx="158750" cy="665163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/>
            </a:p>
          </p:txBody>
        </p:sp>
        <p:sp>
          <p:nvSpPr>
            <p:cNvPr id="68" name="Rounded Rectangle 67"/>
            <p:cNvSpPr/>
            <p:nvPr/>
          </p:nvSpPr>
          <p:spPr bwMode="auto">
            <a:xfrm flipH="1">
              <a:off x="6816725" y="1943100"/>
              <a:ext cx="212725" cy="696913"/>
            </a:xfrm>
            <a:prstGeom prst="roundRect">
              <a:avLst>
                <a:gd name="adj" fmla="val 41057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/>
            </a:p>
          </p:txBody>
        </p:sp>
        <p:sp>
          <p:nvSpPr>
            <p:cNvPr id="69" name="Rounded Rectangle 68"/>
            <p:cNvSpPr/>
            <p:nvPr/>
          </p:nvSpPr>
          <p:spPr bwMode="auto">
            <a:xfrm rot="1829022" flipH="1">
              <a:off x="6732588" y="1951038"/>
              <a:ext cx="174625" cy="447675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/>
            </a:p>
          </p:txBody>
        </p:sp>
        <p:sp>
          <p:nvSpPr>
            <p:cNvPr id="70" name="Rounded Rectangle 69"/>
            <p:cNvSpPr/>
            <p:nvPr/>
          </p:nvSpPr>
          <p:spPr bwMode="auto">
            <a:xfrm rot="16200000" flipH="1">
              <a:off x="6551613" y="2093913"/>
              <a:ext cx="174625" cy="396875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/>
            </a:p>
          </p:txBody>
        </p:sp>
        <p:sp>
          <p:nvSpPr>
            <p:cNvPr id="71" name="Rounded Rectangle 70"/>
            <p:cNvSpPr/>
            <p:nvPr/>
          </p:nvSpPr>
          <p:spPr bwMode="auto">
            <a:xfrm rot="15413170" flipH="1" flipV="1">
              <a:off x="6696075" y="2359026"/>
              <a:ext cx="174625" cy="50165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/>
            </a:p>
          </p:txBody>
        </p:sp>
        <p:sp>
          <p:nvSpPr>
            <p:cNvPr id="72" name="Rounded Rectangle 71"/>
            <p:cNvSpPr/>
            <p:nvPr/>
          </p:nvSpPr>
          <p:spPr bwMode="auto">
            <a:xfrm rot="1042192" flipH="1" flipV="1">
              <a:off x="6484938" y="2573338"/>
              <a:ext cx="174625" cy="465137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/>
            </a:p>
          </p:txBody>
        </p:sp>
        <p:sp>
          <p:nvSpPr>
            <p:cNvPr id="73" name="Rounded Rectangle 72"/>
            <p:cNvSpPr/>
            <p:nvPr/>
          </p:nvSpPr>
          <p:spPr bwMode="auto">
            <a:xfrm rot="20808544" flipH="1" flipV="1">
              <a:off x="6877050" y="2466975"/>
              <a:ext cx="176213" cy="862013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ea typeface="ＭＳ Ｐゴシック" pitchFamily="-109" charset="-128"/>
              </a:endParaRPr>
            </a:p>
          </p:txBody>
        </p:sp>
        <p:sp>
          <p:nvSpPr>
            <p:cNvPr id="74" name="Oval 73"/>
            <p:cNvSpPr/>
            <p:nvPr/>
          </p:nvSpPr>
          <p:spPr bwMode="auto">
            <a:xfrm flipH="1">
              <a:off x="6691313" y="1525588"/>
              <a:ext cx="357187" cy="357187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ea typeface="ＭＳ Ｐゴシック" pitchFamily="-109" charset="-128"/>
              </a:endParaRPr>
            </a:p>
          </p:txBody>
        </p:sp>
        <p:sp>
          <p:nvSpPr>
            <p:cNvPr id="75" name="Rounded Rectangle 74"/>
            <p:cNvSpPr/>
            <p:nvPr/>
          </p:nvSpPr>
          <p:spPr bwMode="auto">
            <a:xfrm rot="19252155">
              <a:off x="6989763" y="1914525"/>
              <a:ext cx="161925" cy="674688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ea typeface="ＭＳ Ｐゴシック" pitchFamily="-109" charset="-128"/>
              </a:endParaRPr>
            </a:p>
          </p:txBody>
        </p:sp>
        <p:sp>
          <p:nvSpPr>
            <p:cNvPr id="76" name="Rounded Rectangle 75"/>
            <p:cNvSpPr/>
            <p:nvPr/>
          </p:nvSpPr>
          <p:spPr bwMode="auto">
            <a:xfrm flipH="1">
              <a:off x="6759575" y="1944688"/>
              <a:ext cx="217488" cy="709612"/>
            </a:xfrm>
            <a:prstGeom prst="roundRect">
              <a:avLst>
                <a:gd name="adj" fmla="val 41057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ea typeface="ＭＳ Ｐゴシック" pitchFamily="-109" charset="-128"/>
              </a:endParaRPr>
            </a:p>
          </p:txBody>
        </p:sp>
        <p:sp>
          <p:nvSpPr>
            <p:cNvPr id="77" name="Rounded Rectangle 76"/>
            <p:cNvSpPr/>
            <p:nvPr/>
          </p:nvSpPr>
          <p:spPr bwMode="auto">
            <a:xfrm rot="1829022" flipH="1">
              <a:off x="6675438" y="1954213"/>
              <a:ext cx="177800" cy="45561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ea typeface="ＭＳ Ｐゴシック" pitchFamily="-109" charset="-128"/>
              </a:endParaRPr>
            </a:p>
          </p:txBody>
        </p:sp>
        <p:sp>
          <p:nvSpPr>
            <p:cNvPr id="78" name="Rounded Rectangle 77"/>
            <p:cNvSpPr/>
            <p:nvPr/>
          </p:nvSpPr>
          <p:spPr bwMode="auto">
            <a:xfrm rot="16200000" flipH="1">
              <a:off x="6490494" y="2099469"/>
              <a:ext cx="177800" cy="40481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ea typeface="ＭＳ Ｐゴシック" pitchFamily="-109" charset="-128"/>
              </a:endParaRPr>
            </a:p>
          </p:txBody>
        </p:sp>
        <p:sp>
          <p:nvSpPr>
            <p:cNvPr id="79" name="Rounded Rectangle 78"/>
            <p:cNvSpPr/>
            <p:nvPr/>
          </p:nvSpPr>
          <p:spPr bwMode="auto">
            <a:xfrm rot="15413170" flipH="1" flipV="1">
              <a:off x="6638925" y="2366963"/>
              <a:ext cx="176213" cy="509587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ea typeface="ＭＳ Ｐゴシック" pitchFamily="-109" charset="-128"/>
              </a:endParaRPr>
            </a:p>
          </p:txBody>
        </p:sp>
        <p:sp>
          <p:nvSpPr>
            <p:cNvPr id="80" name="Rounded Rectangle 79"/>
            <p:cNvSpPr/>
            <p:nvPr/>
          </p:nvSpPr>
          <p:spPr bwMode="auto">
            <a:xfrm rot="1042192" flipH="1" flipV="1">
              <a:off x="6419850" y="2576513"/>
              <a:ext cx="176213" cy="471487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ea typeface="ＭＳ Ｐゴシック" pitchFamily="-109" charset="-128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4283968" y="1047508"/>
            <a:ext cx="4748076" cy="5189804"/>
            <a:chOff x="4283968" y="1047508"/>
            <a:chExt cx="4748076" cy="5189804"/>
          </a:xfrm>
        </p:grpSpPr>
        <p:grpSp>
          <p:nvGrpSpPr>
            <p:cNvPr id="56" name="Group 55"/>
            <p:cNvGrpSpPr/>
            <p:nvPr/>
          </p:nvGrpSpPr>
          <p:grpSpPr>
            <a:xfrm>
              <a:off x="4283968" y="1047508"/>
              <a:ext cx="4748076" cy="5189804"/>
              <a:chOff x="4644008" y="723817"/>
              <a:chExt cx="4388036" cy="4813253"/>
            </a:xfrm>
          </p:grpSpPr>
          <p:grpSp>
            <p:nvGrpSpPr>
              <p:cNvPr id="57" name="Group 56"/>
              <p:cNvGrpSpPr/>
              <p:nvPr/>
            </p:nvGrpSpPr>
            <p:grpSpPr>
              <a:xfrm>
                <a:off x="4644008" y="723817"/>
                <a:ext cx="4388036" cy="4813253"/>
                <a:chOff x="4567808" y="567621"/>
                <a:chExt cx="4388036" cy="2029299"/>
              </a:xfrm>
            </p:grpSpPr>
            <p:sp>
              <p:nvSpPr>
                <p:cNvPr id="59" name="Rectangle 58"/>
                <p:cNvSpPr/>
                <p:nvPr/>
              </p:nvSpPr>
              <p:spPr bwMode="auto">
                <a:xfrm>
                  <a:off x="4606678" y="825393"/>
                  <a:ext cx="4307644" cy="1771527"/>
                </a:xfrm>
                <a:prstGeom prst="rect">
                  <a:avLst/>
                </a:prstGeom>
                <a:gradFill flip="none" rotWithShape="1">
                  <a:gsLst>
                    <a:gs pos="63000">
                      <a:srgbClr val="F1F6FC">
                        <a:alpha val="79000"/>
                      </a:srgbClr>
                    </a:gs>
                    <a:gs pos="30000">
                      <a:srgbClr val="E3ECF8"/>
                    </a:gs>
                    <a:gs pos="13000">
                      <a:schemeClr val="tx2">
                        <a:lumMod val="20000"/>
                        <a:lumOff val="80000"/>
                      </a:schemeClr>
                    </a:gs>
                    <a:gs pos="98000">
                      <a:schemeClr val="bg1">
                        <a:alpha val="44000"/>
                      </a:schemeClr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n w="3175" cmpd="sng">
                  <a:noFill/>
                </a:ln>
                <a:effectLst>
                  <a:innerShdw blurRad="63500" dist="50800">
                    <a:prstClr val="black">
                      <a:alpha val="50000"/>
                    </a:prstClr>
                  </a:innerShdw>
                  <a:reflection stA="50000" endPos="16000" dist="101600" dir="5400000" sy="-100000" algn="bl" rotWithShape="0"/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500" dirty="0"/>
                </a:p>
              </p:txBody>
            </p:sp>
            <p:sp>
              <p:nvSpPr>
                <p:cNvPr id="60" name="TextBox 40"/>
                <p:cNvSpPr txBox="1">
                  <a:spLocks noChangeArrowheads="1"/>
                </p:cNvSpPr>
                <p:nvPr/>
              </p:nvSpPr>
              <p:spPr bwMode="auto">
                <a:xfrm>
                  <a:off x="4606678" y="894608"/>
                  <a:ext cx="4165808" cy="23588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>
                  <a:spAutoFit/>
                </a:bodyPr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1pPr>
                  <a:lvl2pPr marL="742950" indent="-285750" eaLnBrk="0" hangingPunct="0"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2pPr>
                  <a:lvl3pPr marL="1143000" indent="-228600" eaLnBrk="0" hangingPunct="0"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3pPr>
                  <a:lvl4pPr marL="1600200" indent="-228600" eaLnBrk="0" hangingPunct="0"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4pPr>
                  <a:lvl5pPr marL="2057400" indent="-228600" eaLnBrk="0" hangingPunct="0"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9pPr>
                </a:lstStyle>
                <a:p>
                  <a:pPr marL="285750" indent="-285750" algn="just" eaLnBrk="1" hangingPunct="1">
                    <a:buFont typeface="Wingdings" pitchFamily="2" charset="2"/>
                    <a:buChar char="v"/>
                  </a:pPr>
                  <a:r>
                    <a:rPr lang="en-US" altLang="en-US" sz="1400" b="1" dirty="0" smtClean="0">
                      <a:solidFill>
                        <a:schemeClr val="tx1">
                          <a:lumMod val="50000"/>
                        </a:schemeClr>
                      </a:solidFill>
                    </a:rPr>
                    <a:t>The </a:t>
                  </a:r>
                  <a:r>
                    <a:rPr lang="en-US" altLang="en-US" sz="1400" b="1" dirty="0">
                      <a:solidFill>
                        <a:schemeClr val="tx1">
                          <a:lumMod val="50000"/>
                        </a:schemeClr>
                      </a:solidFill>
                    </a:rPr>
                    <a:t>existence of the law consistent to the international standards</a:t>
                  </a:r>
                </a:p>
              </p:txBody>
            </p:sp>
            <p:sp>
              <p:nvSpPr>
                <p:cNvPr id="61" name="TextBox 40"/>
                <p:cNvSpPr txBox="1">
                  <a:spLocks noChangeArrowheads="1"/>
                </p:cNvSpPr>
                <p:nvPr/>
              </p:nvSpPr>
              <p:spPr bwMode="auto">
                <a:xfrm>
                  <a:off x="4567808" y="1794670"/>
                  <a:ext cx="4346514" cy="43013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>
                  <a:spAutoFit/>
                </a:bodyPr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1pPr>
                  <a:lvl2pPr marL="742950" indent="-285750" eaLnBrk="0" hangingPunct="0"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2pPr>
                  <a:lvl3pPr marL="1143000" indent="-228600" eaLnBrk="0" hangingPunct="0"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3pPr>
                  <a:lvl4pPr marL="1600200" indent="-228600" eaLnBrk="0" hangingPunct="0"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4pPr>
                  <a:lvl5pPr marL="2057400" indent="-228600" eaLnBrk="0" hangingPunct="0"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9pPr>
                </a:lstStyle>
                <a:p>
                  <a:pPr marL="285750" lvl="0" indent="-285750" algn="just">
                    <a:buFont typeface="Wingdings" pitchFamily="2" charset="2"/>
                    <a:buChar char="v"/>
                  </a:pPr>
                  <a:r>
                    <a:rPr lang="en-US" sz="1400" b="1" dirty="0" smtClean="0">
                      <a:solidFill>
                        <a:schemeClr val="tx1">
                          <a:lumMod val="50000"/>
                        </a:schemeClr>
                      </a:solidFill>
                    </a:rPr>
                    <a:t>The </a:t>
                  </a:r>
                  <a:r>
                    <a:rPr lang="en-US" sz="1400" b="1" dirty="0">
                      <a:solidFill>
                        <a:schemeClr val="tx1">
                          <a:lumMod val="50000"/>
                        </a:schemeClr>
                      </a:solidFill>
                    </a:rPr>
                    <a:t>increased index of criminal prosecution </a:t>
                  </a:r>
                  <a:r>
                    <a:rPr lang="en-US" sz="1400" b="1" dirty="0" smtClean="0">
                      <a:solidFill>
                        <a:schemeClr val="tx1">
                          <a:lumMod val="50000"/>
                        </a:schemeClr>
                      </a:solidFill>
                    </a:rPr>
                    <a:t> </a:t>
                  </a:r>
                  <a:endParaRPr lang="en-US" sz="1400" b="1" dirty="0">
                    <a:solidFill>
                      <a:schemeClr val="tx1">
                        <a:lumMod val="50000"/>
                      </a:schemeClr>
                    </a:solidFill>
                  </a:endParaRPr>
                </a:p>
                <a:p>
                  <a:pPr lvl="1" algn="ctr"/>
                  <a:r>
                    <a:rPr lang="en-US" sz="1400" b="1" dirty="0">
                      <a:solidFill>
                        <a:schemeClr val="tx1">
                          <a:lumMod val="50000"/>
                        </a:schemeClr>
                      </a:solidFill>
                    </a:rPr>
                    <a:t>The index of requesting detention as a preventive measure was </a:t>
                  </a:r>
                  <a:r>
                    <a:rPr lang="en-US" sz="1400" b="1" dirty="0">
                      <a:solidFill>
                        <a:srgbClr val="0070C0"/>
                      </a:solidFill>
                    </a:rPr>
                    <a:t>14%</a:t>
                  </a:r>
                  <a:r>
                    <a:rPr lang="en-US" sz="1400" b="1" dirty="0">
                      <a:solidFill>
                        <a:schemeClr val="tx1">
                          <a:lumMod val="50000"/>
                        </a:schemeClr>
                      </a:solidFill>
                    </a:rPr>
                    <a:t> in </a:t>
                  </a:r>
                  <a:r>
                    <a:rPr lang="en-US" sz="1400" b="1" dirty="0">
                      <a:solidFill>
                        <a:srgbClr val="0070C0"/>
                      </a:solidFill>
                    </a:rPr>
                    <a:t>2014</a:t>
                  </a:r>
                  <a:r>
                    <a:rPr lang="en-US" sz="1400" b="1" dirty="0">
                      <a:solidFill>
                        <a:schemeClr val="tx1">
                          <a:lumMod val="50000"/>
                        </a:schemeClr>
                      </a:solidFill>
                    </a:rPr>
                    <a:t>, while in </a:t>
                  </a:r>
                  <a:r>
                    <a:rPr lang="en-US" sz="1400" b="1" dirty="0">
                      <a:solidFill>
                        <a:srgbClr val="0070C0"/>
                      </a:solidFill>
                    </a:rPr>
                    <a:t>2017</a:t>
                  </a:r>
                  <a:r>
                    <a:rPr lang="en-US" sz="1400" b="1" dirty="0">
                      <a:solidFill>
                        <a:schemeClr val="tx1">
                          <a:lumMod val="50000"/>
                        </a:schemeClr>
                      </a:solidFill>
                    </a:rPr>
                    <a:t> the number has risen to </a:t>
                  </a:r>
                  <a:r>
                    <a:rPr lang="en-US" sz="1400" b="1" dirty="0">
                      <a:solidFill>
                        <a:srgbClr val="0070C0"/>
                      </a:solidFill>
                    </a:rPr>
                    <a:t>83</a:t>
                  </a:r>
                  <a:r>
                    <a:rPr lang="en-US" sz="1400" b="1" dirty="0" smtClean="0">
                      <a:solidFill>
                        <a:srgbClr val="0070C0"/>
                      </a:solidFill>
                    </a:rPr>
                    <a:t>%</a:t>
                  </a:r>
                  <a:endParaRPr lang="en-US" sz="1400" b="1" dirty="0">
                    <a:solidFill>
                      <a:srgbClr val="0070C0"/>
                    </a:solidFill>
                  </a:endParaRPr>
                </a:p>
              </p:txBody>
            </p:sp>
            <p:sp>
              <p:nvSpPr>
                <p:cNvPr id="62" name="TextBox 40"/>
                <p:cNvSpPr txBox="1">
                  <a:spLocks noChangeArrowheads="1"/>
                </p:cNvSpPr>
                <p:nvPr/>
              </p:nvSpPr>
              <p:spPr bwMode="auto">
                <a:xfrm>
                  <a:off x="4567808" y="1121849"/>
                  <a:ext cx="4349166" cy="43013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>
                  <a:spAutoFit/>
                </a:bodyPr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1pPr>
                  <a:lvl2pPr marL="742950" indent="-285750" eaLnBrk="0" hangingPunct="0"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2pPr>
                  <a:lvl3pPr marL="1143000" indent="-228600" eaLnBrk="0" hangingPunct="0"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3pPr>
                  <a:lvl4pPr marL="1600200" indent="-228600" eaLnBrk="0" hangingPunct="0"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4pPr>
                  <a:lvl5pPr marL="2057400" indent="-228600" eaLnBrk="0" hangingPunct="0"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Calibri" pitchFamily="34" charset="0"/>
                      <a:ea typeface="MS PGothic" pitchFamily="34" charset="-128"/>
                    </a:defRPr>
                  </a:lvl9pPr>
                </a:lstStyle>
                <a:p>
                  <a:pPr marL="285750" lvl="0" indent="-285750" algn="just">
                    <a:buFont typeface="Wingdings" pitchFamily="2" charset="2"/>
                    <a:buChar char="v"/>
                  </a:pPr>
                  <a:r>
                    <a:rPr lang="en-US" sz="1400" b="1" dirty="0" smtClean="0">
                      <a:solidFill>
                        <a:schemeClr val="tx1">
                          <a:lumMod val="50000"/>
                        </a:schemeClr>
                      </a:solidFill>
                    </a:rPr>
                    <a:t>Increased </a:t>
                  </a:r>
                  <a:r>
                    <a:rPr lang="en-US" sz="1400" b="1" dirty="0">
                      <a:solidFill>
                        <a:schemeClr val="tx1">
                          <a:lumMod val="50000"/>
                        </a:schemeClr>
                      </a:solidFill>
                    </a:rPr>
                    <a:t>reporting by the female victims of domestic violence </a:t>
                  </a:r>
                  <a:r>
                    <a:rPr lang="en-US" sz="1400" b="1" dirty="0" smtClean="0">
                      <a:solidFill>
                        <a:schemeClr val="tx1">
                          <a:lumMod val="50000"/>
                        </a:schemeClr>
                      </a:solidFill>
                    </a:rPr>
                    <a:t> </a:t>
                  </a:r>
                  <a:endParaRPr lang="en-US" sz="1400" b="1" dirty="0">
                    <a:solidFill>
                      <a:schemeClr val="tx1">
                        <a:lumMod val="50000"/>
                      </a:schemeClr>
                    </a:solidFill>
                  </a:endParaRPr>
                </a:p>
                <a:p>
                  <a:pPr lvl="1" algn="ctr"/>
                  <a:r>
                    <a:rPr lang="en-US" sz="1400" b="1" dirty="0">
                      <a:solidFill>
                        <a:srgbClr val="0070C0"/>
                      </a:solidFill>
                    </a:rPr>
                    <a:t>550</a:t>
                  </a:r>
                  <a:r>
                    <a:rPr lang="en-US" sz="1400" b="1" dirty="0">
                      <a:solidFill>
                        <a:schemeClr val="accent1">
                          <a:lumMod val="50000"/>
                        </a:schemeClr>
                      </a:solidFill>
                    </a:rPr>
                    <a:t> reports were documented in </a:t>
                  </a:r>
                  <a:r>
                    <a:rPr lang="en-US" sz="1400" b="1" dirty="0">
                      <a:solidFill>
                        <a:srgbClr val="0070C0"/>
                      </a:solidFill>
                    </a:rPr>
                    <a:t>2014</a:t>
                  </a:r>
                  <a:r>
                    <a:rPr lang="en-US" sz="1400" b="1" dirty="0">
                      <a:solidFill>
                        <a:schemeClr val="accent1">
                          <a:lumMod val="50000"/>
                        </a:schemeClr>
                      </a:solidFill>
                    </a:rPr>
                    <a:t>, while the number increased to </a:t>
                  </a:r>
                  <a:r>
                    <a:rPr lang="en-US" sz="1400" b="1" dirty="0">
                      <a:solidFill>
                        <a:srgbClr val="0070C0"/>
                      </a:solidFill>
                    </a:rPr>
                    <a:t>1986</a:t>
                  </a:r>
                  <a:r>
                    <a:rPr lang="en-US" sz="1400" b="1" dirty="0">
                      <a:solidFill>
                        <a:schemeClr val="accent1">
                          <a:lumMod val="50000"/>
                        </a:schemeClr>
                      </a:solidFill>
                    </a:rPr>
                    <a:t> in </a:t>
                  </a:r>
                  <a:r>
                    <a:rPr lang="en-US" sz="1400" b="1" dirty="0" smtClean="0">
                      <a:solidFill>
                        <a:srgbClr val="0070C0"/>
                      </a:solidFill>
                    </a:rPr>
                    <a:t>2017</a:t>
                  </a:r>
                  <a:endParaRPr lang="en-US" sz="1400" b="1" dirty="0">
                    <a:solidFill>
                      <a:srgbClr val="0070C0"/>
                    </a:solidFill>
                  </a:endParaRPr>
                </a:p>
              </p:txBody>
            </p:sp>
            <p:sp>
              <p:nvSpPr>
                <p:cNvPr id="63" name="Round Same Side Corner Rectangle 39"/>
                <p:cNvSpPr>
                  <a:spLocks noChangeArrowheads="1"/>
                </p:cNvSpPr>
                <p:nvPr/>
              </p:nvSpPr>
              <p:spPr bwMode="auto">
                <a:xfrm>
                  <a:off x="4572000" y="567621"/>
                  <a:ext cx="4383844" cy="303567"/>
                </a:xfrm>
                <a:custGeom>
                  <a:avLst/>
                  <a:gdLst>
                    <a:gd name="T0" fmla="*/ 4347548 w 3261463"/>
                    <a:gd name="T1" fmla="*/ 211800 h 348420"/>
                    <a:gd name="T2" fmla="*/ 2173775 w 3261463"/>
                    <a:gd name="T3" fmla="*/ 423599 h 348420"/>
                    <a:gd name="T4" fmla="*/ 0 w 3261463"/>
                    <a:gd name="T5" fmla="*/ 211800 h 348420"/>
                    <a:gd name="T6" fmla="*/ 2173775 w 3261463"/>
                    <a:gd name="T7" fmla="*/ 0 h 34842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17008 w 3261463"/>
                    <a:gd name="T13" fmla="*/ 17008 h 348420"/>
                    <a:gd name="T14" fmla="*/ 3244455 w 3261463"/>
                    <a:gd name="T15" fmla="*/ 348420 h 34842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261463" h="348420">
                      <a:moveTo>
                        <a:pt x="58071" y="0"/>
                      </a:moveTo>
                      <a:lnTo>
                        <a:pt x="3203392" y="0"/>
                      </a:lnTo>
                      <a:lnTo>
                        <a:pt x="3203391" y="0"/>
                      </a:lnTo>
                      <a:cubicBezTo>
                        <a:pt x="3235463" y="0"/>
                        <a:pt x="3261463" y="25999"/>
                        <a:pt x="3261463" y="58071"/>
                      </a:cubicBezTo>
                      <a:lnTo>
                        <a:pt x="3261463" y="348420"/>
                      </a:lnTo>
                      <a:lnTo>
                        <a:pt x="0" y="348420"/>
                      </a:lnTo>
                      <a:lnTo>
                        <a:pt x="0" y="58071"/>
                      </a:lnTo>
                      <a:cubicBezTo>
                        <a:pt x="0" y="25999"/>
                        <a:pt x="25999" y="0"/>
                        <a:pt x="58070" y="0"/>
                      </a:cubicBezTo>
                      <a:lnTo>
                        <a:pt x="58071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chemeClr val="tx2">
                        <a:alpha val="54000"/>
                        <a:lumMod val="62000"/>
                        <a:lumOff val="38000"/>
                      </a:schemeClr>
                    </a:gs>
                    <a:gs pos="100000">
                      <a:schemeClr val="accent1">
                        <a:lumMod val="75000"/>
                      </a:schemeClr>
                    </a:gs>
                  </a:gsLst>
                  <a:lin ang="5400000"/>
                </a:gradFill>
                <a:ln>
                  <a:noFill/>
                </a:ln>
                <a:effectLst>
                  <a:outerShdw dist="23000" dir="5400000" rotWithShape="0">
                    <a:srgbClr val="808080">
                      <a:alpha val="34998"/>
                    </a:srgbClr>
                  </a:outerShdw>
                </a:effectLst>
              </p:spPr>
              <p:txBody>
                <a:bodyPr anchor="ctr"/>
                <a:lstStyle/>
                <a:p>
                  <a:pPr algn="ctr" eaLnBrk="1" hangingPunct="1"/>
                  <a:endParaRPr lang="en-US" altLang="en-US" sz="16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itchFamily="34" charset="0"/>
                  </a:endParaRPr>
                </a:p>
              </p:txBody>
            </p:sp>
          </p:grpSp>
          <p:sp>
            <p:nvSpPr>
              <p:cNvPr id="58" name="TextBox 40"/>
              <p:cNvSpPr txBox="1">
                <a:spLocks noChangeArrowheads="1"/>
              </p:cNvSpPr>
              <p:nvPr/>
            </p:nvSpPr>
            <p:spPr bwMode="auto">
              <a:xfrm>
                <a:off x="4644008" y="3095862"/>
                <a:ext cx="4124286" cy="5594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9pPr>
              </a:lstStyle>
              <a:p>
                <a:pPr marL="285750" lvl="0" indent="-285750" algn="just">
                  <a:buFont typeface="Wingdings" pitchFamily="2" charset="2"/>
                  <a:buChar char="v"/>
                </a:pPr>
                <a:r>
                  <a:rPr lang="en-US" sz="1400" b="1" dirty="0" smtClean="0">
                    <a:solidFill>
                      <a:schemeClr val="tx1">
                        <a:lumMod val="50000"/>
                      </a:schemeClr>
                    </a:solidFill>
                  </a:rPr>
                  <a:t>Improved </a:t>
                </a:r>
                <a:r>
                  <a:rPr lang="en-US" sz="1400" b="1" dirty="0">
                    <a:solidFill>
                      <a:schemeClr val="tx1">
                        <a:lumMod val="50000"/>
                      </a:schemeClr>
                    </a:solidFill>
                  </a:rPr>
                  <a:t>mechanisms for </a:t>
                </a:r>
                <a:r>
                  <a:rPr lang="en-US" sz="1400" b="1" dirty="0" err="1">
                    <a:solidFill>
                      <a:schemeClr val="tx1">
                        <a:lumMod val="50000"/>
                      </a:schemeClr>
                    </a:solidFill>
                  </a:rPr>
                  <a:t>identifing</a:t>
                </a:r>
                <a:r>
                  <a:rPr lang="en-US" sz="1400" b="1" dirty="0">
                    <a:solidFill>
                      <a:schemeClr val="tx1">
                        <a:lumMod val="50000"/>
                      </a:schemeClr>
                    </a:solidFill>
                  </a:rPr>
                  <a:t> violence against women and domestic violence</a:t>
                </a:r>
              </a:p>
            </p:txBody>
          </p:sp>
        </p:grpSp>
        <p:sp>
          <p:nvSpPr>
            <p:cNvPr id="81" name="TextBox 40"/>
            <p:cNvSpPr txBox="1">
              <a:spLocks noChangeArrowheads="1"/>
            </p:cNvSpPr>
            <p:nvPr/>
          </p:nvSpPr>
          <p:spPr bwMode="auto">
            <a:xfrm>
              <a:off x="4283968" y="5111571"/>
              <a:ext cx="470314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9pPr>
            </a:lstStyle>
            <a:p>
              <a:pPr marL="285750" lvl="0" indent="-285750" algn="just">
                <a:buFont typeface="Wingdings" pitchFamily="2" charset="2"/>
                <a:buChar char="v"/>
              </a:pPr>
              <a:r>
                <a:rPr lang="en-US" sz="1400" b="1" dirty="0" smtClean="0">
                  <a:solidFill>
                    <a:schemeClr val="tx1">
                      <a:lumMod val="50000"/>
                    </a:schemeClr>
                  </a:solidFill>
                </a:rPr>
                <a:t>Criminalization </a:t>
              </a:r>
              <a:r>
                <a:rPr lang="en-US" sz="1400" b="1" dirty="0">
                  <a:solidFill>
                    <a:schemeClr val="tx1">
                      <a:lumMod val="50000"/>
                    </a:schemeClr>
                  </a:solidFill>
                </a:rPr>
                <a:t>of stalking</a:t>
              </a:r>
            </a:p>
          </p:txBody>
        </p:sp>
        <p:sp>
          <p:nvSpPr>
            <p:cNvPr id="82" name="TextBox 40"/>
            <p:cNvSpPr txBox="1">
              <a:spLocks noChangeArrowheads="1"/>
            </p:cNvSpPr>
            <p:nvPr/>
          </p:nvSpPr>
          <p:spPr bwMode="auto">
            <a:xfrm>
              <a:off x="4283968" y="5466710"/>
              <a:ext cx="470314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9pPr>
            </a:lstStyle>
            <a:p>
              <a:pPr marL="285750" lvl="0" indent="-285750" algn="just">
                <a:buFont typeface="Wingdings" pitchFamily="2" charset="2"/>
                <a:buChar char="v"/>
              </a:pPr>
              <a:r>
                <a:rPr lang="en-US" sz="1400" b="1" dirty="0" smtClean="0">
                  <a:solidFill>
                    <a:schemeClr val="tx1">
                      <a:lumMod val="50000"/>
                    </a:schemeClr>
                  </a:solidFill>
                </a:rPr>
                <a:t>Specialized </a:t>
              </a:r>
              <a:r>
                <a:rPr lang="en-US" sz="1400" b="1" dirty="0">
                  <a:solidFill>
                    <a:schemeClr val="tx1">
                      <a:lumMod val="50000"/>
                    </a:schemeClr>
                  </a:solidFill>
                </a:rPr>
                <a:t>prosecutors and investigator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67202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auto">
          <a:xfrm>
            <a:off x="0" y="4431506"/>
            <a:ext cx="9144000" cy="2426494"/>
          </a:xfrm>
          <a:prstGeom prst="rect">
            <a:avLst/>
          </a:prstGeom>
          <a:gradFill>
            <a:gsLst>
              <a:gs pos="24000">
                <a:schemeClr val="tx1">
                  <a:lumMod val="20000"/>
                  <a:lumOff val="80000"/>
                </a:schemeClr>
              </a:gs>
              <a:gs pos="100000">
                <a:schemeClr val="tx2">
                  <a:lumMod val="0"/>
                  <a:lumOff val="100000"/>
                  <a:alpha val="0"/>
                </a:schemeClr>
              </a:gs>
            </a:gsLst>
            <a:lin ang="16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5" name="Oval 14"/>
          <p:cNvSpPr/>
          <p:nvPr/>
        </p:nvSpPr>
        <p:spPr>
          <a:xfrm>
            <a:off x="2267744" y="1270350"/>
            <a:ext cx="5040560" cy="4752528"/>
          </a:xfrm>
          <a:prstGeom prst="ellipse">
            <a:avLst/>
          </a:prstGeom>
          <a:blipFill dpi="0" rotWithShape="1">
            <a:blip r:embed="rId2">
              <a:alphaModFix amt="1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0" y="0"/>
            <a:ext cx="1475656" cy="1268760"/>
            <a:chOff x="0" y="0"/>
            <a:chExt cx="1475656" cy="126876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475656" cy="10527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Oval 11"/>
            <p:cNvSpPr/>
            <p:nvPr/>
          </p:nvSpPr>
          <p:spPr>
            <a:xfrm>
              <a:off x="251520" y="44624"/>
              <a:ext cx="936104" cy="936104"/>
            </a:xfrm>
            <a:prstGeom prst="ellipse">
              <a:avLst/>
            </a:prstGeom>
            <a:blipFill>
              <a:blip r:embed="rId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0" y="1052736"/>
              <a:ext cx="1475656" cy="2160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1447800" y="206375"/>
            <a:ext cx="6858000" cy="533400"/>
          </a:xfrm>
        </p:spPr>
        <p:txBody>
          <a:bodyPr/>
          <a:lstStyle/>
          <a:p>
            <a:r>
              <a:rPr lang="en-US" sz="2000" b="1" dirty="0"/>
              <a:t>The </a:t>
            </a:r>
            <a:r>
              <a:rPr lang="en-US" sz="2000" b="1" dirty="0" smtClean="0"/>
              <a:t>Main </a:t>
            </a:r>
            <a:r>
              <a:rPr lang="en-US" sz="2000" b="1" dirty="0"/>
              <a:t>C</a:t>
            </a:r>
            <a:r>
              <a:rPr lang="en-US" sz="2000" b="1" dirty="0" smtClean="0"/>
              <a:t>hallenges </a:t>
            </a:r>
            <a:r>
              <a:rPr lang="en-US" sz="2000" b="1" dirty="0"/>
              <a:t>and </a:t>
            </a:r>
            <a:r>
              <a:rPr lang="en-US" sz="2000" b="1" dirty="0" smtClean="0"/>
              <a:t>Goals</a:t>
            </a:r>
            <a:endParaRPr lang="en-US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7" name="Group 28"/>
          <p:cNvGrpSpPr/>
          <p:nvPr/>
        </p:nvGrpSpPr>
        <p:grpSpPr>
          <a:xfrm>
            <a:off x="5267841" y="2704909"/>
            <a:ext cx="2038644" cy="3215840"/>
            <a:chOff x="5719655" y="1562090"/>
            <a:chExt cx="2470111" cy="3896455"/>
          </a:xfrm>
          <a:gradFill flip="none" rotWithShape="1">
            <a:gsLst>
              <a:gs pos="50000">
                <a:schemeClr val="tx2">
                  <a:lumMod val="60000"/>
                  <a:lumOff val="40000"/>
                </a:schemeClr>
              </a:gs>
              <a:gs pos="0">
                <a:schemeClr val="tx2">
                  <a:lumMod val="20000"/>
                  <a:lumOff val="80000"/>
                </a:schemeClr>
              </a:gs>
              <a:gs pos="100000">
                <a:schemeClr val="tx1">
                  <a:lumMod val="50000"/>
                  <a:lumOff val="50000"/>
                </a:schemeClr>
              </a:gs>
            </a:gsLst>
            <a:lin ang="16200000" scaled="0"/>
            <a:tileRect/>
          </a:gradFill>
          <a:effectLst>
            <a:outerShdw dist="76200" dir="21300000" algn="tl" rotWithShape="0">
              <a:srgbClr val="000000"/>
            </a:outerShdw>
            <a:reflection stA="34000" endPos="29000" dist="12700" dir="5400000" sy="-100000" algn="bl" rotWithShape="0"/>
          </a:effectLst>
        </p:grpSpPr>
        <p:sp>
          <p:nvSpPr>
            <p:cNvPr id="18" name="Oval 17"/>
            <p:cNvSpPr/>
            <p:nvPr/>
          </p:nvSpPr>
          <p:spPr>
            <a:xfrm>
              <a:off x="7474561" y="1562090"/>
              <a:ext cx="715205" cy="764806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800"/>
            </a:p>
          </p:txBody>
        </p:sp>
        <p:sp>
          <p:nvSpPr>
            <p:cNvPr id="19" name="Rounded Rectangle 18"/>
            <p:cNvSpPr/>
            <p:nvPr/>
          </p:nvSpPr>
          <p:spPr>
            <a:xfrm rot="899540">
              <a:off x="6554734" y="2143034"/>
              <a:ext cx="989399" cy="1712831"/>
            </a:xfrm>
            <a:prstGeom prst="roundRect">
              <a:avLst>
                <a:gd name="adj" fmla="val 29794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800"/>
            </a:p>
          </p:txBody>
        </p:sp>
        <p:sp>
          <p:nvSpPr>
            <p:cNvPr id="20" name="Rounded Rectangle 19"/>
            <p:cNvSpPr/>
            <p:nvPr/>
          </p:nvSpPr>
          <p:spPr>
            <a:xfrm>
              <a:off x="6514849" y="3550378"/>
              <a:ext cx="361165" cy="1908167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800"/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6996976" y="3550378"/>
              <a:ext cx="361165" cy="1908167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800"/>
            </a:p>
          </p:txBody>
        </p:sp>
        <p:sp>
          <p:nvSpPr>
            <p:cNvPr id="22" name="Rounded Rectangle 21"/>
            <p:cNvSpPr/>
            <p:nvPr/>
          </p:nvSpPr>
          <p:spPr>
            <a:xfrm rot="14157995">
              <a:off x="6322453" y="1848921"/>
              <a:ext cx="361165" cy="156676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800"/>
            </a:p>
          </p:txBody>
        </p:sp>
      </p:grpSp>
      <p:sp>
        <p:nvSpPr>
          <p:cNvPr id="23" name="Oval 22"/>
          <p:cNvSpPr/>
          <p:nvPr/>
        </p:nvSpPr>
        <p:spPr>
          <a:xfrm>
            <a:off x="6827128" y="5462391"/>
            <a:ext cx="2281376" cy="649363"/>
          </a:xfrm>
          <a:prstGeom prst="ellipse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</a:schemeClr>
              </a:gs>
              <a:gs pos="53000">
                <a:schemeClr val="bg1">
                  <a:lumMod val="65000"/>
                </a:schemeClr>
              </a:gs>
              <a:gs pos="100000">
                <a:schemeClr val="tx1">
                  <a:lumMod val="85000"/>
                  <a:lumOff val="15000"/>
                </a:schemeClr>
              </a:gs>
            </a:gsLst>
            <a:lin ang="0" scaled="1"/>
            <a:tileRect/>
          </a:gradFill>
          <a:ln>
            <a:noFill/>
          </a:ln>
          <a:effectLst>
            <a:innerShdw blurRad="193675" dist="139700" dir="15060000">
              <a:srgbClr val="000000">
                <a:alpha val="77000"/>
              </a:srgb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9pPr>
          </a:lstStyle>
          <a:p>
            <a:pPr algn="ctr" eaLnBrk="1" hangingPunct="1">
              <a:defRPr/>
            </a:pPr>
            <a:endParaRPr lang="nb-NO" sz="1800" smtClean="0">
              <a:solidFill>
                <a:srgbClr val="FFFFFF"/>
              </a:solidFill>
            </a:endParaRPr>
          </a:p>
        </p:txBody>
      </p:sp>
      <p:sp>
        <p:nvSpPr>
          <p:cNvPr id="24" name="Can 23"/>
          <p:cNvSpPr/>
          <p:nvPr/>
        </p:nvSpPr>
        <p:spPr>
          <a:xfrm rot="362865">
            <a:off x="7908286" y="4898069"/>
            <a:ext cx="131763" cy="1209675"/>
          </a:xfrm>
          <a:prstGeom prst="can">
            <a:avLst/>
          </a:prstGeom>
          <a:gradFill>
            <a:gsLst>
              <a:gs pos="0">
                <a:schemeClr val="tx1">
                  <a:lumMod val="85000"/>
                  <a:lumOff val="15000"/>
                </a:schemeClr>
              </a:gs>
              <a:gs pos="100000">
                <a:schemeClr val="tx1">
                  <a:lumMod val="65000"/>
                  <a:lumOff val="3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b-NO" sz="1800">
              <a:solidFill>
                <a:srgbClr val="FFFFFF"/>
              </a:solidFill>
              <a:ea typeface="ＭＳ Ｐゴシック" charset="-128"/>
            </a:endParaRPr>
          </a:p>
        </p:txBody>
      </p:sp>
      <p:sp>
        <p:nvSpPr>
          <p:cNvPr id="25" name="Isosceles Triangle 24"/>
          <p:cNvSpPr/>
          <p:nvPr/>
        </p:nvSpPr>
        <p:spPr>
          <a:xfrm>
            <a:off x="7465030" y="4418455"/>
            <a:ext cx="1104784" cy="952400"/>
          </a:xfrm>
          <a:prstGeom prst="triangle">
            <a:avLst/>
          </a:prstGeom>
          <a:gradFill>
            <a:gsLst>
              <a:gs pos="100000">
                <a:schemeClr val="accent5">
                  <a:lumMod val="40000"/>
                  <a:lumOff val="60000"/>
                </a:schemeClr>
              </a:gs>
              <a:gs pos="0">
                <a:srgbClr val="00B0F0"/>
              </a:gs>
            </a:gsLst>
          </a:gradFill>
          <a:ln>
            <a:noFill/>
          </a:ln>
          <a:effectLst>
            <a:outerShdw blurRad="225425" dist="50800" dir="5220000" algn="ctr">
              <a:srgbClr val="000000">
                <a:alpha val="33000"/>
              </a:srgbClr>
            </a:outerShdw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 algn="ctr">
              <a:defRPr/>
            </a:pPr>
            <a:r>
              <a:rPr lang="ka-GE" sz="4800" b="1" dirty="0" smtClean="0">
                <a:solidFill>
                  <a:schemeClr val="tx1"/>
                </a:solidFill>
              </a:rPr>
              <a:t>?</a:t>
            </a:r>
            <a:endParaRPr lang="en-US" sz="4800" b="1" dirty="0">
              <a:solidFill>
                <a:schemeClr val="tx1"/>
              </a:solidFill>
            </a:endParaRPr>
          </a:p>
        </p:txBody>
      </p:sp>
      <p:sp>
        <p:nvSpPr>
          <p:cNvPr id="26" name="TextBox 3"/>
          <p:cNvSpPr txBox="1">
            <a:spLocks noChangeArrowheads="1"/>
          </p:cNvSpPr>
          <p:nvPr/>
        </p:nvSpPr>
        <p:spPr bwMode="auto">
          <a:xfrm>
            <a:off x="7007631" y="2058032"/>
            <a:ext cx="43473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-65" charset="0"/>
                <a:ea typeface="ＭＳ Ｐゴシック" pitchFamily="-65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-65" charset="0"/>
                <a:ea typeface="ＭＳ Ｐゴシック" pitchFamily="-65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-65" charset="0"/>
                <a:ea typeface="ＭＳ Ｐゴシック" pitchFamily="-65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-65" charset="0"/>
                <a:ea typeface="ＭＳ Ｐゴシック" pitchFamily="-65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-65" charset="0"/>
                <a:ea typeface="ＭＳ Ｐゴシック" pitchFamily="-65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-65" charset="0"/>
                <a:ea typeface="ＭＳ Ｐゴシック" pitchFamily="-65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-65" charset="0"/>
                <a:ea typeface="ＭＳ Ｐゴシック" pitchFamily="-65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-65" charset="0"/>
                <a:ea typeface="ＭＳ Ｐゴシック" pitchFamily="-65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r>
              <a:rPr lang="ka-GE" sz="4200" dirty="0" smtClean="0">
                <a:solidFill>
                  <a:srgbClr val="FFFFFF"/>
                </a:solidFill>
              </a:rPr>
              <a:t>?</a:t>
            </a:r>
            <a:endParaRPr lang="en-US" sz="4200" dirty="0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323528" y="1464046"/>
            <a:ext cx="4971644" cy="5133306"/>
          </a:xfrm>
          <a:prstGeom prst="rect">
            <a:avLst/>
          </a:prstGeom>
          <a:gradFill>
            <a:gsLst>
              <a:gs pos="76000">
                <a:schemeClr val="bg1"/>
              </a:gs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tx2">
                  <a:lumMod val="20000"/>
                  <a:lumOff val="80000"/>
                </a:schemeClr>
              </a:gs>
            </a:gsLst>
          </a:gradFill>
          <a:ln w="3175" cmpd="sng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  <a:reflection stA="50000" endPos="16000" dist="101600" dir="5400000" sy="-100000" algn="bl" rotWithShape="0"/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00"/>
          </a:p>
        </p:txBody>
      </p:sp>
      <p:sp>
        <p:nvSpPr>
          <p:cNvPr id="32" name="Round Same Side Corner Rectangle 23"/>
          <p:cNvSpPr>
            <a:spLocks noChangeArrowheads="1"/>
          </p:cNvSpPr>
          <p:nvPr/>
        </p:nvSpPr>
        <p:spPr bwMode="auto">
          <a:xfrm>
            <a:off x="261427" y="1268760"/>
            <a:ext cx="5127935" cy="687672"/>
          </a:xfrm>
          <a:custGeom>
            <a:avLst/>
            <a:gdLst>
              <a:gd name="T0" fmla="*/ 4347548 w 3261463"/>
              <a:gd name="T1" fmla="*/ 211800 h 348420"/>
              <a:gd name="T2" fmla="*/ 2173775 w 3261463"/>
              <a:gd name="T3" fmla="*/ 423599 h 348420"/>
              <a:gd name="T4" fmla="*/ 0 w 3261463"/>
              <a:gd name="T5" fmla="*/ 211800 h 348420"/>
              <a:gd name="T6" fmla="*/ 2173775 w 3261463"/>
              <a:gd name="T7" fmla="*/ 0 h 348420"/>
              <a:gd name="T8" fmla="*/ 0 60000 65536"/>
              <a:gd name="T9" fmla="*/ 0 60000 65536"/>
              <a:gd name="T10" fmla="*/ 0 60000 65536"/>
              <a:gd name="T11" fmla="*/ 0 60000 65536"/>
              <a:gd name="T12" fmla="*/ 17008 w 3261463"/>
              <a:gd name="T13" fmla="*/ 17008 h 348420"/>
              <a:gd name="T14" fmla="*/ 3244455 w 3261463"/>
              <a:gd name="T15" fmla="*/ 348420 h 34842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261463" h="348420">
                <a:moveTo>
                  <a:pt x="58071" y="0"/>
                </a:moveTo>
                <a:lnTo>
                  <a:pt x="3203392" y="0"/>
                </a:lnTo>
                <a:lnTo>
                  <a:pt x="3203391" y="0"/>
                </a:lnTo>
                <a:cubicBezTo>
                  <a:pt x="3235463" y="0"/>
                  <a:pt x="3261463" y="25999"/>
                  <a:pt x="3261463" y="58071"/>
                </a:cubicBezTo>
                <a:lnTo>
                  <a:pt x="3261463" y="348420"/>
                </a:lnTo>
                <a:lnTo>
                  <a:pt x="0" y="348420"/>
                </a:lnTo>
                <a:lnTo>
                  <a:pt x="0" y="58071"/>
                </a:lnTo>
                <a:cubicBezTo>
                  <a:pt x="0" y="25999"/>
                  <a:pt x="25999" y="0"/>
                  <a:pt x="58070" y="0"/>
                </a:cubicBezTo>
                <a:lnTo>
                  <a:pt x="58071" y="0"/>
                </a:lnTo>
                <a:close/>
              </a:path>
            </a:pathLst>
          </a:custGeom>
          <a:gradFill rotWithShape="1">
            <a:gsLst>
              <a:gs pos="50000">
                <a:schemeClr val="tx2">
                  <a:lumMod val="40000"/>
                  <a:lumOff val="60000"/>
                </a:schemeClr>
              </a:gs>
              <a:gs pos="0">
                <a:schemeClr val="tx2">
                  <a:lumMod val="60000"/>
                  <a:lumOff val="40000"/>
                </a:schemeClr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/>
          </a:gra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  <a:extLst/>
        </p:spPr>
        <p:txBody>
          <a:bodyPr anchor="ctr"/>
          <a:lstStyle/>
          <a:p>
            <a:pPr algn="ctr"/>
            <a:endParaRPr lang="en-US" sz="1500" b="1" dirty="0">
              <a:solidFill>
                <a:schemeClr val="bg1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64452" y="2185700"/>
            <a:ext cx="4830720" cy="4195628"/>
            <a:chOff x="464452" y="2185700"/>
            <a:chExt cx="4830720" cy="4195628"/>
          </a:xfrm>
        </p:grpSpPr>
        <p:sp>
          <p:nvSpPr>
            <p:cNvPr id="28" name="TextBox 1"/>
            <p:cNvSpPr txBox="1">
              <a:spLocks noChangeArrowheads="1"/>
            </p:cNvSpPr>
            <p:nvPr/>
          </p:nvSpPr>
          <p:spPr bwMode="auto">
            <a:xfrm>
              <a:off x="467544" y="2185700"/>
              <a:ext cx="4624901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9pPr>
            </a:lstStyle>
            <a:p>
              <a:pPr marL="171450" indent="-171450" algn="just" eaLnBrk="1" hangingPunct="1">
                <a:buFont typeface="Wingdings" pitchFamily="2" charset="2"/>
                <a:buChar char="v"/>
              </a:pPr>
              <a:r>
                <a:rPr lang="en-US" sz="1400" dirty="0">
                  <a:solidFill>
                    <a:srgbClr val="002060"/>
                  </a:solidFill>
                </a:rPr>
                <a:t>Necessity to rise public awareness about women's rights, violence against women and domestic violence</a:t>
              </a:r>
              <a:endParaRPr lang="en-US" sz="1400" b="1" dirty="0">
                <a:solidFill>
                  <a:srgbClr val="002060"/>
                </a:solidFill>
              </a:endParaRPr>
            </a:p>
          </p:txBody>
        </p:sp>
        <p:sp>
          <p:nvSpPr>
            <p:cNvPr id="29" name="TextBox 40"/>
            <p:cNvSpPr txBox="1">
              <a:spLocks noChangeArrowheads="1"/>
            </p:cNvSpPr>
            <p:nvPr/>
          </p:nvSpPr>
          <p:spPr bwMode="auto">
            <a:xfrm>
              <a:off x="467544" y="2761764"/>
              <a:ext cx="4772009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9pPr>
            </a:lstStyle>
            <a:p>
              <a:pPr marL="171450" lvl="0" indent="-171450">
                <a:buFont typeface="Wingdings" pitchFamily="2" charset="2"/>
                <a:buChar char="v"/>
              </a:pPr>
              <a:r>
                <a:rPr lang="en-US" sz="1400" dirty="0">
                  <a:solidFill>
                    <a:srgbClr val="002060"/>
                  </a:solidFill>
                </a:rPr>
                <a:t>Increasing the number of addressing the law enforcement authorities in case of inflicted violence</a:t>
              </a:r>
              <a:endParaRPr lang="en-US" sz="1400" b="1" dirty="0">
                <a:solidFill>
                  <a:srgbClr val="002060"/>
                </a:solidFill>
              </a:endParaRPr>
            </a:p>
          </p:txBody>
        </p:sp>
        <p:sp>
          <p:nvSpPr>
            <p:cNvPr id="30" name="TextBox 41"/>
            <p:cNvSpPr txBox="1">
              <a:spLocks noChangeArrowheads="1"/>
            </p:cNvSpPr>
            <p:nvPr/>
          </p:nvSpPr>
          <p:spPr bwMode="auto">
            <a:xfrm>
              <a:off x="467544" y="3337828"/>
              <a:ext cx="4827628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9pPr>
            </a:lstStyle>
            <a:p>
              <a:pPr marL="171450" indent="-171450" eaLnBrk="1" hangingPunct="1">
                <a:buFont typeface="Wingdings" pitchFamily="2" charset="2"/>
                <a:buChar char="v"/>
              </a:pPr>
              <a:r>
                <a:rPr lang="en-US" sz="1400" dirty="0">
                  <a:solidFill>
                    <a:srgbClr val="002060"/>
                  </a:solidFill>
                </a:rPr>
                <a:t>Protecting their own rights and cooperating with law enforcement agencies by the victims</a:t>
              </a:r>
              <a:endParaRPr lang="en-US" sz="1400" b="1" dirty="0">
                <a:solidFill>
                  <a:srgbClr val="002060"/>
                </a:solidFill>
              </a:endParaRPr>
            </a:p>
          </p:txBody>
        </p:sp>
        <p:sp>
          <p:nvSpPr>
            <p:cNvPr id="31" name="TextBox 43"/>
            <p:cNvSpPr txBox="1">
              <a:spLocks noChangeArrowheads="1"/>
            </p:cNvSpPr>
            <p:nvPr/>
          </p:nvSpPr>
          <p:spPr bwMode="auto">
            <a:xfrm>
              <a:off x="467544" y="3841303"/>
              <a:ext cx="440530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9pPr>
            </a:lstStyle>
            <a:p>
              <a:pPr marL="171450" indent="-171450" eaLnBrk="1" hangingPunct="1">
                <a:buFont typeface="Wingdings" pitchFamily="2" charset="2"/>
                <a:buChar char="v"/>
              </a:pPr>
              <a:r>
                <a:rPr lang="en-US" sz="1400" dirty="0">
                  <a:solidFill>
                    <a:srgbClr val="002060"/>
                  </a:solidFill>
                </a:rPr>
                <a:t>Changed testimonies from victims</a:t>
              </a:r>
              <a:endParaRPr lang="en-US" sz="1400" b="1" dirty="0">
                <a:solidFill>
                  <a:srgbClr val="002060"/>
                </a:solidFill>
              </a:endParaRPr>
            </a:p>
          </p:txBody>
        </p:sp>
        <p:sp>
          <p:nvSpPr>
            <p:cNvPr id="33" name="TextBox 43"/>
            <p:cNvSpPr txBox="1">
              <a:spLocks noChangeArrowheads="1"/>
            </p:cNvSpPr>
            <p:nvPr/>
          </p:nvSpPr>
          <p:spPr bwMode="auto">
            <a:xfrm>
              <a:off x="467544" y="4129916"/>
              <a:ext cx="4827628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9pPr>
            </a:lstStyle>
            <a:p>
              <a:pPr marL="171450" indent="-171450" eaLnBrk="1" hangingPunct="1">
                <a:buFont typeface="Wingdings" pitchFamily="2" charset="2"/>
                <a:buChar char="v"/>
              </a:pPr>
              <a:r>
                <a:rPr lang="en-US" sz="1400" dirty="0" err="1">
                  <a:solidFill>
                    <a:srgbClr val="002060"/>
                  </a:solidFill>
                </a:rPr>
                <a:t>Implenting</a:t>
              </a:r>
              <a:r>
                <a:rPr lang="en-US" sz="1400" dirty="0">
                  <a:solidFill>
                    <a:srgbClr val="002060"/>
                  </a:solidFill>
                </a:rPr>
                <a:t> specialized system in other governmental structures</a:t>
              </a:r>
              <a:endParaRPr lang="en-US" sz="1400" b="1" dirty="0">
                <a:solidFill>
                  <a:srgbClr val="002060"/>
                </a:solidFill>
              </a:endParaRPr>
            </a:p>
          </p:txBody>
        </p:sp>
        <p:sp>
          <p:nvSpPr>
            <p:cNvPr id="34" name="TextBox 43"/>
            <p:cNvSpPr txBox="1">
              <a:spLocks noChangeArrowheads="1"/>
            </p:cNvSpPr>
            <p:nvPr/>
          </p:nvSpPr>
          <p:spPr bwMode="auto">
            <a:xfrm>
              <a:off x="467544" y="4581128"/>
              <a:ext cx="4608512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9pPr>
            </a:lstStyle>
            <a:p>
              <a:pPr marL="171450" indent="-171450" eaLnBrk="1" hangingPunct="1">
                <a:buFont typeface="Wingdings" pitchFamily="2" charset="2"/>
                <a:buChar char="v"/>
              </a:pPr>
              <a:r>
                <a:rPr lang="en-US" sz="1400" dirty="0">
                  <a:solidFill>
                    <a:srgbClr val="002060"/>
                  </a:solidFill>
                </a:rPr>
                <a:t>Improvement of an indicator of psychological and other forms of violence</a:t>
              </a:r>
              <a:endParaRPr lang="en-US" sz="1400" b="1" dirty="0">
                <a:solidFill>
                  <a:srgbClr val="002060"/>
                </a:solidFill>
              </a:endParaRPr>
            </a:p>
          </p:txBody>
        </p:sp>
        <p:sp>
          <p:nvSpPr>
            <p:cNvPr id="35" name="TextBox 43"/>
            <p:cNvSpPr txBox="1">
              <a:spLocks noChangeArrowheads="1"/>
            </p:cNvSpPr>
            <p:nvPr/>
          </p:nvSpPr>
          <p:spPr bwMode="auto">
            <a:xfrm>
              <a:off x="467544" y="5066020"/>
              <a:ext cx="4608512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9pPr>
            </a:lstStyle>
            <a:p>
              <a:pPr marL="171450" indent="-171450" eaLnBrk="1" hangingPunct="1">
                <a:buFont typeface="Wingdings" pitchFamily="2" charset="2"/>
                <a:buChar char="v"/>
              </a:pPr>
              <a:r>
                <a:rPr lang="en-US" sz="1400" dirty="0">
                  <a:solidFill>
                    <a:srgbClr val="002060"/>
                  </a:solidFill>
                </a:rPr>
                <a:t>The existence of appropriate services for victims and abusers</a:t>
              </a:r>
              <a:endParaRPr lang="en-US" sz="1400" b="1" dirty="0">
                <a:solidFill>
                  <a:srgbClr val="002060"/>
                </a:solidFill>
              </a:endParaRPr>
            </a:p>
          </p:txBody>
        </p:sp>
        <p:sp>
          <p:nvSpPr>
            <p:cNvPr id="36" name="TextBox 43"/>
            <p:cNvSpPr txBox="1">
              <a:spLocks noChangeArrowheads="1"/>
            </p:cNvSpPr>
            <p:nvPr/>
          </p:nvSpPr>
          <p:spPr bwMode="auto">
            <a:xfrm>
              <a:off x="464452" y="5570076"/>
              <a:ext cx="4827628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9pPr>
            </a:lstStyle>
            <a:p>
              <a:pPr marL="171450" indent="-171450" eaLnBrk="1" hangingPunct="1">
                <a:buFont typeface="Wingdings" pitchFamily="2" charset="2"/>
                <a:buChar char="v"/>
              </a:pPr>
              <a:r>
                <a:rPr lang="en-US" sz="1400" dirty="0">
                  <a:solidFill>
                    <a:srgbClr val="002060"/>
                  </a:solidFill>
                </a:rPr>
                <a:t>Raising the qualification of law enforcement officers and introduction of international standards in daily practice</a:t>
              </a:r>
              <a:endParaRPr lang="en-US" sz="1400" b="1" dirty="0">
                <a:solidFill>
                  <a:srgbClr val="002060"/>
                </a:solidFill>
              </a:endParaRPr>
            </a:p>
          </p:txBody>
        </p:sp>
        <p:sp>
          <p:nvSpPr>
            <p:cNvPr id="37" name="TextBox 43"/>
            <p:cNvSpPr txBox="1">
              <a:spLocks noChangeArrowheads="1"/>
            </p:cNvSpPr>
            <p:nvPr/>
          </p:nvSpPr>
          <p:spPr bwMode="auto">
            <a:xfrm>
              <a:off x="467544" y="6073551"/>
              <a:ext cx="4608512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-65" charset="0"/>
                  <a:ea typeface="ＭＳ Ｐゴシック" pitchFamily="-65" charset="-128"/>
                </a:defRPr>
              </a:lvl9pPr>
            </a:lstStyle>
            <a:p>
              <a:pPr marL="171450" lvl="0" indent="-171450" eaLnBrk="1" hangingPunct="1">
                <a:buFont typeface="Wingdings" pitchFamily="2" charset="2"/>
                <a:buChar char="v"/>
              </a:pPr>
              <a:r>
                <a:rPr lang="en-US" sz="1400" dirty="0">
                  <a:solidFill>
                    <a:srgbClr val="002060"/>
                  </a:solidFill>
                </a:rPr>
                <a:t>Stereotypes, social and economic issues.</a:t>
              </a:r>
              <a:endParaRPr lang="ka-GE" sz="1400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9565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3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3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3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2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2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2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200"/>
                            </p:stCondLst>
                            <p:childTnLst>
                              <p:par>
                                <p:cTn id="27" presetID="53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6" presetClass="emph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 tmFilter="0, 0; .2, .5; .8, .5; 1, 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4" dur="250" autoRev="1" fill="hold"/>
                                        <p:tgtEl>
                                          <p:spTgt spid="3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22" presetClass="entr" presetSubtype="1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6" grpId="0"/>
      <p:bldP spid="32" grpId="0" animBg="1"/>
      <p:bldP spid="32" grpId="1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 b="1" dirty="0"/>
              <a:t>Donor and </a:t>
            </a:r>
            <a:r>
              <a:rPr lang="en-US" sz="1600" b="1" dirty="0" smtClean="0"/>
              <a:t>Partner </a:t>
            </a:r>
            <a:r>
              <a:rPr lang="en-US" sz="1600" b="1" dirty="0"/>
              <a:t>O</a:t>
            </a:r>
            <a:r>
              <a:rPr lang="en-US" sz="1600" b="1" dirty="0" smtClean="0"/>
              <a:t>rganizations</a:t>
            </a:r>
            <a:r>
              <a:rPr lang="en-US" sz="1600" b="1" dirty="0"/>
              <a:t>:</a:t>
            </a:r>
            <a:endParaRPr lang="ka-GE" sz="1600" dirty="0"/>
          </a:p>
        </p:txBody>
      </p:sp>
      <p:grpSp>
        <p:nvGrpSpPr>
          <p:cNvPr id="3" name="Group 2"/>
          <p:cNvGrpSpPr/>
          <p:nvPr/>
        </p:nvGrpSpPr>
        <p:grpSpPr>
          <a:xfrm>
            <a:off x="0" y="0"/>
            <a:ext cx="1475656" cy="1268760"/>
            <a:chOff x="0" y="0"/>
            <a:chExt cx="1475656" cy="1268760"/>
          </a:xfrm>
        </p:grpSpPr>
        <p:sp>
          <p:nvSpPr>
            <p:cNvPr id="4" name="Rectangle 3"/>
            <p:cNvSpPr/>
            <p:nvPr/>
          </p:nvSpPr>
          <p:spPr>
            <a:xfrm>
              <a:off x="0" y="0"/>
              <a:ext cx="1475656" cy="10527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Oval 4"/>
            <p:cNvSpPr/>
            <p:nvPr/>
          </p:nvSpPr>
          <p:spPr>
            <a:xfrm>
              <a:off x="251520" y="44624"/>
              <a:ext cx="936104" cy="936104"/>
            </a:xfrm>
            <a:prstGeom prst="ellipse">
              <a:avLst/>
            </a:prstGeom>
            <a:blipFill>
              <a:blip r:embed="rId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tangle 5"/>
            <p:cNvSpPr/>
            <p:nvPr/>
          </p:nvSpPr>
          <p:spPr>
            <a:xfrm>
              <a:off x="0" y="1052736"/>
              <a:ext cx="1475656" cy="2160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42" name="Rectangle 41"/>
          <p:cNvSpPr/>
          <p:nvPr/>
        </p:nvSpPr>
        <p:spPr bwMode="auto">
          <a:xfrm>
            <a:off x="0" y="4431506"/>
            <a:ext cx="9144000" cy="2426494"/>
          </a:xfrm>
          <a:prstGeom prst="rect">
            <a:avLst/>
          </a:prstGeom>
          <a:gradFill>
            <a:gsLst>
              <a:gs pos="24000">
                <a:schemeClr val="tx1">
                  <a:lumMod val="20000"/>
                  <a:lumOff val="80000"/>
                </a:schemeClr>
              </a:gs>
              <a:gs pos="100000">
                <a:schemeClr val="tx2">
                  <a:lumMod val="0"/>
                  <a:lumOff val="100000"/>
                  <a:alpha val="0"/>
                </a:schemeClr>
              </a:gs>
            </a:gsLst>
            <a:lin ang="16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55" name="Rectangle 5"/>
          <p:cNvSpPr txBox="1">
            <a:spLocks noChangeArrowheads="1"/>
          </p:cNvSpPr>
          <p:nvPr/>
        </p:nvSpPr>
        <p:spPr>
          <a:xfrm>
            <a:off x="6516216" y="6093296"/>
            <a:ext cx="2664296" cy="457200"/>
          </a:xfrm>
          <a:prstGeom prst="rect">
            <a:avLst/>
          </a:prstGeom>
          <a:noFill/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SzPct val="50000"/>
              <a:buFont typeface="Wingdings 2" pitchFamily="18" charset="2"/>
              <a:buChar char="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SzPct val="60000"/>
              <a:buFont typeface="Wingdings 2" pitchFamily="18" charset="2"/>
              <a:buChar char="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b="1" dirty="0" smtClean="0">
                <a:solidFill>
                  <a:schemeClr val="tx1">
                    <a:lumMod val="50000"/>
                  </a:schemeClr>
                </a:solidFill>
              </a:rPr>
              <a:t>www.pog.gov.ge</a:t>
            </a:r>
            <a:endParaRPr lang="en-GB" sz="20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0" name="Freeform 5960"/>
          <p:cNvSpPr>
            <a:spLocks noChangeAspect="1" noEditPoints="1"/>
          </p:cNvSpPr>
          <p:nvPr/>
        </p:nvSpPr>
        <p:spPr bwMode="auto">
          <a:xfrm>
            <a:off x="650875" y="1452910"/>
            <a:ext cx="7731125" cy="4424362"/>
          </a:xfrm>
          <a:custGeom>
            <a:avLst/>
            <a:gdLst>
              <a:gd name="T0" fmla="*/ 2147483647 w 13744"/>
              <a:gd name="T1" fmla="*/ 2147483647 h 7946"/>
              <a:gd name="T2" fmla="*/ 2147483647 w 13744"/>
              <a:gd name="T3" fmla="*/ 2147483647 h 7946"/>
              <a:gd name="T4" fmla="*/ 2147483647 w 13744"/>
              <a:gd name="T5" fmla="*/ 2147483647 h 7946"/>
              <a:gd name="T6" fmla="*/ 2147483647 w 13744"/>
              <a:gd name="T7" fmla="*/ 2147483647 h 7946"/>
              <a:gd name="T8" fmla="*/ 2147483647 w 13744"/>
              <a:gd name="T9" fmla="*/ 2147483647 h 7946"/>
              <a:gd name="T10" fmla="*/ 2147483647 w 13744"/>
              <a:gd name="T11" fmla="*/ 2147483647 h 7946"/>
              <a:gd name="T12" fmla="*/ 2147483647 w 13744"/>
              <a:gd name="T13" fmla="*/ 2147483647 h 7946"/>
              <a:gd name="T14" fmla="*/ 2147483647 w 13744"/>
              <a:gd name="T15" fmla="*/ 2147483647 h 7946"/>
              <a:gd name="T16" fmla="*/ 2147483647 w 13744"/>
              <a:gd name="T17" fmla="*/ 2147483647 h 7946"/>
              <a:gd name="T18" fmla="*/ 2147483647 w 13744"/>
              <a:gd name="T19" fmla="*/ 2147483647 h 7946"/>
              <a:gd name="T20" fmla="*/ 2147483647 w 13744"/>
              <a:gd name="T21" fmla="*/ 2147483647 h 7946"/>
              <a:gd name="T22" fmla="*/ 2147483647 w 13744"/>
              <a:gd name="T23" fmla="*/ 2147483647 h 7946"/>
              <a:gd name="T24" fmla="*/ 2147483647 w 13744"/>
              <a:gd name="T25" fmla="*/ 2147483647 h 7946"/>
              <a:gd name="T26" fmla="*/ 2147483647 w 13744"/>
              <a:gd name="T27" fmla="*/ 2147483647 h 7946"/>
              <a:gd name="T28" fmla="*/ 2147483647 w 13744"/>
              <a:gd name="T29" fmla="*/ 2147483647 h 7946"/>
              <a:gd name="T30" fmla="*/ 2147483647 w 13744"/>
              <a:gd name="T31" fmla="*/ 2147483647 h 7946"/>
              <a:gd name="T32" fmla="*/ 2147483647 w 13744"/>
              <a:gd name="T33" fmla="*/ 2147483647 h 7946"/>
              <a:gd name="T34" fmla="*/ 2147483647 w 13744"/>
              <a:gd name="T35" fmla="*/ 2147483647 h 7946"/>
              <a:gd name="T36" fmla="*/ 2147483647 w 13744"/>
              <a:gd name="T37" fmla="*/ 2147483647 h 7946"/>
              <a:gd name="T38" fmla="*/ 2147483647 w 13744"/>
              <a:gd name="T39" fmla="*/ 2147483647 h 7946"/>
              <a:gd name="T40" fmla="*/ 2147483647 w 13744"/>
              <a:gd name="T41" fmla="*/ 2147483647 h 7946"/>
              <a:gd name="T42" fmla="*/ 2147483647 w 13744"/>
              <a:gd name="T43" fmla="*/ 2147483647 h 7946"/>
              <a:gd name="T44" fmla="*/ 2147483647 w 13744"/>
              <a:gd name="T45" fmla="*/ 2147483647 h 7946"/>
              <a:gd name="T46" fmla="*/ 2147483647 w 13744"/>
              <a:gd name="T47" fmla="*/ 2147483647 h 7946"/>
              <a:gd name="T48" fmla="*/ 2147483647 w 13744"/>
              <a:gd name="T49" fmla="*/ 2147483647 h 7946"/>
              <a:gd name="T50" fmla="*/ 2147483647 w 13744"/>
              <a:gd name="T51" fmla="*/ 2147483647 h 7946"/>
              <a:gd name="T52" fmla="*/ 2147483647 w 13744"/>
              <a:gd name="T53" fmla="*/ 2147483647 h 7946"/>
              <a:gd name="T54" fmla="*/ 2147483647 w 13744"/>
              <a:gd name="T55" fmla="*/ 2147483647 h 7946"/>
              <a:gd name="T56" fmla="*/ 2147483647 w 13744"/>
              <a:gd name="T57" fmla="*/ 2147483647 h 7946"/>
              <a:gd name="T58" fmla="*/ 2147483647 w 13744"/>
              <a:gd name="T59" fmla="*/ 2147483647 h 7946"/>
              <a:gd name="T60" fmla="*/ 2147483647 w 13744"/>
              <a:gd name="T61" fmla="*/ 2147483647 h 7946"/>
              <a:gd name="T62" fmla="*/ 2147483647 w 13744"/>
              <a:gd name="T63" fmla="*/ 2147483647 h 7946"/>
              <a:gd name="T64" fmla="*/ 2147483647 w 13744"/>
              <a:gd name="T65" fmla="*/ 2147483647 h 7946"/>
              <a:gd name="T66" fmla="*/ 2147483647 w 13744"/>
              <a:gd name="T67" fmla="*/ 2147483647 h 7946"/>
              <a:gd name="T68" fmla="*/ 2147483647 w 13744"/>
              <a:gd name="T69" fmla="*/ 2147483647 h 7946"/>
              <a:gd name="T70" fmla="*/ 2147483647 w 13744"/>
              <a:gd name="T71" fmla="*/ 2147483647 h 7946"/>
              <a:gd name="T72" fmla="*/ 2147483647 w 13744"/>
              <a:gd name="T73" fmla="*/ 2147483647 h 7946"/>
              <a:gd name="T74" fmla="*/ 2147483647 w 13744"/>
              <a:gd name="T75" fmla="*/ 2147483647 h 7946"/>
              <a:gd name="T76" fmla="*/ 2147483647 w 13744"/>
              <a:gd name="T77" fmla="*/ 2147483647 h 7946"/>
              <a:gd name="T78" fmla="*/ 2147483647 w 13744"/>
              <a:gd name="T79" fmla="*/ 2147483647 h 7946"/>
              <a:gd name="T80" fmla="*/ 2147483647 w 13744"/>
              <a:gd name="T81" fmla="*/ 2147483647 h 7946"/>
              <a:gd name="T82" fmla="*/ 2147483647 w 13744"/>
              <a:gd name="T83" fmla="*/ 2147483647 h 7946"/>
              <a:gd name="T84" fmla="*/ 2147483647 w 13744"/>
              <a:gd name="T85" fmla="*/ 2147483647 h 7946"/>
              <a:gd name="T86" fmla="*/ 2147483647 w 13744"/>
              <a:gd name="T87" fmla="*/ 2147483647 h 7946"/>
              <a:gd name="T88" fmla="*/ 2147483647 w 13744"/>
              <a:gd name="T89" fmla="*/ 2147483647 h 7946"/>
              <a:gd name="T90" fmla="*/ 2147483647 w 13744"/>
              <a:gd name="T91" fmla="*/ 2147483647 h 7946"/>
              <a:gd name="T92" fmla="*/ 2147483647 w 13744"/>
              <a:gd name="T93" fmla="*/ 2147483647 h 7946"/>
              <a:gd name="T94" fmla="*/ 2147483647 w 13744"/>
              <a:gd name="T95" fmla="*/ 2147483647 h 7946"/>
              <a:gd name="T96" fmla="*/ 2147483647 w 13744"/>
              <a:gd name="T97" fmla="*/ 2147483647 h 7946"/>
              <a:gd name="T98" fmla="*/ 2147483647 w 13744"/>
              <a:gd name="T99" fmla="*/ 2147483647 h 7946"/>
              <a:gd name="T100" fmla="*/ 2147483647 w 13744"/>
              <a:gd name="T101" fmla="*/ 2147483647 h 7946"/>
              <a:gd name="T102" fmla="*/ 2147483647 w 13744"/>
              <a:gd name="T103" fmla="*/ 2147483647 h 7946"/>
              <a:gd name="T104" fmla="*/ 2147483647 w 13744"/>
              <a:gd name="T105" fmla="*/ 2147483647 h 7946"/>
              <a:gd name="T106" fmla="*/ 2147483647 w 13744"/>
              <a:gd name="T107" fmla="*/ 2147483647 h 7946"/>
              <a:gd name="T108" fmla="*/ 2147483647 w 13744"/>
              <a:gd name="T109" fmla="*/ 2147483647 h 7946"/>
              <a:gd name="T110" fmla="*/ 2147483647 w 13744"/>
              <a:gd name="T111" fmla="*/ 2147483647 h 7946"/>
              <a:gd name="T112" fmla="*/ 2147483647 w 13744"/>
              <a:gd name="T113" fmla="*/ 2147483647 h 7946"/>
              <a:gd name="T114" fmla="*/ 2147483647 w 13744"/>
              <a:gd name="T115" fmla="*/ 2147483647 h 7946"/>
              <a:gd name="T116" fmla="*/ 2147483647 w 13744"/>
              <a:gd name="T117" fmla="*/ 2147483647 h 7946"/>
              <a:gd name="T118" fmla="*/ 2147483647 w 13744"/>
              <a:gd name="T119" fmla="*/ 2147483647 h 7946"/>
              <a:gd name="T120" fmla="*/ 2147483647 w 13744"/>
              <a:gd name="T121" fmla="*/ 2147483647 h 7946"/>
              <a:gd name="T122" fmla="*/ 2147483647 w 13744"/>
              <a:gd name="T123" fmla="*/ 2147483647 h 7946"/>
              <a:gd name="T124" fmla="*/ 2147483647 w 13744"/>
              <a:gd name="T125" fmla="*/ 2147483647 h 794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3744"/>
              <a:gd name="T190" fmla="*/ 0 h 7946"/>
              <a:gd name="T191" fmla="*/ 13744 w 13744"/>
              <a:gd name="T192" fmla="*/ 7946 h 794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3744" h="7946">
                <a:moveTo>
                  <a:pt x="3858" y="2900"/>
                </a:moveTo>
                <a:lnTo>
                  <a:pt x="3858" y="2900"/>
                </a:lnTo>
                <a:lnTo>
                  <a:pt x="3862" y="2896"/>
                </a:lnTo>
                <a:lnTo>
                  <a:pt x="3862" y="2894"/>
                </a:lnTo>
                <a:lnTo>
                  <a:pt x="3856" y="2896"/>
                </a:lnTo>
                <a:lnTo>
                  <a:pt x="3850" y="2902"/>
                </a:lnTo>
                <a:lnTo>
                  <a:pt x="3842" y="2906"/>
                </a:lnTo>
                <a:lnTo>
                  <a:pt x="3834" y="2906"/>
                </a:lnTo>
                <a:lnTo>
                  <a:pt x="3828" y="2906"/>
                </a:lnTo>
                <a:lnTo>
                  <a:pt x="3824" y="2908"/>
                </a:lnTo>
                <a:lnTo>
                  <a:pt x="3820" y="2908"/>
                </a:lnTo>
                <a:lnTo>
                  <a:pt x="3818" y="2908"/>
                </a:lnTo>
                <a:lnTo>
                  <a:pt x="3814" y="2908"/>
                </a:lnTo>
                <a:lnTo>
                  <a:pt x="3808" y="2908"/>
                </a:lnTo>
                <a:lnTo>
                  <a:pt x="3804" y="2910"/>
                </a:lnTo>
                <a:lnTo>
                  <a:pt x="3802" y="2910"/>
                </a:lnTo>
                <a:lnTo>
                  <a:pt x="3802" y="2912"/>
                </a:lnTo>
                <a:lnTo>
                  <a:pt x="3796" y="2916"/>
                </a:lnTo>
                <a:lnTo>
                  <a:pt x="3790" y="2920"/>
                </a:lnTo>
                <a:lnTo>
                  <a:pt x="3788" y="2924"/>
                </a:lnTo>
                <a:lnTo>
                  <a:pt x="3790" y="2926"/>
                </a:lnTo>
                <a:lnTo>
                  <a:pt x="3794" y="2926"/>
                </a:lnTo>
                <a:lnTo>
                  <a:pt x="3796" y="2926"/>
                </a:lnTo>
                <a:lnTo>
                  <a:pt x="3794" y="2928"/>
                </a:lnTo>
                <a:lnTo>
                  <a:pt x="3794" y="2930"/>
                </a:lnTo>
                <a:lnTo>
                  <a:pt x="3796" y="2930"/>
                </a:lnTo>
                <a:lnTo>
                  <a:pt x="3800" y="2930"/>
                </a:lnTo>
                <a:lnTo>
                  <a:pt x="3804" y="2928"/>
                </a:lnTo>
                <a:lnTo>
                  <a:pt x="3806" y="2926"/>
                </a:lnTo>
                <a:lnTo>
                  <a:pt x="3808" y="2926"/>
                </a:lnTo>
                <a:lnTo>
                  <a:pt x="3810" y="2924"/>
                </a:lnTo>
                <a:lnTo>
                  <a:pt x="3816" y="2922"/>
                </a:lnTo>
                <a:lnTo>
                  <a:pt x="3822" y="2920"/>
                </a:lnTo>
                <a:lnTo>
                  <a:pt x="3832" y="2920"/>
                </a:lnTo>
                <a:lnTo>
                  <a:pt x="3840" y="2916"/>
                </a:lnTo>
                <a:lnTo>
                  <a:pt x="3856" y="2912"/>
                </a:lnTo>
                <a:lnTo>
                  <a:pt x="3870" y="2904"/>
                </a:lnTo>
                <a:lnTo>
                  <a:pt x="3874" y="2902"/>
                </a:lnTo>
                <a:lnTo>
                  <a:pt x="3876" y="2900"/>
                </a:lnTo>
                <a:lnTo>
                  <a:pt x="3872" y="2900"/>
                </a:lnTo>
                <a:lnTo>
                  <a:pt x="3870" y="2902"/>
                </a:lnTo>
                <a:lnTo>
                  <a:pt x="3866" y="2902"/>
                </a:lnTo>
                <a:lnTo>
                  <a:pt x="3862" y="2902"/>
                </a:lnTo>
                <a:lnTo>
                  <a:pt x="3860" y="2904"/>
                </a:lnTo>
                <a:lnTo>
                  <a:pt x="3854" y="2906"/>
                </a:lnTo>
                <a:lnTo>
                  <a:pt x="3850" y="2908"/>
                </a:lnTo>
                <a:lnTo>
                  <a:pt x="3852" y="2904"/>
                </a:lnTo>
                <a:lnTo>
                  <a:pt x="3858" y="2900"/>
                </a:lnTo>
                <a:close/>
                <a:moveTo>
                  <a:pt x="6188" y="1470"/>
                </a:moveTo>
                <a:lnTo>
                  <a:pt x="6188" y="1470"/>
                </a:lnTo>
                <a:lnTo>
                  <a:pt x="6198" y="1458"/>
                </a:lnTo>
                <a:lnTo>
                  <a:pt x="6206" y="1454"/>
                </a:lnTo>
                <a:lnTo>
                  <a:pt x="6212" y="1450"/>
                </a:lnTo>
                <a:lnTo>
                  <a:pt x="6218" y="1444"/>
                </a:lnTo>
                <a:lnTo>
                  <a:pt x="6224" y="1430"/>
                </a:lnTo>
                <a:lnTo>
                  <a:pt x="6226" y="1422"/>
                </a:lnTo>
                <a:lnTo>
                  <a:pt x="6226" y="1414"/>
                </a:lnTo>
                <a:lnTo>
                  <a:pt x="6226" y="1408"/>
                </a:lnTo>
                <a:lnTo>
                  <a:pt x="6222" y="1402"/>
                </a:lnTo>
                <a:lnTo>
                  <a:pt x="6218" y="1398"/>
                </a:lnTo>
                <a:lnTo>
                  <a:pt x="6210" y="1396"/>
                </a:lnTo>
                <a:lnTo>
                  <a:pt x="6204" y="1396"/>
                </a:lnTo>
                <a:lnTo>
                  <a:pt x="6198" y="1394"/>
                </a:lnTo>
                <a:lnTo>
                  <a:pt x="6194" y="1388"/>
                </a:lnTo>
                <a:lnTo>
                  <a:pt x="6190" y="1384"/>
                </a:lnTo>
                <a:lnTo>
                  <a:pt x="6186" y="1384"/>
                </a:lnTo>
                <a:lnTo>
                  <a:pt x="6180" y="1384"/>
                </a:lnTo>
                <a:lnTo>
                  <a:pt x="6178" y="1384"/>
                </a:lnTo>
                <a:lnTo>
                  <a:pt x="6178" y="1382"/>
                </a:lnTo>
                <a:lnTo>
                  <a:pt x="6182" y="1376"/>
                </a:lnTo>
                <a:lnTo>
                  <a:pt x="6184" y="1370"/>
                </a:lnTo>
                <a:lnTo>
                  <a:pt x="6184" y="1366"/>
                </a:lnTo>
                <a:lnTo>
                  <a:pt x="6180" y="1364"/>
                </a:lnTo>
                <a:lnTo>
                  <a:pt x="6176" y="1364"/>
                </a:lnTo>
                <a:lnTo>
                  <a:pt x="6170" y="1362"/>
                </a:lnTo>
                <a:lnTo>
                  <a:pt x="6168" y="1360"/>
                </a:lnTo>
                <a:lnTo>
                  <a:pt x="6168" y="1358"/>
                </a:lnTo>
                <a:lnTo>
                  <a:pt x="6174" y="1354"/>
                </a:lnTo>
                <a:lnTo>
                  <a:pt x="6184" y="1344"/>
                </a:lnTo>
                <a:lnTo>
                  <a:pt x="6186" y="1342"/>
                </a:lnTo>
                <a:lnTo>
                  <a:pt x="6184" y="1340"/>
                </a:lnTo>
                <a:lnTo>
                  <a:pt x="6178" y="1340"/>
                </a:lnTo>
                <a:lnTo>
                  <a:pt x="6168" y="1342"/>
                </a:lnTo>
                <a:lnTo>
                  <a:pt x="6158" y="1348"/>
                </a:lnTo>
                <a:lnTo>
                  <a:pt x="6150" y="1352"/>
                </a:lnTo>
                <a:lnTo>
                  <a:pt x="6148" y="1354"/>
                </a:lnTo>
                <a:lnTo>
                  <a:pt x="6144" y="1350"/>
                </a:lnTo>
                <a:lnTo>
                  <a:pt x="6140" y="1346"/>
                </a:lnTo>
                <a:lnTo>
                  <a:pt x="6136" y="1338"/>
                </a:lnTo>
                <a:lnTo>
                  <a:pt x="6132" y="1332"/>
                </a:lnTo>
                <a:lnTo>
                  <a:pt x="6126" y="1330"/>
                </a:lnTo>
                <a:lnTo>
                  <a:pt x="6120" y="1328"/>
                </a:lnTo>
                <a:lnTo>
                  <a:pt x="6114" y="1330"/>
                </a:lnTo>
                <a:lnTo>
                  <a:pt x="6108" y="1332"/>
                </a:lnTo>
                <a:lnTo>
                  <a:pt x="6104" y="1334"/>
                </a:lnTo>
                <a:lnTo>
                  <a:pt x="6104" y="1338"/>
                </a:lnTo>
                <a:lnTo>
                  <a:pt x="6104" y="1342"/>
                </a:lnTo>
                <a:lnTo>
                  <a:pt x="6108" y="1352"/>
                </a:lnTo>
                <a:lnTo>
                  <a:pt x="6108" y="1354"/>
                </a:lnTo>
                <a:lnTo>
                  <a:pt x="6108" y="1358"/>
                </a:lnTo>
                <a:lnTo>
                  <a:pt x="6106" y="1358"/>
                </a:lnTo>
                <a:lnTo>
                  <a:pt x="6102" y="1358"/>
                </a:lnTo>
                <a:lnTo>
                  <a:pt x="6092" y="1356"/>
                </a:lnTo>
                <a:lnTo>
                  <a:pt x="6086" y="1354"/>
                </a:lnTo>
                <a:lnTo>
                  <a:pt x="6082" y="1356"/>
                </a:lnTo>
                <a:lnTo>
                  <a:pt x="6074" y="1362"/>
                </a:lnTo>
                <a:lnTo>
                  <a:pt x="6070" y="1366"/>
                </a:lnTo>
                <a:lnTo>
                  <a:pt x="6068" y="1368"/>
                </a:lnTo>
                <a:lnTo>
                  <a:pt x="6062" y="1368"/>
                </a:lnTo>
                <a:lnTo>
                  <a:pt x="6058" y="1364"/>
                </a:lnTo>
                <a:lnTo>
                  <a:pt x="6048" y="1356"/>
                </a:lnTo>
                <a:lnTo>
                  <a:pt x="6044" y="1354"/>
                </a:lnTo>
                <a:lnTo>
                  <a:pt x="6040" y="1354"/>
                </a:lnTo>
                <a:lnTo>
                  <a:pt x="6038" y="1356"/>
                </a:lnTo>
                <a:lnTo>
                  <a:pt x="6036" y="1358"/>
                </a:lnTo>
                <a:lnTo>
                  <a:pt x="6036" y="1368"/>
                </a:lnTo>
                <a:lnTo>
                  <a:pt x="6036" y="1374"/>
                </a:lnTo>
                <a:lnTo>
                  <a:pt x="6036" y="1376"/>
                </a:lnTo>
                <a:lnTo>
                  <a:pt x="6034" y="1378"/>
                </a:lnTo>
                <a:lnTo>
                  <a:pt x="6032" y="1376"/>
                </a:lnTo>
                <a:lnTo>
                  <a:pt x="6026" y="1370"/>
                </a:lnTo>
                <a:lnTo>
                  <a:pt x="6022" y="1360"/>
                </a:lnTo>
                <a:lnTo>
                  <a:pt x="6020" y="1354"/>
                </a:lnTo>
                <a:lnTo>
                  <a:pt x="6016" y="1352"/>
                </a:lnTo>
                <a:lnTo>
                  <a:pt x="6010" y="1354"/>
                </a:lnTo>
                <a:lnTo>
                  <a:pt x="6004" y="1356"/>
                </a:lnTo>
                <a:lnTo>
                  <a:pt x="5998" y="1360"/>
                </a:lnTo>
                <a:lnTo>
                  <a:pt x="5994" y="1366"/>
                </a:lnTo>
                <a:lnTo>
                  <a:pt x="5990" y="1372"/>
                </a:lnTo>
                <a:lnTo>
                  <a:pt x="5990" y="1378"/>
                </a:lnTo>
                <a:lnTo>
                  <a:pt x="5990" y="1388"/>
                </a:lnTo>
                <a:lnTo>
                  <a:pt x="5988" y="1388"/>
                </a:lnTo>
                <a:lnTo>
                  <a:pt x="5986" y="1388"/>
                </a:lnTo>
                <a:lnTo>
                  <a:pt x="5978" y="1382"/>
                </a:lnTo>
                <a:lnTo>
                  <a:pt x="5970" y="1370"/>
                </a:lnTo>
                <a:lnTo>
                  <a:pt x="5964" y="1362"/>
                </a:lnTo>
                <a:lnTo>
                  <a:pt x="5960" y="1358"/>
                </a:lnTo>
                <a:lnTo>
                  <a:pt x="5956" y="1358"/>
                </a:lnTo>
                <a:lnTo>
                  <a:pt x="5954" y="1360"/>
                </a:lnTo>
                <a:lnTo>
                  <a:pt x="5950" y="1364"/>
                </a:lnTo>
                <a:lnTo>
                  <a:pt x="5950" y="1368"/>
                </a:lnTo>
                <a:lnTo>
                  <a:pt x="5950" y="1374"/>
                </a:lnTo>
                <a:lnTo>
                  <a:pt x="5952" y="1380"/>
                </a:lnTo>
                <a:lnTo>
                  <a:pt x="5956" y="1390"/>
                </a:lnTo>
                <a:lnTo>
                  <a:pt x="5954" y="1394"/>
                </a:lnTo>
                <a:lnTo>
                  <a:pt x="5954" y="1398"/>
                </a:lnTo>
                <a:lnTo>
                  <a:pt x="5952" y="1400"/>
                </a:lnTo>
                <a:lnTo>
                  <a:pt x="5948" y="1400"/>
                </a:lnTo>
                <a:lnTo>
                  <a:pt x="5944" y="1396"/>
                </a:lnTo>
                <a:lnTo>
                  <a:pt x="5940" y="1392"/>
                </a:lnTo>
                <a:lnTo>
                  <a:pt x="5936" y="1388"/>
                </a:lnTo>
                <a:lnTo>
                  <a:pt x="5932" y="1390"/>
                </a:lnTo>
                <a:lnTo>
                  <a:pt x="5930" y="1394"/>
                </a:lnTo>
                <a:lnTo>
                  <a:pt x="5926" y="1400"/>
                </a:lnTo>
                <a:lnTo>
                  <a:pt x="5924" y="1404"/>
                </a:lnTo>
                <a:lnTo>
                  <a:pt x="5920" y="1408"/>
                </a:lnTo>
                <a:lnTo>
                  <a:pt x="5918" y="1408"/>
                </a:lnTo>
                <a:lnTo>
                  <a:pt x="5914" y="1402"/>
                </a:lnTo>
                <a:lnTo>
                  <a:pt x="5910" y="1394"/>
                </a:lnTo>
                <a:lnTo>
                  <a:pt x="5910" y="1388"/>
                </a:lnTo>
                <a:lnTo>
                  <a:pt x="5912" y="1378"/>
                </a:lnTo>
                <a:lnTo>
                  <a:pt x="5912" y="1374"/>
                </a:lnTo>
                <a:lnTo>
                  <a:pt x="5912" y="1372"/>
                </a:lnTo>
                <a:lnTo>
                  <a:pt x="5908" y="1368"/>
                </a:lnTo>
                <a:lnTo>
                  <a:pt x="5902" y="1362"/>
                </a:lnTo>
                <a:lnTo>
                  <a:pt x="5890" y="1354"/>
                </a:lnTo>
                <a:lnTo>
                  <a:pt x="5884" y="1348"/>
                </a:lnTo>
                <a:lnTo>
                  <a:pt x="5880" y="1344"/>
                </a:lnTo>
                <a:lnTo>
                  <a:pt x="5868" y="1338"/>
                </a:lnTo>
                <a:lnTo>
                  <a:pt x="5860" y="1336"/>
                </a:lnTo>
                <a:lnTo>
                  <a:pt x="5852" y="1336"/>
                </a:lnTo>
                <a:lnTo>
                  <a:pt x="5846" y="1336"/>
                </a:lnTo>
                <a:lnTo>
                  <a:pt x="5842" y="1338"/>
                </a:lnTo>
                <a:lnTo>
                  <a:pt x="5838" y="1340"/>
                </a:lnTo>
                <a:lnTo>
                  <a:pt x="5836" y="1344"/>
                </a:lnTo>
                <a:lnTo>
                  <a:pt x="5836" y="1346"/>
                </a:lnTo>
                <a:lnTo>
                  <a:pt x="5838" y="1350"/>
                </a:lnTo>
                <a:lnTo>
                  <a:pt x="5846" y="1354"/>
                </a:lnTo>
                <a:lnTo>
                  <a:pt x="5856" y="1360"/>
                </a:lnTo>
                <a:lnTo>
                  <a:pt x="5864" y="1364"/>
                </a:lnTo>
                <a:lnTo>
                  <a:pt x="5872" y="1372"/>
                </a:lnTo>
                <a:lnTo>
                  <a:pt x="5872" y="1374"/>
                </a:lnTo>
                <a:lnTo>
                  <a:pt x="5870" y="1376"/>
                </a:lnTo>
                <a:lnTo>
                  <a:pt x="5862" y="1372"/>
                </a:lnTo>
                <a:lnTo>
                  <a:pt x="5850" y="1366"/>
                </a:lnTo>
                <a:lnTo>
                  <a:pt x="5838" y="1358"/>
                </a:lnTo>
                <a:lnTo>
                  <a:pt x="5832" y="1354"/>
                </a:lnTo>
                <a:lnTo>
                  <a:pt x="5828" y="1354"/>
                </a:lnTo>
                <a:lnTo>
                  <a:pt x="5824" y="1354"/>
                </a:lnTo>
                <a:lnTo>
                  <a:pt x="5820" y="1356"/>
                </a:lnTo>
                <a:lnTo>
                  <a:pt x="5814" y="1364"/>
                </a:lnTo>
                <a:lnTo>
                  <a:pt x="5812" y="1376"/>
                </a:lnTo>
                <a:lnTo>
                  <a:pt x="5812" y="1380"/>
                </a:lnTo>
                <a:lnTo>
                  <a:pt x="5810" y="1384"/>
                </a:lnTo>
                <a:lnTo>
                  <a:pt x="5806" y="1384"/>
                </a:lnTo>
                <a:lnTo>
                  <a:pt x="5802" y="1386"/>
                </a:lnTo>
                <a:lnTo>
                  <a:pt x="5800" y="1388"/>
                </a:lnTo>
                <a:lnTo>
                  <a:pt x="5800" y="1392"/>
                </a:lnTo>
                <a:lnTo>
                  <a:pt x="5800" y="1396"/>
                </a:lnTo>
                <a:lnTo>
                  <a:pt x="5796" y="1396"/>
                </a:lnTo>
                <a:lnTo>
                  <a:pt x="5790" y="1396"/>
                </a:lnTo>
                <a:lnTo>
                  <a:pt x="5786" y="1396"/>
                </a:lnTo>
                <a:lnTo>
                  <a:pt x="5782" y="1396"/>
                </a:lnTo>
                <a:lnTo>
                  <a:pt x="5780" y="1398"/>
                </a:lnTo>
                <a:lnTo>
                  <a:pt x="5782" y="1402"/>
                </a:lnTo>
                <a:lnTo>
                  <a:pt x="5784" y="1404"/>
                </a:lnTo>
                <a:lnTo>
                  <a:pt x="5790" y="1406"/>
                </a:lnTo>
                <a:lnTo>
                  <a:pt x="5802" y="1410"/>
                </a:lnTo>
                <a:lnTo>
                  <a:pt x="5810" y="1410"/>
                </a:lnTo>
                <a:lnTo>
                  <a:pt x="5818" y="1408"/>
                </a:lnTo>
                <a:lnTo>
                  <a:pt x="5832" y="1404"/>
                </a:lnTo>
                <a:lnTo>
                  <a:pt x="5842" y="1402"/>
                </a:lnTo>
                <a:lnTo>
                  <a:pt x="5874" y="1404"/>
                </a:lnTo>
                <a:lnTo>
                  <a:pt x="5884" y="1406"/>
                </a:lnTo>
                <a:lnTo>
                  <a:pt x="5888" y="1408"/>
                </a:lnTo>
                <a:lnTo>
                  <a:pt x="5886" y="1410"/>
                </a:lnTo>
                <a:lnTo>
                  <a:pt x="5882" y="1412"/>
                </a:lnTo>
                <a:lnTo>
                  <a:pt x="5870" y="1418"/>
                </a:lnTo>
                <a:lnTo>
                  <a:pt x="5866" y="1422"/>
                </a:lnTo>
                <a:lnTo>
                  <a:pt x="5864" y="1424"/>
                </a:lnTo>
                <a:lnTo>
                  <a:pt x="5866" y="1428"/>
                </a:lnTo>
                <a:lnTo>
                  <a:pt x="5870" y="1430"/>
                </a:lnTo>
                <a:lnTo>
                  <a:pt x="5882" y="1430"/>
                </a:lnTo>
                <a:lnTo>
                  <a:pt x="5888" y="1430"/>
                </a:lnTo>
                <a:lnTo>
                  <a:pt x="5888" y="1432"/>
                </a:lnTo>
                <a:lnTo>
                  <a:pt x="5882" y="1436"/>
                </a:lnTo>
                <a:lnTo>
                  <a:pt x="5874" y="1438"/>
                </a:lnTo>
                <a:lnTo>
                  <a:pt x="5868" y="1438"/>
                </a:lnTo>
                <a:lnTo>
                  <a:pt x="5858" y="1436"/>
                </a:lnTo>
                <a:lnTo>
                  <a:pt x="5850" y="1434"/>
                </a:lnTo>
                <a:lnTo>
                  <a:pt x="5846" y="1434"/>
                </a:lnTo>
                <a:lnTo>
                  <a:pt x="5840" y="1436"/>
                </a:lnTo>
                <a:lnTo>
                  <a:pt x="5836" y="1440"/>
                </a:lnTo>
                <a:lnTo>
                  <a:pt x="5828" y="1440"/>
                </a:lnTo>
                <a:lnTo>
                  <a:pt x="5816" y="1442"/>
                </a:lnTo>
                <a:lnTo>
                  <a:pt x="5806" y="1444"/>
                </a:lnTo>
                <a:lnTo>
                  <a:pt x="5804" y="1446"/>
                </a:lnTo>
                <a:lnTo>
                  <a:pt x="5804" y="1450"/>
                </a:lnTo>
                <a:lnTo>
                  <a:pt x="5806" y="1454"/>
                </a:lnTo>
                <a:lnTo>
                  <a:pt x="5808" y="1454"/>
                </a:lnTo>
                <a:lnTo>
                  <a:pt x="5820" y="1454"/>
                </a:lnTo>
                <a:lnTo>
                  <a:pt x="5836" y="1452"/>
                </a:lnTo>
                <a:lnTo>
                  <a:pt x="5846" y="1452"/>
                </a:lnTo>
                <a:lnTo>
                  <a:pt x="5858" y="1454"/>
                </a:lnTo>
                <a:lnTo>
                  <a:pt x="5864" y="1454"/>
                </a:lnTo>
                <a:lnTo>
                  <a:pt x="5868" y="1456"/>
                </a:lnTo>
                <a:lnTo>
                  <a:pt x="5870" y="1460"/>
                </a:lnTo>
                <a:lnTo>
                  <a:pt x="5870" y="1462"/>
                </a:lnTo>
                <a:lnTo>
                  <a:pt x="5870" y="1468"/>
                </a:lnTo>
                <a:lnTo>
                  <a:pt x="5872" y="1470"/>
                </a:lnTo>
                <a:lnTo>
                  <a:pt x="5876" y="1472"/>
                </a:lnTo>
                <a:lnTo>
                  <a:pt x="5882" y="1476"/>
                </a:lnTo>
                <a:lnTo>
                  <a:pt x="5886" y="1484"/>
                </a:lnTo>
                <a:lnTo>
                  <a:pt x="5888" y="1492"/>
                </a:lnTo>
                <a:lnTo>
                  <a:pt x="5884" y="1500"/>
                </a:lnTo>
                <a:lnTo>
                  <a:pt x="5880" y="1504"/>
                </a:lnTo>
                <a:lnTo>
                  <a:pt x="5874" y="1504"/>
                </a:lnTo>
                <a:lnTo>
                  <a:pt x="5866" y="1502"/>
                </a:lnTo>
                <a:lnTo>
                  <a:pt x="5858" y="1500"/>
                </a:lnTo>
                <a:lnTo>
                  <a:pt x="5856" y="1502"/>
                </a:lnTo>
                <a:lnTo>
                  <a:pt x="5854" y="1508"/>
                </a:lnTo>
                <a:lnTo>
                  <a:pt x="5856" y="1512"/>
                </a:lnTo>
                <a:lnTo>
                  <a:pt x="5858" y="1516"/>
                </a:lnTo>
                <a:lnTo>
                  <a:pt x="5862" y="1518"/>
                </a:lnTo>
                <a:lnTo>
                  <a:pt x="5866" y="1518"/>
                </a:lnTo>
                <a:lnTo>
                  <a:pt x="5880" y="1518"/>
                </a:lnTo>
                <a:lnTo>
                  <a:pt x="5904" y="1516"/>
                </a:lnTo>
                <a:lnTo>
                  <a:pt x="5916" y="1518"/>
                </a:lnTo>
                <a:lnTo>
                  <a:pt x="5928" y="1520"/>
                </a:lnTo>
                <a:lnTo>
                  <a:pt x="5936" y="1522"/>
                </a:lnTo>
                <a:lnTo>
                  <a:pt x="5944" y="1526"/>
                </a:lnTo>
                <a:lnTo>
                  <a:pt x="5958" y="1534"/>
                </a:lnTo>
                <a:lnTo>
                  <a:pt x="5966" y="1536"/>
                </a:lnTo>
                <a:lnTo>
                  <a:pt x="5976" y="1538"/>
                </a:lnTo>
                <a:lnTo>
                  <a:pt x="5986" y="1538"/>
                </a:lnTo>
                <a:lnTo>
                  <a:pt x="5992" y="1540"/>
                </a:lnTo>
                <a:lnTo>
                  <a:pt x="6002" y="1546"/>
                </a:lnTo>
                <a:lnTo>
                  <a:pt x="6008" y="1548"/>
                </a:lnTo>
                <a:lnTo>
                  <a:pt x="6014" y="1550"/>
                </a:lnTo>
                <a:lnTo>
                  <a:pt x="6020" y="1550"/>
                </a:lnTo>
                <a:lnTo>
                  <a:pt x="6030" y="1546"/>
                </a:lnTo>
                <a:lnTo>
                  <a:pt x="6040" y="1544"/>
                </a:lnTo>
                <a:lnTo>
                  <a:pt x="6046" y="1538"/>
                </a:lnTo>
                <a:lnTo>
                  <a:pt x="6052" y="1530"/>
                </a:lnTo>
                <a:lnTo>
                  <a:pt x="6056" y="1528"/>
                </a:lnTo>
                <a:lnTo>
                  <a:pt x="6058" y="1524"/>
                </a:lnTo>
                <a:lnTo>
                  <a:pt x="6064" y="1522"/>
                </a:lnTo>
                <a:lnTo>
                  <a:pt x="6072" y="1522"/>
                </a:lnTo>
                <a:lnTo>
                  <a:pt x="6080" y="1522"/>
                </a:lnTo>
                <a:lnTo>
                  <a:pt x="6088" y="1520"/>
                </a:lnTo>
                <a:lnTo>
                  <a:pt x="6104" y="1514"/>
                </a:lnTo>
                <a:lnTo>
                  <a:pt x="6136" y="1494"/>
                </a:lnTo>
                <a:lnTo>
                  <a:pt x="6146" y="1490"/>
                </a:lnTo>
                <a:lnTo>
                  <a:pt x="6154" y="1486"/>
                </a:lnTo>
                <a:lnTo>
                  <a:pt x="6168" y="1484"/>
                </a:lnTo>
                <a:lnTo>
                  <a:pt x="6174" y="1484"/>
                </a:lnTo>
                <a:lnTo>
                  <a:pt x="6178" y="1482"/>
                </a:lnTo>
                <a:lnTo>
                  <a:pt x="6184" y="1478"/>
                </a:lnTo>
                <a:lnTo>
                  <a:pt x="6188" y="1470"/>
                </a:lnTo>
                <a:close/>
                <a:moveTo>
                  <a:pt x="4306" y="176"/>
                </a:moveTo>
                <a:lnTo>
                  <a:pt x="4306" y="176"/>
                </a:lnTo>
                <a:lnTo>
                  <a:pt x="4312" y="186"/>
                </a:lnTo>
                <a:lnTo>
                  <a:pt x="4316" y="194"/>
                </a:lnTo>
                <a:lnTo>
                  <a:pt x="4316" y="202"/>
                </a:lnTo>
                <a:lnTo>
                  <a:pt x="4314" y="210"/>
                </a:lnTo>
                <a:lnTo>
                  <a:pt x="4310" y="214"/>
                </a:lnTo>
                <a:lnTo>
                  <a:pt x="4302" y="218"/>
                </a:lnTo>
                <a:lnTo>
                  <a:pt x="4294" y="220"/>
                </a:lnTo>
                <a:lnTo>
                  <a:pt x="4282" y="216"/>
                </a:lnTo>
                <a:lnTo>
                  <a:pt x="4262" y="212"/>
                </a:lnTo>
                <a:lnTo>
                  <a:pt x="4242" y="210"/>
                </a:lnTo>
                <a:lnTo>
                  <a:pt x="4222" y="210"/>
                </a:lnTo>
                <a:lnTo>
                  <a:pt x="4204" y="212"/>
                </a:lnTo>
                <a:lnTo>
                  <a:pt x="4186" y="216"/>
                </a:lnTo>
                <a:lnTo>
                  <a:pt x="4170" y="222"/>
                </a:lnTo>
                <a:lnTo>
                  <a:pt x="4156" y="230"/>
                </a:lnTo>
                <a:lnTo>
                  <a:pt x="4140" y="238"/>
                </a:lnTo>
                <a:lnTo>
                  <a:pt x="4110" y="254"/>
                </a:lnTo>
                <a:lnTo>
                  <a:pt x="4080" y="270"/>
                </a:lnTo>
                <a:lnTo>
                  <a:pt x="4068" y="276"/>
                </a:lnTo>
                <a:lnTo>
                  <a:pt x="4058" y="282"/>
                </a:lnTo>
                <a:lnTo>
                  <a:pt x="4054" y="290"/>
                </a:lnTo>
                <a:lnTo>
                  <a:pt x="4054" y="292"/>
                </a:lnTo>
                <a:lnTo>
                  <a:pt x="4056" y="296"/>
                </a:lnTo>
                <a:lnTo>
                  <a:pt x="4062" y="300"/>
                </a:lnTo>
                <a:lnTo>
                  <a:pt x="4070" y="304"/>
                </a:lnTo>
                <a:lnTo>
                  <a:pt x="4080" y="306"/>
                </a:lnTo>
                <a:lnTo>
                  <a:pt x="4092" y="308"/>
                </a:lnTo>
                <a:lnTo>
                  <a:pt x="4116" y="308"/>
                </a:lnTo>
                <a:lnTo>
                  <a:pt x="4138" y="306"/>
                </a:lnTo>
                <a:lnTo>
                  <a:pt x="4146" y="306"/>
                </a:lnTo>
                <a:lnTo>
                  <a:pt x="4152" y="310"/>
                </a:lnTo>
                <a:lnTo>
                  <a:pt x="4154" y="316"/>
                </a:lnTo>
                <a:lnTo>
                  <a:pt x="4156" y="326"/>
                </a:lnTo>
                <a:lnTo>
                  <a:pt x="4154" y="336"/>
                </a:lnTo>
                <a:lnTo>
                  <a:pt x="4152" y="348"/>
                </a:lnTo>
                <a:lnTo>
                  <a:pt x="4146" y="360"/>
                </a:lnTo>
                <a:lnTo>
                  <a:pt x="4136" y="370"/>
                </a:lnTo>
                <a:lnTo>
                  <a:pt x="4126" y="378"/>
                </a:lnTo>
                <a:lnTo>
                  <a:pt x="4116" y="384"/>
                </a:lnTo>
                <a:lnTo>
                  <a:pt x="4104" y="384"/>
                </a:lnTo>
                <a:lnTo>
                  <a:pt x="4090" y="384"/>
                </a:lnTo>
                <a:lnTo>
                  <a:pt x="4060" y="382"/>
                </a:lnTo>
                <a:lnTo>
                  <a:pt x="4042" y="382"/>
                </a:lnTo>
                <a:lnTo>
                  <a:pt x="4024" y="384"/>
                </a:lnTo>
                <a:lnTo>
                  <a:pt x="4008" y="386"/>
                </a:lnTo>
                <a:lnTo>
                  <a:pt x="3998" y="390"/>
                </a:lnTo>
                <a:lnTo>
                  <a:pt x="3992" y="394"/>
                </a:lnTo>
                <a:lnTo>
                  <a:pt x="3986" y="398"/>
                </a:lnTo>
                <a:lnTo>
                  <a:pt x="3978" y="402"/>
                </a:lnTo>
                <a:lnTo>
                  <a:pt x="3966" y="408"/>
                </a:lnTo>
                <a:lnTo>
                  <a:pt x="3948" y="412"/>
                </a:lnTo>
                <a:lnTo>
                  <a:pt x="3920" y="416"/>
                </a:lnTo>
                <a:lnTo>
                  <a:pt x="3892" y="422"/>
                </a:lnTo>
                <a:lnTo>
                  <a:pt x="3868" y="428"/>
                </a:lnTo>
                <a:lnTo>
                  <a:pt x="3852" y="434"/>
                </a:lnTo>
                <a:lnTo>
                  <a:pt x="3842" y="440"/>
                </a:lnTo>
                <a:lnTo>
                  <a:pt x="3836" y="448"/>
                </a:lnTo>
                <a:lnTo>
                  <a:pt x="3836" y="456"/>
                </a:lnTo>
                <a:lnTo>
                  <a:pt x="3840" y="462"/>
                </a:lnTo>
                <a:lnTo>
                  <a:pt x="3848" y="470"/>
                </a:lnTo>
                <a:lnTo>
                  <a:pt x="3856" y="478"/>
                </a:lnTo>
                <a:lnTo>
                  <a:pt x="3864" y="480"/>
                </a:lnTo>
                <a:lnTo>
                  <a:pt x="3874" y="482"/>
                </a:lnTo>
                <a:lnTo>
                  <a:pt x="3884" y="484"/>
                </a:lnTo>
                <a:lnTo>
                  <a:pt x="3888" y="486"/>
                </a:lnTo>
                <a:lnTo>
                  <a:pt x="3894" y="490"/>
                </a:lnTo>
                <a:lnTo>
                  <a:pt x="3898" y="494"/>
                </a:lnTo>
                <a:lnTo>
                  <a:pt x="3904" y="496"/>
                </a:lnTo>
                <a:lnTo>
                  <a:pt x="3914" y="494"/>
                </a:lnTo>
                <a:lnTo>
                  <a:pt x="3924" y="494"/>
                </a:lnTo>
                <a:lnTo>
                  <a:pt x="3928" y="496"/>
                </a:lnTo>
                <a:lnTo>
                  <a:pt x="3934" y="500"/>
                </a:lnTo>
                <a:lnTo>
                  <a:pt x="3938" y="506"/>
                </a:lnTo>
                <a:lnTo>
                  <a:pt x="3944" y="510"/>
                </a:lnTo>
                <a:lnTo>
                  <a:pt x="3952" y="512"/>
                </a:lnTo>
                <a:lnTo>
                  <a:pt x="3960" y="514"/>
                </a:lnTo>
                <a:lnTo>
                  <a:pt x="3982" y="516"/>
                </a:lnTo>
                <a:lnTo>
                  <a:pt x="4012" y="516"/>
                </a:lnTo>
                <a:lnTo>
                  <a:pt x="4028" y="516"/>
                </a:lnTo>
                <a:lnTo>
                  <a:pt x="4046" y="512"/>
                </a:lnTo>
                <a:lnTo>
                  <a:pt x="4074" y="508"/>
                </a:lnTo>
                <a:lnTo>
                  <a:pt x="4086" y="506"/>
                </a:lnTo>
                <a:lnTo>
                  <a:pt x="4096" y="504"/>
                </a:lnTo>
                <a:lnTo>
                  <a:pt x="4104" y="506"/>
                </a:lnTo>
                <a:lnTo>
                  <a:pt x="4108" y="510"/>
                </a:lnTo>
                <a:lnTo>
                  <a:pt x="4110" y="516"/>
                </a:lnTo>
                <a:lnTo>
                  <a:pt x="4106" y="520"/>
                </a:lnTo>
                <a:lnTo>
                  <a:pt x="4098" y="522"/>
                </a:lnTo>
                <a:lnTo>
                  <a:pt x="4086" y="524"/>
                </a:lnTo>
                <a:lnTo>
                  <a:pt x="4010" y="528"/>
                </a:lnTo>
                <a:lnTo>
                  <a:pt x="3964" y="532"/>
                </a:lnTo>
                <a:lnTo>
                  <a:pt x="3942" y="536"/>
                </a:lnTo>
                <a:lnTo>
                  <a:pt x="3922" y="542"/>
                </a:lnTo>
                <a:lnTo>
                  <a:pt x="3908" y="546"/>
                </a:lnTo>
                <a:lnTo>
                  <a:pt x="3898" y="552"/>
                </a:lnTo>
                <a:lnTo>
                  <a:pt x="3898" y="554"/>
                </a:lnTo>
                <a:lnTo>
                  <a:pt x="3898" y="558"/>
                </a:lnTo>
                <a:lnTo>
                  <a:pt x="3900" y="560"/>
                </a:lnTo>
                <a:lnTo>
                  <a:pt x="3906" y="564"/>
                </a:lnTo>
                <a:lnTo>
                  <a:pt x="3920" y="570"/>
                </a:lnTo>
                <a:lnTo>
                  <a:pt x="3938" y="574"/>
                </a:lnTo>
                <a:lnTo>
                  <a:pt x="3976" y="580"/>
                </a:lnTo>
                <a:lnTo>
                  <a:pt x="3990" y="582"/>
                </a:lnTo>
                <a:lnTo>
                  <a:pt x="3998" y="586"/>
                </a:lnTo>
                <a:lnTo>
                  <a:pt x="3996" y="588"/>
                </a:lnTo>
                <a:lnTo>
                  <a:pt x="3984" y="594"/>
                </a:lnTo>
                <a:lnTo>
                  <a:pt x="3972" y="598"/>
                </a:lnTo>
                <a:lnTo>
                  <a:pt x="3968" y="600"/>
                </a:lnTo>
                <a:lnTo>
                  <a:pt x="3968" y="604"/>
                </a:lnTo>
                <a:lnTo>
                  <a:pt x="3970" y="606"/>
                </a:lnTo>
                <a:lnTo>
                  <a:pt x="3972" y="608"/>
                </a:lnTo>
                <a:lnTo>
                  <a:pt x="3982" y="614"/>
                </a:lnTo>
                <a:lnTo>
                  <a:pt x="4018" y="624"/>
                </a:lnTo>
                <a:lnTo>
                  <a:pt x="4062" y="636"/>
                </a:lnTo>
                <a:lnTo>
                  <a:pt x="4078" y="640"/>
                </a:lnTo>
                <a:lnTo>
                  <a:pt x="4084" y="642"/>
                </a:lnTo>
                <a:lnTo>
                  <a:pt x="4084" y="640"/>
                </a:lnTo>
                <a:lnTo>
                  <a:pt x="4084" y="638"/>
                </a:lnTo>
                <a:lnTo>
                  <a:pt x="4078" y="634"/>
                </a:lnTo>
                <a:lnTo>
                  <a:pt x="4066" y="622"/>
                </a:lnTo>
                <a:lnTo>
                  <a:pt x="4064" y="616"/>
                </a:lnTo>
                <a:lnTo>
                  <a:pt x="4064" y="614"/>
                </a:lnTo>
                <a:lnTo>
                  <a:pt x="4068" y="614"/>
                </a:lnTo>
                <a:lnTo>
                  <a:pt x="4074" y="612"/>
                </a:lnTo>
                <a:lnTo>
                  <a:pt x="4078" y="614"/>
                </a:lnTo>
                <a:lnTo>
                  <a:pt x="4084" y="618"/>
                </a:lnTo>
                <a:lnTo>
                  <a:pt x="4086" y="620"/>
                </a:lnTo>
                <a:lnTo>
                  <a:pt x="4090" y="622"/>
                </a:lnTo>
                <a:lnTo>
                  <a:pt x="4098" y="622"/>
                </a:lnTo>
                <a:lnTo>
                  <a:pt x="4108" y="618"/>
                </a:lnTo>
                <a:lnTo>
                  <a:pt x="4118" y="614"/>
                </a:lnTo>
                <a:lnTo>
                  <a:pt x="4122" y="614"/>
                </a:lnTo>
                <a:lnTo>
                  <a:pt x="4124" y="614"/>
                </a:lnTo>
                <a:lnTo>
                  <a:pt x="4122" y="618"/>
                </a:lnTo>
                <a:lnTo>
                  <a:pt x="4120" y="622"/>
                </a:lnTo>
                <a:lnTo>
                  <a:pt x="4122" y="626"/>
                </a:lnTo>
                <a:lnTo>
                  <a:pt x="4126" y="628"/>
                </a:lnTo>
                <a:lnTo>
                  <a:pt x="4136" y="630"/>
                </a:lnTo>
                <a:lnTo>
                  <a:pt x="4148" y="630"/>
                </a:lnTo>
                <a:lnTo>
                  <a:pt x="4156" y="626"/>
                </a:lnTo>
                <a:lnTo>
                  <a:pt x="4162" y="622"/>
                </a:lnTo>
                <a:lnTo>
                  <a:pt x="4166" y="618"/>
                </a:lnTo>
                <a:lnTo>
                  <a:pt x="4170" y="614"/>
                </a:lnTo>
                <a:lnTo>
                  <a:pt x="4174" y="612"/>
                </a:lnTo>
                <a:lnTo>
                  <a:pt x="4180" y="614"/>
                </a:lnTo>
                <a:lnTo>
                  <a:pt x="4188" y="620"/>
                </a:lnTo>
                <a:lnTo>
                  <a:pt x="4194" y="624"/>
                </a:lnTo>
                <a:lnTo>
                  <a:pt x="4200" y="624"/>
                </a:lnTo>
                <a:lnTo>
                  <a:pt x="4204" y="622"/>
                </a:lnTo>
                <a:lnTo>
                  <a:pt x="4208" y="618"/>
                </a:lnTo>
                <a:lnTo>
                  <a:pt x="4210" y="614"/>
                </a:lnTo>
                <a:lnTo>
                  <a:pt x="4216" y="610"/>
                </a:lnTo>
                <a:lnTo>
                  <a:pt x="4224" y="608"/>
                </a:lnTo>
                <a:lnTo>
                  <a:pt x="4232" y="612"/>
                </a:lnTo>
                <a:lnTo>
                  <a:pt x="4244" y="614"/>
                </a:lnTo>
                <a:lnTo>
                  <a:pt x="4258" y="616"/>
                </a:lnTo>
                <a:lnTo>
                  <a:pt x="4282" y="618"/>
                </a:lnTo>
                <a:lnTo>
                  <a:pt x="4304" y="620"/>
                </a:lnTo>
                <a:lnTo>
                  <a:pt x="4312" y="622"/>
                </a:lnTo>
                <a:lnTo>
                  <a:pt x="4320" y="626"/>
                </a:lnTo>
                <a:lnTo>
                  <a:pt x="4326" y="632"/>
                </a:lnTo>
                <a:lnTo>
                  <a:pt x="4330" y="634"/>
                </a:lnTo>
                <a:lnTo>
                  <a:pt x="4336" y="634"/>
                </a:lnTo>
                <a:lnTo>
                  <a:pt x="4342" y="632"/>
                </a:lnTo>
                <a:lnTo>
                  <a:pt x="4348" y="634"/>
                </a:lnTo>
                <a:lnTo>
                  <a:pt x="4358" y="636"/>
                </a:lnTo>
                <a:lnTo>
                  <a:pt x="4370" y="642"/>
                </a:lnTo>
                <a:lnTo>
                  <a:pt x="4396" y="654"/>
                </a:lnTo>
                <a:lnTo>
                  <a:pt x="4414" y="662"/>
                </a:lnTo>
                <a:lnTo>
                  <a:pt x="4420" y="666"/>
                </a:lnTo>
                <a:lnTo>
                  <a:pt x="4422" y="670"/>
                </a:lnTo>
                <a:lnTo>
                  <a:pt x="4420" y="674"/>
                </a:lnTo>
                <a:lnTo>
                  <a:pt x="4414" y="680"/>
                </a:lnTo>
                <a:lnTo>
                  <a:pt x="4412" y="682"/>
                </a:lnTo>
                <a:lnTo>
                  <a:pt x="4412" y="686"/>
                </a:lnTo>
                <a:lnTo>
                  <a:pt x="4414" y="690"/>
                </a:lnTo>
                <a:lnTo>
                  <a:pt x="4418" y="694"/>
                </a:lnTo>
                <a:lnTo>
                  <a:pt x="4432" y="704"/>
                </a:lnTo>
                <a:lnTo>
                  <a:pt x="4448" y="714"/>
                </a:lnTo>
                <a:lnTo>
                  <a:pt x="4480" y="734"/>
                </a:lnTo>
                <a:lnTo>
                  <a:pt x="4488" y="742"/>
                </a:lnTo>
                <a:lnTo>
                  <a:pt x="4490" y="746"/>
                </a:lnTo>
                <a:lnTo>
                  <a:pt x="4490" y="750"/>
                </a:lnTo>
                <a:lnTo>
                  <a:pt x="4486" y="756"/>
                </a:lnTo>
                <a:lnTo>
                  <a:pt x="4480" y="762"/>
                </a:lnTo>
                <a:lnTo>
                  <a:pt x="4468" y="776"/>
                </a:lnTo>
                <a:lnTo>
                  <a:pt x="4464" y="780"/>
                </a:lnTo>
                <a:lnTo>
                  <a:pt x="4464" y="782"/>
                </a:lnTo>
                <a:lnTo>
                  <a:pt x="4468" y="782"/>
                </a:lnTo>
                <a:lnTo>
                  <a:pt x="4478" y="780"/>
                </a:lnTo>
                <a:lnTo>
                  <a:pt x="4498" y="774"/>
                </a:lnTo>
                <a:lnTo>
                  <a:pt x="4502" y="774"/>
                </a:lnTo>
                <a:lnTo>
                  <a:pt x="4504" y="776"/>
                </a:lnTo>
                <a:lnTo>
                  <a:pt x="4508" y="782"/>
                </a:lnTo>
                <a:lnTo>
                  <a:pt x="4510" y="786"/>
                </a:lnTo>
                <a:lnTo>
                  <a:pt x="4516" y="790"/>
                </a:lnTo>
                <a:lnTo>
                  <a:pt x="4522" y="794"/>
                </a:lnTo>
                <a:lnTo>
                  <a:pt x="4522" y="798"/>
                </a:lnTo>
                <a:lnTo>
                  <a:pt x="4520" y="802"/>
                </a:lnTo>
                <a:lnTo>
                  <a:pt x="4518" y="806"/>
                </a:lnTo>
                <a:lnTo>
                  <a:pt x="4516" y="808"/>
                </a:lnTo>
                <a:lnTo>
                  <a:pt x="4516" y="812"/>
                </a:lnTo>
                <a:lnTo>
                  <a:pt x="4522" y="818"/>
                </a:lnTo>
                <a:lnTo>
                  <a:pt x="4534" y="822"/>
                </a:lnTo>
                <a:lnTo>
                  <a:pt x="4542" y="828"/>
                </a:lnTo>
                <a:lnTo>
                  <a:pt x="4544" y="832"/>
                </a:lnTo>
                <a:lnTo>
                  <a:pt x="4542" y="838"/>
                </a:lnTo>
                <a:lnTo>
                  <a:pt x="4538" y="844"/>
                </a:lnTo>
                <a:lnTo>
                  <a:pt x="4536" y="848"/>
                </a:lnTo>
                <a:lnTo>
                  <a:pt x="4534" y="854"/>
                </a:lnTo>
                <a:lnTo>
                  <a:pt x="4538" y="858"/>
                </a:lnTo>
                <a:lnTo>
                  <a:pt x="4546" y="860"/>
                </a:lnTo>
                <a:lnTo>
                  <a:pt x="4556" y="864"/>
                </a:lnTo>
                <a:lnTo>
                  <a:pt x="4564" y="870"/>
                </a:lnTo>
                <a:lnTo>
                  <a:pt x="4566" y="876"/>
                </a:lnTo>
                <a:lnTo>
                  <a:pt x="4566" y="882"/>
                </a:lnTo>
                <a:lnTo>
                  <a:pt x="4564" y="888"/>
                </a:lnTo>
                <a:lnTo>
                  <a:pt x="4560" y="894"/>
                </a:lnTo>
                <a:lnTo>
                  <a:pt x="4552" y="898"/>
                </a:lnTo>
                <a:lnTo>
                  <a:pt x="4544" y="900"/>
                </a:lnTo>
                <a:lnTo>
                  <a:pt x="4536" y="902"/>
                </a:lnTo>
                <a:lnTo>
                  <a:pt x="4530" y="906"/>
                </a:lnTo>
                <a:lnTo>
                  <a:pt x="4526" y="910"/>
                </a:lnTo>
                <a:lnTo>
                  <a:pt x="4526" y="916"/>
                </a:lnTo>
                <a:lnTo>
                  <a:pt x="4528" y="922"/>
                </a:lnTo>
                <a:lnTo>
                  <a:pt x="4530" y="928"/>
                </a:lnTo>
                <a:lnTo>
                  <a:pt x="4542" y="942"/>
                </a:lnTo>
                <a:lnTo>
                  <a:pt x="4544" y="948"/>
                </a:lnTo>
                <a:lnTo>
                  <a:pt x="4544" y="952"/>
                </a:lnTo>
                <a:lnTo>
                  <a:pt x="4540" y="954"/>
                </a:lnTo>
                <a:lnTo>
                  <a:pt x="4534" y="956"/>
                </a:lnTo>
                <a:lnTo>
                  <a:pt x="4522" y="958"/>
                </a:lnTo>
                <a:lnTo>
                  <a:pt x="4518" y="960"/>
                </a:lnTo>
                <a:lnTo>
                  <a:pt x="4520" y="962"/>
                </a:lnTo>
                <a:lnTo>
                  <a:pt x="4526" y="970"/>
                </a:lnTo>
                <a:lnTo>
                  <a:pt x="4532" y="980"/>
                </a:lnTo>
                <a:lnTo>
                  <a:pt x="4534" y="982"/>
                </a:lnTo>
                <a:lnTo>
                  <a:pt x="4538" y="986"/>
                </a:lnTo>
                <a:lnTo>
                  <a:pt x="4542" y="986"/>
                </a:lnTo>
                <a:lnTo>
                  <a:pt x="4546" y="984"/>
                </a:lnTo>
                <a:lnTo>
                  <a:pt x="4552" y="982"/>
                </a:lnTo>
                <a:lnTo>
                  <a:pt x="4560" y="984"/>
                </a:lnTo>
                <a:lnTo>
                  <a:pt x="4574" y="988"/>
                </a:lnTo>
                <a:lnTo>
                  <a:pt x="4580" y="988"/>
                </a:lnTo>
                <a:lnTo>
                  <a:pt x="4588" y="988"/>
                </a:lnTo>
                <a:lnTo>
                  <a:pt x="4594" y="984"/>
                </a:lnTo>
                <a:lnTo>
                  <a:pt x="4600" y="974"/>
                </a:lnTo>
                <a:lnTo>
                  <a:pt x="4604" y="970"/>
                </a:lnTo>
                <a:lnTo>
                  <a:pt x="4608" y="966"/>
                </a:lnTo>
                <a:lnTo>
                  <a:pt x="4616" y="960"/>
                </a:lnTo>
                <a:lnTo>
                  <a:pt x="4626" y="958"/>
                </a:lnTo>
                <a:lnTo>
                  <a:pt x="4636" y="960"/>
                </a:lnTo>
                <a:lnTo>
                  <a:pt x="4646" y="962"/>
                </a:lnTo>
                <a:lnTo>
                  <a:pt x="4652" y="966"/>
                </a:lnTo>
                <a:lnTo>
                  <a:pt x="4654" y="968"/>
                </a:lnTo>
                <a:lnTo>
                  <a:pt x="4654" y="970"/>
                </a:lnTo>
                <a:lnTo>
                  <a:pt x="4654" y="972"/>
                </a:lnTo>
                <a:lnTo>
                  <a:pt x="4648" y="976"/>
                </a:lnTo>
                <a:lnTo>
                  <a:pt x="4646" y="980"/>
                </a:lnTo>
                <a:lnTo>
                  <a:pt x="4650" y="982"/>
                </a:lnTo>
                <a:lnTo>
                  <a:pt x="4654" y="982"/>
                </a:lnTo>
                <a:lnTo>
                  <a:pt x="4660" y="984"/>
                </a:lnTo>
                <a:lnTo>
                  <a:pt x="4664" y="986"/>
                </a:lnTo>
                <a:lnTo>
                  <a:pt x="4666" y="988"/>
                </a:lnTo>
                <a:lnTo>
                  <a:pt x="4662" y="994"/>
                </a:lnTo>
                <a:lnTo>
                  <a:pt x="4660" y="996"/>
                </a:lnTo>
                <a:lnTo>
                  <a:pt x="4660" y="1000"/>
                </a:lnTo>
                <a:lnTo>
                  <a:pt x="4666" y="1006"/>
                </a:lnTo>
                <a:lnTo>
                  <a:pt x="4674" y="1010"/>
                </a:lnTo>
                <a:lnTo>
                  <a:pt x="4684" y="1014"/>
                </a:lnTo>
                <a:lnTo>
                  <a:pt x="4702" y="1020"/>
                </a:lnTo>
                <a:lnTo>
                  <a:pt x="4710" y="1022"/>
                </a:lnTo>
                <a:lnTo>
                  <a:pt x="4710" y="1024"/>
                </a:lnTo>
                <a:lnTo>
                  <a:pt x="4704" y="1032"/>
                </a:lnTo>
                <a:lnTo>
                  <a:pt x="4702" y="1038"/>
                </a:lnTo>
                <a:lnTo>
                  <a:pt x="4706" y="1044"/>
                </a:lnTo>
                <a:lnTo>
                  <a:pt x="4710" y="1050"/>
                </a:lnTo>
                <a:lnTo>
                  <a:pt x="4712" y="1052"/>
                </a:lnTo>
                <a:lnTo>
                  <a:pt x="4710" y="1054"/>
                </a:lnTo>
                <a:lnTo>
                  <a:pt x="4700" y="1052"/>
                </a:lnTo>
                <a:lnTo>
                  <a:pt x="4684" y="1048"/>
                </a:lnTo>
                <a:lnTo>
                  <a:pt x="4668" y="1040"/>
                </a:lnTo>
                <a:lnTo>
                  <a:pt x="4658" y="1034"/>
                </a:lnTo>
                <a:lnTo>
                  <a:pt x="4646" y="1032"/>
                </a:lnTo>
                <a:lnTo>
                  <a:pt x="4620" y="1028"/>
                </a:lnTo>
                <a:lnTo>
                  <a:pt x="4594" y="1028"/>
                </a:lnTo>
                <a:lnTo>
                  <a:pt x="4584" y="1030"/>
                </a:lnTo>
                <a:lnTo>
                  <a:pt x="4578" y="1032"/>
                </a:lnTo>
                <a:lnTo>
                  <a:pt x="4576" y="1036"/>
                </a:lnTo>
                <a:lnTo>
                  <a:pt x="4576" y="1040"/>
                </a:lnTo>
                <a:lnTo>
                  <a:pt x="4580" y="1044"/>
                </a:lnTo>
                <a:lnTo>
                  <a:pt x="4586" y="1048"/>
                </a:lnTo>
                <a:lnTo>
                  <a:pt x="4602" y="1056"/>
                </a:lnTo>
                <a:lnTo>
                  <a:pt x="4618" y="1058"/>
                </a:lnTo>
                <a:lnTo>
                  <a:pt x="4632" y="1060"/>
                </a:lnTo>
                <a:lnTo>
                  <a:pt x="4640" y="1064"/>
                </a:lnTo>
                <a:lnTo>
                  <a:pt x="4648" y="1068"/>
                </a:lnTo>
                <a:lnTo>
                  <a:pt x="4652" y="1072"/>
                </a:lnTo>
                <a:lnTo>
                  <a:pt x="4656" y="1076"/>
                </a:lnTo>
                <a:lnTo>
                  <a:pt x="4660" y="1082"/>
                </a:lnTo>
                <a:lnTo>
                  <a:pt x="4668" y="1084"/>
                </a:lnTo>
                <a:lnTo>
                  <a:pt x="4680" y="1086"/>
                </a:lnTo>
                <a:lnTo>
                  <a:pt x="4694" y="1088"/>
                </a:lnTo>
                <a:lnTo>
                  <a:pt x="4702" y="1092"/>
                </a:lnTo>
                <a:lnTo>
                  <a:pt x="4704" y="1094"/>
                </a:lnTo>
                <a:lnTo>
                  <a:pt x="4706" y="1098"/>
                </a:lnTo>
                <a:lnTo>
                  <a:pt x="4704" y="1106"/>
                </a:lnTo>
                <a:lnTo>
                  <a:pt x="4702" y="1112"/>
                </a:lnTo>
                <a:lnTo>
                  <a:pt x="4706" y="1118"/>
                </a:lnTo>
                <a:lnTo>
                  <a:pt x="4710" y="1120"/>
                </a:lnTo>
                <a:lnTo>
                  <a:pt x="4712" y="1120"/>
                </a:lnTo>
                <a:lnTo>
                  <a:pt x="4716" y="1116"/>
                </a:lnTo>
                <a:lnTo>
                  <a:pt x="4718" y="1112"/>
                </a:lnTo>
                <a:lnTo>
                  <a:pt x="4724" y="1106"/>
                </a:lnTo>
                <a:lnTo>
                  <a:pt x="4726" y="1108"/>
                </a:lnTo>
                <a:lnTo>
                  <a:pt x="4726" y="1114"/>
                </a:lnTo>
                <a:lnTo>
                  <a:pt x="4724" y="1120"/>
                </a:lnTo>
                <a:lnTo>
                  <a:pt x="4718" y="1134"/>
                </a:lnTo>
                <a:lnTo>
                  <a:pt x="4712" y="1148"/>
                </a:lnTo>
                <a:lnTo>
                  <a:pt x="4708" y="1162"/>
                </a:lnTo>
                <a:lnTo>
                  <a:pt x="4708" y="1170"/>
                </a:lnTo>
                <a:lnTo>
                  <a:pt x="4708" y="1174"/>
                </a:lnTo>
                <a:lnTo>
                  <a:pt x="4712" y="1182"/>
                </a:lnTo>
                <a:lnTo>
                  <a:pt x="4712" y="1184"/>
                </a:lnTo>
                <a:lnTo>
                  <a:pt x="4712" y="1186"/>
                </a:lnTo>
                <a:lnTo>
                  <a:pt x="4702" y="1192"/>
                </a:lnTo>
                <a:lnTo>
                  <a:pt x="4694" y="1194"/>
                </a:lnTo>
                <a:lnTo>
                  <a:pt x="4686" y="1194"/>
                </a:lnTo>
                <a:lnTo>
                  <a:pt x="4674" y="1192"/>
                </a:lnTo>
                <a:lnTo>
                  <a:pt x="4664" y="1190"/>
                </a:lnTo>
                <a:lnTo>
                  <a:pt x="4658" y="1190"/>
                </a:lnTo>
                <a:lnTo>
                  <a:pt x="4654" y="1192"/>
                </a:lnTo>
                <a:lnTo>
                  <a:pt x="4650" y="1196"/>
                </a:lnTo>
                <a:lnTo>
                  <a:pt x="4644" y="1198"/>
                </a:lnTo>
                <a:lnTo>
                  <a:pt x="4632" y="1200"/>
                </a:lnTo>
                <a:lnTo>
                  <a:pt x="4624" y="1204"/>
                </a:lnTo>
                <a:lnTo>
                  <a:pt x="4622" y="1206"/>
                </a:lnTo>
                <a:lnTo>
                  <a:pt x="4624" y="1208"/>
                </a:lnTo>
                <a:lnTo>
                  <a:pt x="4624" y="1212"/>
                </a:lnTo>
                <a:lnTo>
                  <a:pt x="4622" y="1214"/>
                </a:lnTo>
                <a:lnTo>
                  <a:pt x="4620" y="1214"/>
                </a:lnTo>
                <a:lnTo>
                  <a:pt x="4620" y="1216"/>
                </a:lnTo>
                <a:lnTo>
                  <a:pt x="4628" y="1220"/>
                </a:lnTo>
                <a:lnTo>
                  <a:pt x="4632" y="1224"/>
                </a:lnTo>
                <a:lnTo>
                  <a:pt x="4632" y="1228"/>
                </a:lnTo>
                <a:lnTo>
                  <a:pt x="4628" y="1232"/>
                </a:lnTo>
                <a:lnTo>
                  <a:pt x="4624" y="1234"/>
                </a:lnTo>
                <a:lnTo>
                  <a:pt x="4614" y="1240"/>
                </a:lnTo>
                <a:lnTo>
                  <a:pt x="4610" y="1242"/>
                </a:lnTo>
                <a:lnTo>
                  <a:pt x="4610" y="1246"/>
                </a:lnTo>
                <a:lnTo>
                  <a:pt x="4610" y="1252"/>
                </a:lnTo>
                <a:lnTo>
                  <a:pt x="4608" y="1260"/>
                </a:lnTo>
                <a:lnTo>
                  <a:pt x="4600" y="1284"/>
                </a:lnTo>
                <a:lnTo>
                  <a:pt x="4598" y="1290"/>
                </a:lnTo>
                <a:lnTo>
                  <a:pt x="4598" y="1296"/>
                </a:lnTo>
                <a:lnTo>
                  <a:pt x="4602" y="1300"/>
                </a:lnTo>
                <a:lnTo>
                  <a:pt x="4608" y="1302"/>
                </a:lnTo>
                <a:lnTo>
                  <a:pt x="4624" y="1304"/>
                </a:lnTo>
                <a:lnTo>
                  <a:pt x="4648" y="1304"/>
                </a:lnTo>
                <a:lnTo>
                  <a:pt x="4636" y="1312"/>
                </a:lnTo>
                <a:lnTo>
                  <a:pt x="4626" y="1320"/>
                </a:lnTo>
                <a:lnTo>
                  <a:pt x="4618" y="1328"/>
                </a:lnTo>
                <a:lnTo>
                  <a:pt x="4612" y="1336"/>
                </a:lnTo>
                <a:lnTo>
                  <a:pt x="4608" y="1346"/>
                </a:lnTo>
                <a:lnTo>
                  <a:pt x="4608" y="1354"/>
                </a:lnTo>
                <a:lnTo>
                  <a:pt x="4610" y="1360"/>
                </a:lnTo>
                <a:lnTo>
                  <a:pt x="4616" y="1368"/>
                </a:lnTo>
                <a:lnTo>
                  <a:pt x="4622" y="1372"/>
                </a:lnTo>
                <a:lnTo>
                  <a:pt x="4626" y="1376"/>
                </a:lnTo>
                <a:lnTo>
                  <a:pt x="4628" y="1384"/>
                </a:lnTo>
                <a:lnTo>
                  <a:pt x="4628" y="1388"/>
                </a:lnTo>
                <a:lnTo>
                  <a:pt x="4630" y="1390"/>
                </a:lnTo>
                <a:lnTo>
                  <a:pt x="4632" y="1392"/>
                </a:lnTo>
                <a:lnTo>
                  <a:pt x="4642" y="1394"/>
                </a:lnTo>
                <a:lnTo>
                  <a:pt x="4650" y="1398"/>
                </a:lnTo>
                <a:lnTo>
                  <a:pt x="4654" y="1404"/>
                </a:lnTo>
                <a:lnTo>
                  <a:pt x="4656" y="1410"/>
                </a:lnTo>
                <a:lnTo>
                  <a:pt x="4654" y="1414"/>
                </a:lnTo>
                <a:lnTo>
                  <a:pt x="4654" y="1418"/>
                </a:lnTo>
                <a:lnTo>
                  <a:pt x="4656" y="1422"/>
                </a:lnTo>
                <a:lnTo>
                  <a:pt x="4660" y="1424"/>
                </a:lnTo>
                <a:lnTo>
                  <a:pt x="4664" y="1430"/>
                </a:lnTo>
                <a:lnTo>
                  <a:pt x="4666" y="1434"/>
                </a:lnTo>
                <a:lnTo>
                  <a:pt x="4666" y="1440"/>
                </a:lnTo>
                <a:lnTo>
                  <a:pt x="4668" y="1448"/>
                </a:lnTo>
                <a:lnTo>
                  <a:pt x="4670" y="1450"/>
                </a:lnTo>
                <a:lnTo>
                  <a:pt x="4672" y="1452"/>
                </a:lnTo>
                <a:lnTo>
                  <a:pt x="4672" y="1462"/>
                </a:lnTo>
                <a:lnTo>
                  <a:pt x="4672" y="1476"/>
                </a:lnTo>
                <a:lnTo>
                  <a:pt x="4674" y="1482"/>
                </a:lnTo>
                <a:lnTo>
                  <a:pt x="4676" y="1486"/>
                </a:lnTo>
                <a:lnTo>
                  <a:pt x="4678" y="1488"/>
                </a:lnTo>
                <a:lnTo>
                  <a:pt x="4684" y="1486"/>
                </a:lnTo>
                <a:lnTo>
                  <a:pt x="4690" y="1480"/>
                </a:lnTo>
                <a:lnTo>
                  <a:pt x="4696" y="1470"/>
                </a:lnTo>
                <a:lnTo>
                  <a:pt x="4706" y="1454"/>
                </a:lnTo>
                <a:lnTo>
                  <a:pt x="4708" y="1454"/>
                </a:lnTo>
                <a:lnTo>
                  <a:pt x="4710" y="1456"/>
                </a:lnTo>
                <a:lnTo>
                  <a:pt x="4712" y="1462"/>
                </a:lnTo>
                <a:lnTo>
                  <a:pt x="4714" y="1462"/>
                </a:lnTo>
                <a:lnTo>
                  <a:pt x="4720" y="1460"/>
                </a:lnTo>
                <a:lnTo>
                  <a:pt x="4726" y="1456"/>
                </a:lnTo>
                <a:lnTo>
                  <a:pt x="4732" y="1454"/>
                </a:lnTo>
                <a:lnTo>
                  <a:pt x="4738" y="1452"/>
                </a:lnTo>
                <a:lnTo>
                  <a:pt x="4742" y="1452"/>
                </a:lnTo>
                <a:lnTo>
                  <a:pt x="4748" y="1454"/>
                </a:lnTo>
                <a:lnTo>
                  <a:pt x="4752" y="1458"/>
                </a:lnTo>
                <a:lnTo>
                  <a:pt x="4756" y="1462"/>
                </a:lnTo>
                <a:lnTo>
                  <a:pt x="4758" y="1468"/>
                </a:lnTo>
                <a:lnTo>
                  <a:pt x="4758" y="1474"/>
                </a:lnTo>
                <a:lnTo>
                  <a:pt x="4756" y="1474"/>
                </a:lnTo>
                <a:lnTo>
                  <a:pt x="4748" y="1470"/>
                </a:lnTo>
                <a:lnTo>
                  <a:pt x="4738" y="1462"/>
                </a:lnTo>
                <a:lnTo>
                  <a:pt x="4732" y="1462"/>
                </a:lnTo>
                <a:lnTo>
                  <a:pt x="4728" y="1462"/>
                </a:lnTo>
                <a:lnTo>
                  <a:pt x="4724" y="1466"/>
                </a:lnTo>
                <a:lnTo>
                  <a:pt x="4724" y="1468"/>
                </a:lnTo>
                <a:lnTo>
                  <a:pt x="4732" y="1472"/>
                </a:lnTo>
                <a:lnTo>
                  <a:pt x="4734" y="1474"/>
                </a:lnTo>
                <a:lnTo>
                  <a:pt x="4736" y="1476"/>
                </a:lnTo>
                <a:lnTo>
                  <a:pt x="4734" y="1476"/>
                </a:lnTo>
                <a:lnTo>
                  <a:pt x="4726" y="1478"/>
                </a:lnTo>
                <a:lnTo>
                  <a:pt x="4720" y="1478"/>
                </a:lnTo>
                <a:lnTo>
                  <a:pt x="4716" y="1480"/>
                </a:lnTo>
                <a:lnTo>
                  <a:pt x="4716" y="1482"/>
                </a:lnTo>
                <a:lnTo>
                  <a:pt x="4716" y="1484"/>
                </a:lnTo>
                <a:lnTo>
                  <a:pt x="4718" y="1486"/>
                </a:lnTo>
                <a:lnTo>
                  <a:pt x="4716" y="1488"/>
                </a:lnTo>
                <a:lnTo>
                  <a:pt x="4712" y="1490"/>
                </a:lnTo>
                <a:lnTo>
                  <a:pt x="4704" y="1492"/>
                </a:lnTo>
                <a:lnTo>
                  <a:pt x="4692" y="1494"/>
                </a:lnTo>
                <a:lnTo>
                  <a:pt x="4694" y="1496"/>
                </a:lnTo>
                <a:lnTo>
                  <a:pt x="4696" y="1500"/>
                </a:lnTo>
                <a:lnTo>
                  <a:pt x="4696" y="1502"/>
                </a:lnTo>
                <a:lnTo>
                  <a:pt x="4694" y="1502"/>
                </a:lnTo>
                <a:lnTo>
                  <a:pt x="4692" y="1504"/>
                </a:lnTo>
                <a:lnTo>
                  <a:pt x="4690" y="1506"/>
                </a:lnTo>
                <a:lnTo>
                  <a:pt x="4694" y="1510"/>
                </a:lnTo>
                <a:lnTo>
                  <a:pt x="4696" y="1512"/>
                </a:lnTo>
                <a:lnTo>
                  <a:pt x="4698" y="1516"/>
                </a:lnTo>
                <a:lnTo>
                  <a:pt x="4696" y="1518"/>
                </a:lnTo>
                <a:lnTo>
                  <a:pt x="4696" y="1522"/>
                </a:lnTo>
                <a:lnTo>
                  <a:pt x="4696" y="1524"/>
                </a:lnTo>
                <a:lnTo>
                  <a:pt x="4698" y="1532"/>
                </a:lnTo>
                <a:lnTo>
                  <a:pt x="4710" y="1552"/>
                </a:lnTo>
                <a:lnTo>
                  <a:pt x="4714" y="1556"/>
                </a:lnTo>
                <a:lnTo>
                  <a:pt x="4718" y="1560"/>
                </a:lnTo>
                <a:lnTo>
                  <a:pt x="4728" y="1562"/>
                </a:lnTo>
                <a:lnTo>
                  <a:pt x="4734" y="1562"/>
                </a:lnTo>
                <a:lnTo>
                  <a:pt x="4734" y="1564"/>
                </a:lnTo>
                <a:lnTo>
                  <a:pt x="4734" y="1568"/>
                </a:lnTo>
                <a:lnTo>
                  <a:pt x="4734" y="1572"/>
                </a:lnTo>
                <a:lnTo>
                  <a:pt x="4734" y="1574"/>
                </a:lnTo>
                <a:lnTo>
                  <a:pt x="4738" y="1582"/>
                </a:lnTo>
                <a:lnTo>
                  <a:pt x="4742" y="1588"/>
                </a:lnTo>
                <a:lnTo>
                  <a:pt x="4744" y="1592"/>
                </a:lnTo>
                <a:lnTo>
                  <a:pt x="4744" y="1596"/>
                </a:lnTo>
                <a:lnTo>
                  <a:pt x="4744" y="1604"/>
                </a:lnTo>
                <a:lnTo>
                  <a:pt x="4746" y="1610"/>
                </a:lnTo>
                <a:lnTo>
                  <a:pt x="4752" y="1614"/>
                </a:lnTo>
                <a:lnTo>
                  <a:pt x="4762" y="1618"/>
                </a:lnTo>
                <a:lnTo>
                  <a:pt x="4768" y="1622"/>
                </a:lnTo>
                <a:lnTo>
                  <a:pt x="4770" y="1626"/>
                </a:lnTo>
                <a:lnTo>
                  <a:pt x="4772" y="1630"/>
                </a:lnTo>
                <a:lnTo>
                  <a:pt x="4770" y="1634"/>
                </a:lnTo>
                <a:lnTo>
                  <a:pt x="4770" y="1638"/>
                </a:lnTo>
                <a:lnTo>
                  <a:pt x="4770" y="1640"/>
                </a:lnTo>
                <a:lnTo>
                  <a:pt x="4774" y="1638"/>
                </a:lnTo>
                <a:lnTo>
                  <a:pt x="4778" y="1638"/>
                </a:lnTo>
                <a:lnTo>
                  <a:pt x="4780" y="1640"/>
                </a:lnTo>
                <a:lnTo>
                  <a:pt x="4782" y="1646"/>
                </a:lnTo>
                <a:lnTo>
                  <a:pt x="4782" y="1654"/>
                </a:lnTo>
                <a:lnTo>
                  <a:pt x="4784" y="1656"/>
                </a:lnTo>
                <a:lnTo>
                  <a:pt x="4786" y="1656"/>
                </a:lnTo>
                <a:lnTo>
                  <a:pt x="4792" y="1654"/>
                </a:lnTo>
                <a:lnTo>
                  <a:pt x="4794" y="1656"/>
                </a:lnTo>
                <a:lnTo>
                  <a:pt x="4794" y="1662"/>
                </a:lnTo>
                <a:lnTo>
                  <a:pt x="4790" y="1670"/>
                </a:lnTo>
                <a:lnTo>
                  <a:pt x="4790" y="1676"/>
                </a:lnTo>
                <a:lnTo>
                  <a:pt x="4792" y="1678"/>
                </a:lnTo>
                <a:lnTo>
                  <a:pt x="4802" y="1678"/>
                </a:lnTo>
                <a:lnTo>
                  <a:pt x="4814" y="1678"/>
                </a:lnTo>
                <a:lnTo>
                  <a:pt x="4816" y="1680"/>
                </a:lnTo>
                <a:lnTo>
                  <a:pt x="4816" y="1684"/>
                </a:lnTo>
                <a:lnTo>
                  <a:pt x="4814" y="1688"/>
                </a:lnTo>
                <a:lnTo>
                  <a:pt x="4814" y="1692"/>
                </a:lnTo>
                <a:lnTo>
                  <a:pt x="4816" y="1694"/>
                </a:lnTo>
                <a:lnTo>
                  <a:pt x="4820" y="1694"/>
                </a:lnTo>
                <a:lnTo>
                  <a:pt x="4826" y="1694"/>
                </a:lnTo>
                <a:lnTo>
                  <a:pt x="4830" y="1696"/>
                </a:lnTo>
                <a:lnTo>
                  <a:pt x="4832" y="1698"/>
                </a:lnTo>
                <a:lnTo>
                  <a:pt x="4834" y="1700"/>
                </a:lnTo>
                <a:lnTo>
                  <a:pt x="4832" y="1702"/>
                </a:lnTo>
                <a:lnTo>
                  <a:pt x="4830" y="1702"/>
                </a:lnTo>
                <a:lnTo>
                  <a:pt x="4826" y="1704"/>
                </a:lnTo>
                <a:lnTo>
                  <a:pt x="4826" y="1708"/>
                </a:lnTo>
                <a:lnTo>
                  <a:pt x="4826" y="1712"/>
                </a:lnTo>
                <a:lnTo>
                  <a:pt x="4830" y="1720"/>
                </a:lnTo>
                <a:lnTo>
                  <a:pt x="4832" y="1724"/>
                </a:lnTo>
                <a:lnTo>
                  <a:pt x="4836" y="1726"/>
                </a:lnTo>
                <a:lnTo>
                  <a:pt x="4840" y="1726"/>
                </a:lnTo>
                <a:lnTo>
                  <a:pt x="4846" y="1726"/>
                </a:lnTo>
                <a:lnTo>
                  <a:pt x="4852" y="1722"/>
                </a:lnTo>
                <a:lnTo>
                  <a:pt x="4860" y="1716"/>
                </a:lnTo>
                <a:lnTo>
                  <a:pt x="4868" y="1712"/>
                </a:lnTo>
                <a:lnTo>
                  <a:pt x="4874" y="1710"/>
                </a:lnTo>
                <a:lnTo>
                  <a:pt x="4878" y="1712"/>
                </a:lnTo>
                <a:lnTo>
                  <a:pt x="4880" y="1712"/>
                </a:lnTo>
                <a:lnTo>
                  <a:pt x="4884" y="1716"/>
                </a:lnTo>
                <a:lnTo>
                  <a:pt x="4886" y="1716"/>
                </a:lnTo>
                <a:lnTo>
                  <a:pt x="4890" y="1712"/>
                </a:lnTo>
                <a:lnTo>
                  <a:pt x="4900" y="1706"/>
                </a:lnTo>
                <a:lnTo>
                  <a:pt x="4910" y="1702"/>
                </a:lnTo>
                <a:lnTo>
                  <a:pt x="4916" y="1698"/>
                </a:lnTo>
                <a:lnTo>
                  <a:pt x="4918" y="1696"/>
                </a:lnTo>
                <a:lnTo>
                  <a:pt x="4918" y="1692"/>
                </a:lnTo>
                <a:lnTo>
                  <a:pt x="4918" y="1688"/>
                </a:lnTo>
                <a:lnTo>
                  <a:pt x="4918" y="1686"/>
                </a:lnTo>
                <a:lnTo>
                  <a:pt x="4920" y="1686"/>
                </a:lnTo>
                <a:lnTo>
                  <a:pt x="4924" y="1690"/>
                </a:lnTo>
                <a:lnTo>
                  <a:pt x="4926" y="1694"/>
                </a:lnTo>
                <a:lnTo>
                  <a:pt x="4926" y="1698"/>
                </a:lnTo>
                <a:lnTo>
                  <a:pt x="4926" y="1704"/>
                </a:lnTo>
                <a:lnTo>
                  <a:pt x="4922" y="1708"/>
                </a:lnTo>
                <a:lnTo>
                  <a:pt x="4914" y="1718"/>
                </a:lnTo>
                <a:lnTo>
                  <a:pt x="4912" y="1724"/>
                </a:lnTo>
                <a:lnTo>
                  <a:pt x="4912" y="1728"/>
                </a:lnTo>
                <a:lnTo>
                  <a:pt x="4916" y="1730"/>
                </a:lnTo>
                <a:lnTo>
                  <a:pt x="4926" y="1736"/>
                </a:lnTo>
                <a:lnTo>
                  <a:pt x="4936" y="1738"/>
                </a:lnTo>
                <a:lnTo>
                  <a:pt x="4944" y="1738"/>
                </a:lnTo>
                <a:lnTo>
                  <a:pt x="4956" y="1738"/>
                </a:lnTo>
                <a:lnTo>
                  <a:pt x="4962" y="1738"/>
                </a:lnTo>
                <a:lnTo>
                  <a:pt x="4962" y="1740"/>
                </a:lnTo>
                <a:lnTo>
                  <a:pt x="4962" y="1744"/>
                </a:lnTo>
                <a:lnTo>
                  <a:pt x="4956" y="1752"/>
                </a:lnTo>
                <a:lnTo>
                  <a:pt x="4954" y="1758"/>
                </a:lnTo>
                <a:lnTo>
                  <a:pt x="4952" y="1762"/>
                </a:lnTo>
                <a:lnTo>
                  <a:pt x="4954" y="1766"/>
                </a:lnTo>
                <a:lnTo>
                  <a:pt x="4958" y="1768"/>
                </a:lnTo>
                <a:lnTo>
                  <a:pt x="4964" y="1770"/>
                </a:lnTo>
                <a:lnTo>
                  <a:pt x="4968" y="1770"/>
                </a:lnTo>
                <a:lnTo>
                  <a:pt x="4974" y="1768"/>
                </a:lnTo>
                <a:lnTo>
                  <a:pt x="4978" y="1766"/>
                </a:lnTo>
                <a:lnTo>
                  <a:pt x="4988" y="1758"/>
                </a:lnTo>
                <a:lnTo>
                  <a:pt x="4990" y="1758"/>
                </a:lnTo>
                <a:lnTo>
                  <a:pt x="4992" y="1758"/>
                </a:lnTo>
                <a:lnTo>
                  <a:pt x="4998" y="1762"/>
                </a:lnTo>
                <a:lnTo>
                  <a:pt x="5006" y="1770"/>
                </a:lnTo>
                <a:lnTo>
                  <a:pt x="5018" y="1776"/>
                </a:lnTo>
                <a:lnTo>
                  <a:pt x="5022" y="1776"/>
                </a:lnTo>
                <a:lnTo>
                  <a:pt x="5026" y="1774"/>
                </a:lnTo>
                <a:lnTo>
                  <a:pt x="5030" y="1772"/>
                </a:lnTo>
                <a:lnTo>
                  <a:pt x="5034" y="1768"/>
                </a:lnTo>
                <a:lnTo>
                  <a:pt x="5036" y="1762"/>
                </a:lnTo>
                <a:lnTo>
                  <a:pt x="5036" y="1756"/>
                </a:lnTo>
                <a:lnTo>
                  <a:pt x="5036" y="1748"/>
                </a:lnTo>
                <a:lnTo>
                  <a:pt x="5034" y="1746"/>
                </a:lnTo>
                <a:lnTo>
                  <a:pt x="5030" y="1744"/>
                </a:lnTo>
                <a:lnTo>
                  <a:pt x="5028" y="1744"/>
                </a:lnTo>
                <a:lnTo>
                  <a:pt x="5022" y="1746"/>
                </a:lnTo>
                <a:lnTo>
                  <a:pt x="5024" y="1742"/>
                </a:lnTo>
                <a:lnTo>
                  <a:pt x="5026" y="1740"/>
                </a:lnTo>
                <a:lnTo>
                  <a:pt x="5030" y="1736"/>
                </a:lnTo>
                <a:lnTo>
                  <a:pt x="5040" y="1732"/>
                </a:lnTo>
                <a:lnTo>
                  <a:pt x="5044" y="1730"/>
                </a:lnTo>
                <a:lnTo>
                  <a:pt x="5048" y="1728"/>
                </a:lnTo>
                <a:lnTo>
                  <a:pt x="5048" y="1724"/>
                </a:lnTo>
                <a:lnTo>
                  <a:pt x="5048" y="1718"/>
                </a:lnTo>
                <a:lnTo>
                  <a:pt x="5048" y="1710"/>
                </a:lnTo>
                <a:lnTo>
                  <a:pt x="5050" y="1700"/>
                </a:lnTo>
                <a:lnTo>
                  <a:pt x="5060" y="1676"/>
                </a:lnTo>
                <a:lnTo>
                  <a:pt x="5070" y="1650"/>
                </a:lnTo>
                <a:lnTo>
                  <a:pt x="5072" y="1640"/>
                </a:lnTo>
                <a:lnTo>
                  <a:pt x="5072" y="1630"/>
                </a:lnTo>
                <a:lnTo>
                  <a:pt x="5070" y="1624"/>
                </a:lnTo>
                <a:lnTo>
                  <a:pt x="5068" y="1622"/>
                </a:lnTo>
                <a:lnTo>
                  <a:pt x="5066" y="1620"/>
                </a:lnTo>
                <a:lnTo>
                  <a:pt x="5064" y="1622"/>
                </a:lnTo>
                <a:lnTo>
                  <a:pt x="5062" y="1622"/>
                </a:lnTo>
                <a:lnTo>
                  <a:pt x="5060" y="1622"/>
                </a:lnTo>
                <a:lnTo>
                  <a:pt x="5056" y="1620"/>
                </a:lnTo>
                <a:lnTo>
                  <a:pt x="5050" y="1614"/>
                </a:lnTo>
                <a:lnTo>
                  <a:pt x="5048" y="1610"/>
                </a:lnTo>
                <a:lnTo>
                  <a:pt x="5048" y="1608"/>
                </a:lnTo>
                <a:lnTo>
                  <a:pt x="5058" y="1612"/>
                </a:lnTo>
                <a:lnTo>
                  <a:pt x="5068" y="1614"/>
                </a:lnTo>
                <a:lnTo>
                  <a:pt x="5072" y="1614"/>
                </a:lnTo>
                <a:lnTo>
                  <a:pt x="5072" y="1610"/>
                </a:lnTo>
                <a:lnTo>
                  <a:pt x="5070" y="1604"/>
                </a:lnTo>
                <a:lnTo>
                  <a:pt x="5068" y="1602"/>
                </a:lnTo>
                <a:lnTo>
                  <a:pt x="5062" y="1598"/>
                </a:lnTo>
                <a:lnTo>
                  <a:pt x="5056" y="1596"/>
                </a:lnTo>
                <a:lnTo>
                  <a:pt x="5056" y="1594"/>
                </a:lnTo>
                <a:lnTo>
                  <a:pt x="5058" y="1592"/>
                </a:lnTo>
                <a:lnTo>
                  <a:pt x="5062" y="1588"/>
                </a:lnTo>
                <a:lnTo>
                  <a:pt x="5066" y="1586"/>
                </a:lnTo>
                <a:lnTo>
                  <a:pt x="5080" y="1584"/>
                </a:lnTo>
                <a:lnTo>
                  <a:pt x="5086" y="1582"/>
                </a:lnTo>
                <a:lnTo>
                  <a:pt x="5092" y="1578"/>
                </a:lnTo>
                <a:lnTo>
                  <a:pt x="5096" y="1574"/>
                </a:lnTo>
                <a:lnTo>
                  <a:pt x="5098" y="1566"/>
                </a:lnTo>
                <a:lnTo>
                  <a:pt x="5100" y="1560"/>
                </a:lnTo>
                <a:lnTo>
                  <a:pt x="5102" y="1556"/>
                </a:lnTo>
                <a:lnTo>
                  <a:pt x="5106" y="1556"/>
                </a:lnTo>
                <a:lnTo>
                  <a:pt x="5108" y="1558"/>
                </a:lnTo>
                <a:lnTo>
                  <a:pt x="5114" y="1562"/>
                </a:lnTo>
                <a:lnTo>
                  <a:pt x="5116" y="1560"/>
                </a:lnTo>
                <a:lnTo>
                  <a:pt x="5116" y="1556"/>
                </a:lnTo>
                <a:lnTo>
                  <a:pt x="5118" y="1550"/>
                </a:lnTo>
                <a:lnTo>
                  <a:pt x="5122" y="1544"/>
                </a:lnTo>
                <a:lnTo>
                  <a:pt x="5130" y="1538"/>
                </a:lnTo>
                <a:lnTo>
                  <a:pt x="5136" y="1530"/>
                </a:lnTo>
                <a:lnTo>
                  <a:pt x="5138" y="1526"/>
                </a:lnTo>
                <a:lnTo>
                  <a:pt x="5138" y="1520"/>
                </a:lnTo>
                <a:lnTo>
                  <a:pt x="5136" y="1508"/>
                </a:lnTo>
                <a:lnTo>
                  <a:pt x="5138" y="1502"/>
                </a:lnTo>
                <a:lnTo>
                  <a:pt x="5136" y="1500"/>
                </a:lnTo>
                <a:lnTo>
                  <a:pt x="5134" y="1498"/>
                </a:lnTo>
                <a:lnTo>
                  <a:pt x="5122" y="1498"/>
                </a:lnTo>
                <a:lnTo>
                  <a:pt x="5114" y="1496"/>
                </a:lnTo>
                <a:lnTo>
                  <a:pt x="5106" y="1494"/>
                </a:lnTo>
                <a:lnTo>
                  <a:pt x="5102" y="1492"/>
                </a:lnTo>
                <a:lnTo>
                  <a:pt x="5098" y="1488"/>
                </a:lnTo>
                <a:lnTo>
                  <a:pt x="5098" y="1486"/>
                </a:lnTo>
                <a:lnTo>
                  <a:pt x="5098" y="1484"/>
                </a:lnTo>
                <a:lnTo>
                  <a:pt x="5100" y="1484"/>
                </a:lnTo>
                <a:lnTo>
                  <a:pt x="5106" y="1484"/>
                </a:lnTo>
                <a:lnTo>
                  <a:pt x="5112" y="1486"/>
                </a:lnTo>
                <a:lnTo>
                  <a:pt x="5116" y="1486"/>
                </a:lnTo>
                <a:lnTo>
                  <a:pt x="5124" y="1484"/>
                </a:lnTo>
                <a:lnTo>
                  <a:pt x="5130" y="1482"/>
                </a:lnTo>
                <a:lnTo>
                  <a:pt x="5136" y="1482"/>
                </a:lnTo>
                <a:lnTo>
                  <a:pt x="5144" y="1482"/>
                </a:lnTo>
                <a:lnTo>
                  <a:pt x="5144" y="1480"/>
                </a:lnTo>
                <a:lnTo>
                  <a:pt x="5144" y="1478"/>
                </a:lnTo>
                <a:lnTo>
                  <a:pt x="5140" y="1468"/>
                </a:lnTo>
                <a:lnTo>
                  <a:pt x="5126" y="1454"/>
                </a:lnTo>
                <a:lnTo>
                  <a:pt x="5120" y="1446"/>
                </a:lnTo>
                <a:lnTo>
                  <a:pt x="5116" y="1440"/>
                </a:lnTo>
                <a:lnTo>
                  <a:pt x="5118" y="1436"/>
                </a:lnTo>
                <a:lnTo>
                  <a:pt x="5120" y="1434"/>
                </a:lnTo>
                <a:lnTo>
                  <a:pt x="5126" y="1434"/>
                </a:lnTo>
                <a:lnTo>
                  <a:pt x="5132" y="1434"/>
                </a:lnTo>
                <a:lnTo>
                  <a:pt x="5146" y="1436"/>
                </a:lnTo>
                <a:lnTo>
                  <a:pt x="5152" y="1438"/>
                </a:lnTo>
                <a:lnTo>
                  <a:pt x="5158" y="1436"/>
                </a:lnTo>
                <a:lnTo>
                  <a:pt x="5160" y="1432"/>
                </a:lnTo>
                <a:lnTo>
                  <a:pt x="5164" y="1428"/>
                </a:lnTo>
                <a:lnTo>
                  <a:pt x="5168" y="1420"/>
                </a:lnTo>
                <a:lnTo>
                  <a:pt x="5170" y="1418"/>
                </a:lnTo>
                <a:lnTo>
                  <a:pt x="5174" y="1418"/>
                </a:lnTo>
                <a:lnTo>
                  <a:pt x="5180" y="1418"/>
                </a:lnTo>
                <a:lnTo>
                  <a:pt x="5184" y="1418"/>
                </a:lnTo>
                <a:lnTo>
                  <a:pt x="5180" y="1414"/>
                </a:lnTo>
                <a:lnTo>
                  <a:pt x="5170" y="1408"/>
                </a:lnTo>
                <a:lnTo>
                  <a:pt x="5162" y="1404"/>
                </a:lnTo>
                <a:lnTo>
                  <a:pt x="5162" y="1402"/>
                </a:lnTo>
                <a:lnTo>
                  <a:pt x="5168" y="1402"/>
                </a:lnTo>
                <a:lnTo>
                  <a:pt x="5174" y="1398"/>
                </a:lnTo>
                <a:lnTo>
                  <a:pt x="5180" y="1396"/>
                </a:lnTo>
                <a:lnTo>
                  <a:pt x="5188" y="1398"/>
                </a:lnTo>
                <a:lnTo>
                  <a:pt x="5196" y="1398"/>
                </a:lnTo>
                <a:lnTo>
                  <a:pt x="5208" y="1398"/>
                </a:lnTo>
                <a:lnTo>
                  <a:pt x="5218" y="1396"/>
                </a:lnTo>
                <a:lnTo>
                  <a:pt x="5224" y="1396"/>
                </a:lnTo>
                <a:lnTo>
                  <a:pt x="5230" y="1394"/>
                </a:lnTo>
                <a:lnTo>
                  <a:pt x="5234" y="1390"/>
                </a:lnTo>
                <a:lnTo>
                  <a:pt x="5236" y="1386"/>
                </a:lnTo>
                <a:lnTo>
                  <a:pt x="5234" y="1382"/>
                </a:lnTo>
                <a:lnTo>
                  <a:pt x="5234" y="1380"/>
                </a:lnTo>
                <a:lnTo>
                  <a:pt x="5238" y="1376"/>
                </a:lnTo>
                <a:lnTo>
                  <a:pt x="5242" y="1370"/>
                </a:lnTo>
                <a:lnTo>
                  <a:pt x="5240" y="1368"/>
                </a:lnTo>
                <a:lnTo>
                  <a:pt x="5240" y="1364"/>
                </a:lnTo>
                <a:lnTo>
                  <a:pt x="5248" y="1358"/>
                </a:lnTo>
                <a:lnTo>
                  <a:pt x="5250" y="1356"/>
                </a:lnTo>
                <a:lnTo>
                  <a:pt x="5252" y="1354"/>
                </a:lnTo>
                <a:lnTo>
                  <a:pt x="5250" y="1350"/>
                </a:lnTo>
                <a:lnTo>
                  <a:pt x="5248" y="1348"/>
                </a:lnTo>
                <a:lnTo>
                  <a:pt x="5242" y="1346"/>
                </a:lnTo>
                <a:lnTo>
                  <a:pt x="5242" y="1344"/>
                </a:lnTo>
                <a:lnTo>
                  <a:pt x="5242" y="1342"/>
                </a:lnTo>
                <a:lnTo>
                  <a:pt x="5246" y="1342"/>
                </a:lnTo>
                <a:lnTo>
                  <a:pt x="5250" y="1342"/>
                </a:lnTo>
                <a:lnTo>
                  <a:pt x="5256" y="1344"/>
                </a:lnTo>
                <a:lnTo>
                  <a:pt x="5266" y="1344"/>
                </a:lnTo>
                <a:lnTo>
                  <a:pt x="5272" y="1344"/>
                </a:lnTo>
                <a:lnTo>
                  <a:pt x="5270" y="1346"/>
                </a:lnTo>
                <a:lnTo>
                  <a:pt x="5264" y="1352"/>
                </a:lnTo>
                <a:lnTo>
                  <a:pt x="5260" y="1356"/>
                </a:lnTo>
                <a:lnTo>
                  <a:pt x="5258" y="1360"/>
                </a:lnTo>
                <a:lnTo>
                  <a:pt x="5254" y="1364"/>
                </a:lnTo>
                <a:lnTo>
                  <a:pt x="5250" y="1366"/>
                </a:lnTo>
                <a:lnTo>
                  <a:pt x="5248" y="1372"/>
                </a:lnTo>
                <a:lnTo>
                  <a:pt x="5248" y="1378"/>
                </a:lnTo>
                <a:lnTo>
                  <a:pt x="5244" y="1386"/>
                </a:lnTo>
                <a:lnTo>
                  <a:pt x="5242" y="1392"/>
                </a:lnTo>
                <a:lnTo>
                  <a:pt x="5242" y="1394"/>
                </a:lnTo>
                <a:lnTo>
                  <a:pt x="5244" y="1396"/>
                </a:lnTo>
                <a:lnTo>
                  <a:pt x="5250" y="1398"/>
                </a:lnTo>
                <a:lnTo>
                  <a:pt x="5256" y="1398"/>
                </a:lnTo>
                <a:lnTo>
                  <a:pt x="5262" y="1396"/>
                </a:lnTo>
                <a:lnTo>
                  <a:pt x="5268" y="1390"/>
                </a:lnTo>
                <a:lnTo>
                  <a:pt x="5276" y="1380"/>
                </a:lnTo>
                <a:lnTo>
                  <a:pt x="5280" y="1380"/>
                </a:lnTo>
                <a:lnTo>
                  <a:pt x="5284" y="1382"/>
                </a:lnTo>
                <a:lnTo>
                  <a:pt x="5290" y="1386"/>
                </a:lnTo>
                <a:lnTo>
                  <a:pt x="5292" y="1384"/>
                </a:lnTo>
                <a:lnTo>
                  <a:pt x="5292" y="1380"/>
                </a:lnTo>
                <a:lnTo>
                  <a:pt x="5290" y="1378"/>
                </a:lnTo>
                <a:lnTo>
                  <a:pt x="5288" y="1376"/>
                </a:lnTo>
                <a:lnTo>
                  <a:pt x="5290" y="1374"/>
                </a:lnTo>
                <a:lnTo>
                  <a:pt x="5294" y="1370"/>
                </a:lnTo>
                <a:lnTo>
                  <a:pt x="5300" y="1370"/>
                </a:lnTo>
                <a:lnTo>
                  <a:pt x="5302" y="1370"/>
                </a:lnTo>
                <a:lnTo>
                  <a:pt x="5306" y="1370"/>
                </a:lnTo>
                <a:lnTo>
                  <a:pt x="5308" y="1372"/>
                </a:lnTo>
                <a:lnTo>
                  <a:pt x="5312" y="1372"/>
                </a:lnTo>
                <a:lnTo>
                  <a:pt x="5320" y="1370"/>
                </a:lnTo>
                <a:lnTo>
                  <a:pt x="5336" y="1362"/>
                </a:lnTo>
                <a:lnTo>
                  <a:pt x="5338" y="1358"/>
                </a:lnTo>
                <a:lnTo>
                  <a:pt x="5338" y="1354"/>
                </a:lnTo>
                <a:lnTo>
                  <a:pt x="5338" y="1350"/>
                </a:lnTo>
                <a:lnTo>
                  <a:pt x="5340" y="1350"/>
                </a:lnTo>
                <a:lnTo>
                  <a:pt x="5340" y="1348"/>
                </a:lnTo>
                <a:lnTo>
                  <a:pt x="5344" y="1350"/>
                </a:lnTo>
                <a:lnTo>
                  <a:pt x="5346" y="1350"/>
                </a:lnTo>
                <a:lnTo>
                  <a:pt x="5346" y="1352"/>
                </a:lnTo>
                <a:lnTo>
                  <a:pt x="5348" y="1354"/>
                </a:lnTo>
                <a:lnTo>
                  <a:pt x="5358" y="1350"/>
                </a:lnTo>
                <a:lnTo>
                  <a:pt x="5368" y="1344"/>
                </a:lnTo>
                <a:lnTo>
                  <a:pt x="5394" y="1324"/>
                </a:lnTo>
                <a:lnTo>
                  <a:pt x="5406" y="1312"/>
                </a:lnTo>
                <a:lnTo>
                  <a:pt x="5416" y="1300"/>
                </a:lnTo>
                <a:lnTo>
                  <a:pt x="5424" y="1290"/>
                </a:lnTo>
                <a:lnTo>
                  <a:pt x="5428" y="1280"/>
                </a:lnTo>
                <a:lnTo>
                  <a:pt x="5436" y="1264"/>
                </a:lnTo>
                <a:lnTo>
                  <a:pt x="5446" y="1250"/>
                </a:lnTo>
                <a:lnTo>
                  <a:pt x="5458" y="1240"/>
                </a:lnTo>
                <a:lnTo>
                  <a:pt x="5464" y="1238"/>
                </a:lnTo>
                <a:lnTo>
                  <a:pt x="5470" y="1238"/>
                </a:lnTo>
                <a:lnTo>
                  <a:pt x="5480" y="1236"/>
                </a:lnTo>
                <a:lnTo>
                  <a:pt x="5482" y="1234"/>
                </a:lnTo>
                <a:lnTo>
                  <a:pt x="5484" y="1230"/>
                </a:lnTo>
                <a:lnTo>
                  <a:pt x="5484" y="1226"/>
                </a:lnTo>
                <a:lnTo>
                  <a:pt x="5482" y="1220"/>
                </a:lnTo>
                <a:lnTo>
                  <a:pt x="5476" y="1214"/>
                </a:lnTo>
                <a:lnTo>
                  <a:pt x="5468" y="1204"/>
                </a:lnTo>
                <a:lnTo>
                  <a:pt x="5462" y="1196"/>
                </a:lnTo>
                <a:lnTo>
                  <a:pt x="5462" y="1194"/>
                </a:lnTo>
                <a:lnTo>
                  <a:pt x="5472" y="1200"/>
                </a:lnTo>
                <a:lnTo>
                  <a:pt x="5506" y="1222"/>
                </a:lnTo>
                <a:lnTo>
                  <a:pt x="5522" y="1226"/>
                </a:lnTo>
                <a:lnTo>
                  <a:pt x="5530" y="1228"/>
                </a:lnTo>
                <a:lnTo>
                  <a:pt x="5538" y="1228"/>
                </a:lnTo>
                <a:lnTo>
                  <a:pt x="5546" y="1226"/>
                </a:lnTo>
                <a:lnTo>
                  <a:pt x="5554" y="1222"/>
                </a:lnTo>
                <a:lnTo>
                  <a:pt x="5560" y="1218"/>
                </a:lnTo>
                <a:lnTo>
                  <a:pt x="5566" y="1212"/>
                </a:lnTo>
                <a:lnTo>
                  <a:pt x="5568" y="1206"/>
                </a:lnTo>
                <a:lnTo>
                  <a:pt x="5572" y="1204"/>
                </a:lnTo>
                <a:lnTo>
                  <a:pt x="5574" y="1204"/>
                </a:lnTo>
                <a:lnTo>
                  <a:pt x="5578" y="1206"/>
                </a:lnTo>
                <a:lnTo>
                  <a:pt x="5584" y="1208"/>
                </a:lnTo>
                <a:lnTo>
                  <a:pt x="5592" y="1208"/>
                </a:lnTo>
                <a:lnTo>
                  <a:pt x="5602" y="1206"/>
                </a:lnTo>
                <a:lnTo>
                  <a:pt x="5618" y="1202"/>
                </a:lnTo>
                <a:lnTo>
                  <a:pt x="5636" y="1196"/>
                </a:lnTo>
                <a:lnTo>
                  <a:pt x="5656" y="1190"/>
                </a:lnTo>
                <a:lnTo>
                  <a:pt x="5692" y="1184"/>
                </a:lnTo>
                <a:lnTo>
                  <a:pt x="5722" y="1176"/>
                </a:lnTo>
                <a:lnTo>
                  <a:pt x="5734" y="1172"/>
                </a:lnTo>
                <a:lnTo>
                  <a:pt x="5742" y="1166"/>
                </a:lnTo>
                <a:lnTo>
                  <a:pt x="5756" y="1152"/>
                </a:lnTo>
                <a:lnTo>
                  <a:pt x="5770" y="1140"/>
                </a:lnTo>
                <a:lnTo>
                  <a:pt x="5786" y="1132"/>
                </a:lnTo>
                <a:lnTo>
                  <a:pt x="5796" y="1128"/>
                </a:lnTo>
                <a:lnTo>
                  <a:pt x="5806" y="1126"/>
                </a:lnTo>
                <a:lnTo>
                  <a:pt x="5814" y="1124"/>
                </a:lnTo>
                <a:lnTo>
                  <a:pt x="5818" y="1122"/>
                </a:lnTo>
                <a:lnTo>
                  <a:pt x="5818" y="1118"/>
                </a:lnTo>
                <a:lnTo>
                  <a:pt x="5818" y="1114"/>
                </a:lnTo>
                <a:lnTo>
                  <a:pt x="5818" y="1112"/>
                </a:lnTo>
                <a:lnTo>
                  <a:pt x="5818" y="1108"/>
                </a:lnTo>
                <a:lnTo>
                  <a:pt x="5822" y="1106"/>
                </a:lnTo>
                <a:lnTo>
                  <a:pt x="5832" y="1104"/>
                </a:lnTo>
                <a:lnTo>
                  <a:pt x="5846" y="1104"/>
                </a:lnTo>
                <a:lnTo>
                  <a:pt x="5848" y="1102"/>
                </a:lnTo>
                <a:lnTo>
                  <a:pt x="5850" y="1100"/>
                </a:lnTo>
                <a:lnTo>
                  <a:pt x="5854" y="1094"/>
                </a:lnTo>
                <a:lnTo>
                  <a:pt x="5858" y="1092"/>
                </a:lnTo>
                <a:lnTo>
                  <a:pt x="5868" y="1086"/>
                </a:lnTo>
                <a:lnTo>
                  <a:pt x="5882" y="1078"/>
                </a:lnTo>
                <a:lnTo>
                  <a:pt x="5882" y="1076"/>
                </a:lnTo>
                <a:lnTo>
                  <a:pt x="5880" y="1076"/>
                </a:lnTo>
                <a:lnTo>
                  <a:pt x="5864" y="1076"/>
                </a:lnTo>
                <a:lnTo>
                  <a:pt x="5836" y="1078"/>
                </a:lnTo>
                <a:lnTo>
                  <a:pt x="5820" y="1078"/>
                </a:lnTo>
                <a:lnTo>
                  <a:pt x="5806" y="1076"/>
                </a:lnTo>
                <a:lnTo>
                  <a:pt x="5794" y="1070"/>
                </a:lnTo>
                <a:lnTo>
                  <a:pt x="5780" y="1064"/>
                </a:lnTo>
                <a:lnTo>
                  <a:pt x="5768" y="1058"/>
                </a:lnTo>
                <a:lnTo>
                  <a:pt x="5756" y="1056"/>
                </a:lnTo>
                <a:lnTo>
                  <a:pt x="5750" y="1056"/>
                </a:lnTo>
                <a:lnTo>
                  <a:pt x="5742" y="1056"/>
                </a:lnTo>
                <a:lnTo>
                  <a:pt x="5736" y="1060"/>
                </a:lnTo>
                <a:lnTo>
                  <a:pt x="5728" y="1064"/>
                </a:lnTo>
                <a:lnTo>
                  <a:pt x="5722" y="1068"/>
                </a:lnTo>
                <a:lnTo>
                  <a:pt x="5714" y="1070"/>
                </a:lnTo>
                <a:lnTo>
                  <a:pt x="5702" y="1070"/>
                </a:lnTo>
                <a:lnTo>
                  <a:pt x="5696" y="1070"/>
                </a:lnTo>
                <a:lnTo>
                  <a:pt x="5690" y="1070"/>
                </a:lnTo>
                <a:lnTo>
                  <a:pt x="5684" y="1074"/>
                </a:lnTo>
                <a:lnTo>
                  <a:pt x="5676" y="1082"/>
                </a:lnTo>
                <a:lnTo>
                  <a:pt x="5670" y="1086"/>
                </a:lnTo>
                <a:lnTo>
                  <a:pt x="5664" y="1088"/>
                </a:lnTo>
                <a:lnTo>
                  <a:pt x="5660" y="1090"/>
                </a:lnTo>
                <a:lnTo>
                  <a:pt x="5656" y="1090"/>
                </a:lnTo>
                <a:lnTo>
                  <a:pt x="5656" y="1086"/>
                </a:lnTo>
                <a:lnTo>
                  <a:pt x="5656" y="1082"/>
                </a:lnTo>
                <a:lnTo>
                  <a:pt x="5660" y="1078"/>
                </a:lnTo>
                <a:lnTo>
                  <a:pt x="5668" y="1070"/>
                </a:lnTo>
                <a:lnTo>
                  <a:pt x="5678" y="1064"/>
                </a:lnTo>
                <a:lnTo>
                  <a:pt x="5684" y="1062"/>
                </a:lnTo>
                <a:lnTo>
                  <a:pt x="5690" y="1060"/>
                </a:lnTo>
                <a:lnTo>
                  <a:pt x="5694" y="1060"/>
                </a:lnTo>
                <a:lnTo>
                  <a:pt x="5700" y="1064"/>
                </a:lnTo>
                <a:lnTo>
                  <a:pt x="5702" y="1064"/>
                </a:lnTo>
                <a:lnTo>
                  <a:pt x="5706" y="1062"/>
                </a:lnTo>
                <a:lnTo>
                  <a:pt x="5714" y="1056"/>
                </a:lnTo>
                <a:lnTo>
                  <a:pt x="5714" y="1054"/>
                </a:lnTo>
                <a:lnTo>
                  <a:pt x="5714" y="1052"/>
                </a:lnTo>
                <a:lnTo>
                  <a:pt x="5710" y="1052"/>
                </a:lnTo>
                <a:lnTo>
                  <a:pt x="5704" y="1050"/>
                </a:lnTo>
                <a:lnTo>
                  <a:pt x="5680" y="1052"/>
                </a:lnTo>
                <a:lnTo>
                  <a:pt x="5652" y="1056"/>
                </a:lnTo>
                <a:lnTo>
                  <a:pt x="5638" y="1058"/>
                </a:lnTo>
                <a:lnTo>
                  <a:pt x="5634" y="1056"/>
                </a:lnTo>
                <a:lnTo>
                  <a:pt x="5632" y="1052"/>
                </a:lnTo>
                <a:lnTo>
                  <a:pt x="5636" y="1046"/>
                </a:lnTo>
                <a:lnTo>
                  <a:pt x="5640" y="1038"/>
                </a:lnTo>
                <a:lnTo>
                  <a:pt x="5650" y="1022"/>
                </a:lnTo>
                <a:lnTo>
                  <a:pt x="5656" y="1012"/>
                </a:lnTo>
                <a:lnTo>
                  <a:pt x="5658" y="1010"/>
                </a:lnTo>
                <a:lnTo>
                  <a:pt x="5664" y="1016"/>
                </a:lnTo>
                <a:lnTo>
                  <a:pt x="5672" y="1022"/>
                </a:lnTo>
                <a:lnTo>
                  <a:pt x="5676" y="1022"/>
                </a:lnTo>
                <a:lnTo>
                  <a:pt x="5680" y="1022"/>
                </a:lnTo>
                <a:lnTo>
                  <a:pt x="5718" y="1010"/>
                </a:lnTo>
                <a:lnTo>
                  <a:pt x="5732" y="1004"/>
                </a:lnTo>
                <a:lnTo>
                  <a:pt x="5742" y="1000"/>
                </a:lnTo>
                <a:lnTo>
                  <a:pt x="5746" y="996"/>
                </a:lnTo>
                <a:lnTo>
                  <a:pt x="5746" y="990"/>
                </a:lnTo>
                <a:lnTo>
                  <a:pt x="5742" y="986"/>
                </a:lnTo>
                <a:lnTo>
                  <a:pt x="5734" y="982"/>
                </a:lnTo>
                <a:lnTo>
                  <a:pt x="5724" y="980"/>
                </a:lnTo>
                <a:lnTo>
                  <a:pt x="5710" y="976"/>
                </a:lnTo>
                <a:lnTo>
                  <a:pt x="5688" y="972"/>
                </a:lnTo>
                <a:lnTo>
                  <a:pt x="5682" y="970"/>
                </a:lnTo>
                <a:lnTo>
                  <a:pt x="5680" y="968"/>
                </a:lnTo>
                <a:lnTo>
                  <a:pt x="5680" y="966"/>
                </a:lnTo>
                <a:lnTo>
                  <a:pt x="5686" y="966"/>
                </a:lnTo>
                <a:lnTo>
                  <a:pt x="5706" y="966"/>
                </a:lnTo>
                <a:lnTo>
                  <a:pt x="5728" y="970"/>
                </a:lnTo>
                <a:lnTo>
                  <a:pt x="5742" y="974"/>
                </a:lnTo>
                <a:lnTo>
                  <a:pt x="5754" y="980"/>
                </a:lnTo>
                <a:lnTo>
                  <a:pt x="5768" y="986"/>
                </a:lnTo>
                <a:lnTo>
                  <a:pt x="5782" y="990"/>
                </a:lnTo>
                <a:lnTo>
                  <a:pt x="5790" y="996"/>
                </a:lnTo>
                <a:lnTo>
                  <a:pt x="5794" y="1006"/>
                </a:lnTo>
                <a:lnTo>
                  <a:pt x="5796" y="1022"/>
                </a:lnTo>
                <a:lnTo>
                  <a:pt x="5800" y="1030"/>
                </a:lnTo>
                <a:lnTo>
                  <a:pt x="5806" y="1038"/>
                </a:lnTo>
                <a:lnTo>
                  <a:pt x="5814" y="1044"/>
                </a:lnTo>
                <a:lnTo>
                  <a:pt x="5824" y="1048"/>
                </a:lnTo>
                <a:lnTo>
                  <a:pt x="5834" y="1052"/>
                </a:lnTo>
                <a:lnTo>
                  <a:pt x="5844" y="1054"/>
                </a:lnTo>
                <a:lnTo>
                  <a:pt x="5852" y="1054"/>
                </a:lnTo>
                <a:lnTo>
                  <a:pt x="5858" y="1052"/>
                </a:lnTo>
                <a:lnTo>
                  <a:pt x="5866" y="1048"/>
                </a:lnTo>
                <a:lnTo>
                  <a:pt x="5872" y="1048"/>
                </a:lnTo>
                <a:lnTo>
                  <a:pt x="5882" y="1052"/>
                </a:lnTo>
                <a:lnTo>
                  <a:pt x="5896" y="1054"/>
                </a:lnTo>
                <a:lnTo>
                  <a:pt x="5904" y="1054"/>
                </a:lnTo>
                <a:lnTo>
                  <a:pt x="5908" y="1048"/>
                </a:lnTo>
                <a:lnTo>
                  <a:pt x="5908" y="1042"/>
                </a:lnTo>
                <a:lnTo>
                  <a:pt x="5906" y="1032"/>
                </a:lnTo>
                <a:lnTo>
                  <a:pt x="5902" y="1008"/>
                </a:lnTo>
                <a:lnTo>
                  <a:pt x="5900" y="996"/>
                </a:lnTo>
                <a:lnTo>
                  <a:pt x="5900" y="984"/>
                </a:lnTo>
                <a:lnTo>
                  <a:pt x="5900" y="976"/>
                </a:lnTo>
                <a:lnTo>
                  <a:pt x="5898" y="974"/>
                </a:lnTo>
                <a:lnTo>
                  <a:pt x="5896" y="974"/>
                </a:lnTo>
                <a:lnTo>
                  <a:pt x="5892" y="976"/>
                </a:lnTo>
                <a:lnTo>
                  <a:pt x="5886" y="980"/>
                </a:lnTo>
                <a:lnTo>
                  <a:pt x="5880" y="984"/>
                </a:lnTo>
                <a:lnTo>
                  <a:pt x="5874" y="988"/>
                </a:lnTo>
                <a:lnTo>
                  <a:pt x="5868" y="990"/>
                </a:lnTo>
                <a:lnTo>
                  <a:pt x="5868" y="988"/>
                </a:lnTo>
                <a:lnTo>
                  <a:pt x="5866" y="984"/>
                </a:lnTo>
                <a:lnTo>
                  <a:pt x="5864" y="976"/>
                </a:lnTo>
                <a:lnTo>
                  <a:pt x="5866" y="974"/>
                </a:lnTo>
                <a:lnTo>
                  <a:pt x="5868" y="972"/>
                </a:lnTo>
                <a:lnTo>
                  <a:pt x="5876" y="970"/>
                </a:lnTo>
                <a:lnTo>
                  <a:pt x="5880" y="968"/>
                </a:lnTo>
                <a:lnTo>
                  <a:pt x="5886" y="960"/>
                </a:lnTo>
                <a:lnTo>
                  <a:pt x="5890" y="956"/>
                </a:lnTo>
                <a:lnTo>
                  <a:pt x="5892" y="954"/>
                </a:lnTo>
                <a:lnTo>
                  <a:pt x="5890" y="954"/>
                </a:lnTo>
                <a:lnTo>
                  <a:pt x="5880" y="958"/>
                </a:lnTo>
                <a:lnTo>
                  <a:pt x="5870" y="960"/>
                </a:lnTo>
                <a:lnTo>
                  <a:pt x="5866" y="960"/>
                </a:lnTo>
                <a:lnTo>
                  <a:pt x="5866" y="954"/>
                </a:lnTo>
                <a:lnTo>
                  <a:pt x="5868" y="948"/>
                </a:lnTo>
                <a:lnTo>
                  <a:pt x="5866" y="944"/>
                </a:lnTo>
                <a:lnTo>
                  <a:pt x="5862" y="940"/>
                </a:lnTo>
                <a:lnTo>
                  <a:pt x="5856" y="936"/>
                </a:lnTo>
                <a:lnTo>
                  <a:pt x="5838" y="932"/>
                </a:lnTo>
                <a:lnTo>
                  <a:pt x="5816" y="924"/>
                </a:lnTo>
                <a:lnTo>
                  <a:pt x="5796" y="918"/>
                </a:lnTo>
                <a:lnTo>
                  <a:pt x="5786" y="912"/>
                </a:lnTo>
                <a:lnTo>
                  <a:pt x="5780" y="906"/>
                </a:lnTo>
                <a:lnTo>
                  <a:pt x="5780" y="902"/>
                </a:lnTo>
                <a:lnTo>
                  <a:pt x="5780" y="900"/>
                </a:lnTo>
                <a:lnTo>
                  <a:pt x="5780" y="896"/>
                </a:lnTo>
                <a:lnTo>
                  <a:pt x="5778" y="890"/>
                </a:lnTo>
                <a:lnTo>
                  <a:pt x="5770" y="884"/>
                </a:lnTo>
                <a:lnTo>
                  <a:pt x="5762" y="880"/>
                </a:lnTo>
                <a:lnTo>
                  <a:pt x="5758" y="874"/>
                </a:lnTo>
                <a:lnTo>
                  <a:pt x="5760" y="870"/>
                </a:lnTo>
                <a:lnTo>
                  <a:pt x="5760" y="866"/>
                </a:lnTo>
                <a:lnTo>
                  <a:pt x="5758" y="862"/>
                </a:lnTo>
                <a:lnTo>
                  <a:pt x="5752" y="856"/>
                </a:lnTo>
                <a:lnTo>
                  <a:pt x="5738" y="852"/>
                </a:lnTo>
                <a:lnTo>
                  <a:pt x="5714" y="844"/>
                </a:lnTo>
                <a:lnTo>
                  <a:pt x="5724" y="846"/>
                </a:lnTo>
                <a:lnTo>
                  <a:pt x="5732" y="844"/>
                </a:lnTo>
                <a:lnTo>
                  <a:pt x="5740" y="840"/>
                </a:lnTo>
                <a:lnTo>
                  <a:pt x="5748" y="836"/>
                </a:lnTo>
                <a:lnTo>
                  <a:pt x="5764" y="828"/>
                </a:lnTo>
                <a:lnTo>
                  <a:pt x="5784" y="816"/>
                </a:lnTo>
                <a:lnTo>
                  <a:pt x="5790" y="816"/>
                </a:lnTo>
                <a:lnTo>
                  <a:pt x="5796" y="814"/>
                </a:lnTo>
                <a:lnTo>
                  <a:pt x="5810" y="818"/>
                </a:lnTo>
                <a:lnTo>
                  <a:pt x="5824" y="824"/>
                </a:lnTo>
                <a:lnTo>
                  <a:pt x="5838" y="832"/>
                </a:lnTo>
                <a:lnTo>
                  <a:pt x="5852" y="838"/>
                </a:lnTo>
                <a:lnTo>
                  <a:pt x="5866" y="842"/>
                </a:lnTo>
                <a:lnTo>
                  <a:pt x="5874" y="842"/>
                </a:lnTo>
                <a:lnTo>
                  <a:pt x="5880" y="842"/>
                </a:lnTo>
                <a:lnTo>
                  <a:pt x="5888" y="840"/>
                </a:lnTo>
                <a:lnTo>
                  <a:pt x="5894" y="836"/>
                </a:lnTo>
                <a:lnTo>
                  <a:pt x="5906" y="828"/>
                </a:lnTo>
                <a:lnTo>
                  <a:pt x="5916" y="826"/>
                </a:lnTo>
                <a:lnTo>
                  <a:pt x="5922" y="826"/>
                </a:lnTo>
                <a:lnTo>
                  <a:pt x="5928" y="828"/>
                </a:lnTo>
                <a:lnTo>
                  <a:pt x="5932" y="828"/>
                </a:lnTo>
                <a:lnTo>
                  <a:pt x="5936" y="828"/>
                </a:lnTo>
                <a:lnTo>
                  <a:pt x="5942" y="826"/>
                </a:lnTo>
                <a:lnTo>
                  <a:pt x="5948" y="818"/>
                </a:lnTo>
                <a:lnTo>
                  <a:pt x="5954" y="808"/>
                </a:lnTo>
                <a:lnTo>
                  <a:pt x="5954" y="804"/>
                </a:lnTo>
                <a:lnTo>
                  <a:pt x="5952" y="802"/>
                </a:lnTo>
                <a:lnTo>
                  <a:pt x="5948" y="796"/>
                </a:lnTo>
                <a:lnTo>
                  <a:pt x="5940" y="792"/>
                </a:lnTo>
                <a:lnTo>
                  <a:pt x="5930" y="788"/>
                </a:lnTo>
                <a:lnTo>
                  <a:pt x="5916" y="788"/>
                </a:lnTo>
                <a:lnTo>
                  <a:pt x="5890" y="786"/>
                </a:lnTo>
                <a:lnTo>
                  <a:pt x="5880" y="784"/>
                </a:lnTo>
                <a:lnTo>
                  <a:pt x="5876" y="782"/>
                </a:lnTo>
                <a:lnTo>
                  <a:pt x="5876" y="780"/>
                </a:lnTo>
                <a:lnTo>
                  <a:pt x="5876" y="774"/>
                </a:lnTo>
                <a:lnTo>
                  <a:pt x="5882" y="768"/>
                </a:lnTo>
                <a:lnTo>
                  <a:pt x="5890" y="762"/>
                </a:lnTo>
                <a:lnTo>
                  <a:pt x="5902" y="756"/>
                </a:lnTo>
                <a:lnTo>
                  <a:pt x="5914" y="752"/>
                </a:lnTo>
                <a:lnTo>
                  <a:pt x="5928" y="752"/>
                </a:lnTo>
                <a:lnTo>
                  <a:pt x="5940" y="754"/>
                </a:lnTo>
                <a:lnTo>
                  <a:pt x="5948" y="756"/>
                </a:lnTo>
                <a:lnTo>
                  <a:pt x="5958" y="764"/>
                </a:lnTo>
                <a:lnTo>
                  <a:pt x="5964" y="768"/>
                </a:lnTo>
                <a:lnTo>
                  <a:pt x="5970" y="768"/>
                </a:lnTo>
                <a:lnTo>
                  <a:pt x="5978" y="768"/>
                </a:lnTo>
                <a:lnTo>
                  <a:pt x="5990" y="764"/>
                </a:lnTo>
                <a:lnTo>
                  <a:pt x="5998" y="760"/>
                </a:lnTo>
                <a:lnTo>
                  <a:pt x="6002" y="756"/>
                </a:lnTo>
                <a:lnTo>
                  <a:pt x="6002" y="752"/>
                </a:lnTo>
                <a:lnTo>
                  <a:pt x="5998" y="748"/>
                </a:lnTo>
                <a:lnTo>
                  <a:pt x="5992" y="744"/>
                </a:lnTo>
                <a:lnTo>
                  <a:pt x="5982" y="742"/>
                </a:lnTo>
                <a:lnTo>
                  <a:pt x="5970" y="740"/>
                </a:lnTo>
                <a:lnTo>
                  <a:pt x="5956" y="738"/>
                </a:lnTo>
                <a:lnTo>
                  <a:pt x="5948" y="736"/>
                </a:lnTo>
                <a:lnTo>
                  <a:pt x="5944" y="734"/>
                </a:lnTo>
                <a:lnTo>
                  <a:pt x="5940" y="732"/>
                </a:lnTo>
                <a:lnTo>
                  <a:pt x="5938" y="728"/>
                </a:lnTo>
                <a:lnTo>
                  <a:pt x="5936" y="718"/>
                </a:lnTo>
                <a:lnTo>
                  <a:pt x="5940" y="708"/>
                </a:lnTo>
                <a:lnTo>
                  <a:pt x="5944" y="700"/>
                </a:lnTo>
                <a:lnTo>
                  <a:pt x="5950" y="692"/>
                </a:lnTo>
                <a:lnTo>
                  <a:pt x="5954" y="692"/>
                </a:lnTo>
                <a:lnTo>
                  <a:pt x="5958" y="690"/>
                </a:lnTo>
                <a:lnTo>
                  <a:pt x="5960" y="692"/>
                </a:lnTo>
                <a:lnTo>
                  <a:pt x="5964" y="694"/>
                </a:lnTo>
                <a:lnTo>
                  <a:pt x="5970" y="700"/>
                </a:lnTo>
                <a:lnTo>
                  <a:pt x="5976" y="702"/>
                </a:lnTo>
                <a:lnTo>
                  <a:pt x="5984" y="702"/>
                </a:lnTo>
                <a:lnTo>
                  <a:pt x="5990" y="698"/>
                </a:lnTo>
                <a:lnTo>
                  <a:pt x="5996" y="692"/>
                </a:lnTo>
                <a:lnTo>
                  <a:pt x="5998" y="686"/>
                </a:lnTo>
                <a:lnTo>
                  <a:pt x="5996" y="678"/>
                </a:lnTo>
                <a:lnTo>
                  <a:pt x="5992" y="668"/>
                </a:lnTo>
                <a:lnTo>
                  <a:pt x="5988" y="662"/>
                </a:lnTo>
                <a:lnTo>
                  <a:pt x="5986" y="658"/>
                </a:lnTo>
                <a:lnTo>
                  <a:pt x="5990" y="656"/>
                </a:lnTo>
                <a:lnTo>
                  <a:pt x="5994" y="656"/>
                </a:lnTo>
                <a:lnTo>
                  <a:pt x="5996" y="654"/>
                </a:lnTo>
                <a:lnTo>
                  <a:pt x="5980" y="646"/>
                </a:lnTo>
                <a:lnTo>
                  <a:pt x="5968" y="640"/>
                </a:lnTo>
                <a:lnTo>
                  <a:pt x="5964" y="636"/>
                </a:lnTo>
                <a:lnTo>
                  <a:pt x="5964" y="632"/>
                </a:lnTo>
                <a:lnTo>
                  <a:pt x="5968" y="632"/>
                </a:lnTo>
                <a:lnTo>
                  <a:pt x="5976" y="628"/>
                </a:lnTo>
                <a:lnTo>
                  <a:pt x="5980" y="624"/>
                </a:lnTo>
                <a:lnTo>
                  <a:pt x="5978" y="618"/>
                </a:lnTo>
                <a:lnTo>
                  <a:pt x="5976" y="616"/>
                </a:lnTo>
                <a:lnTo>
                  <a:pt x="5972" y="614"/>
                </a:lnTo>
                <a:lnTo>
                  <a:pt x="5962" y="612"/>
                </a:lnTo>
                <a:lnTo>
                  <a:pt x="5934" y="612"/>
                </a:lnTo>
                <a:lnTo>
                  <a:pt x="5922" y="612"/>
                </a:lnTo>
                <a:lnTo>
                  <a:pt x="5910" y="610"/>
                </a:lnTo>
                <a:lnTo>
                  <a:pt x="5902" y="608"/>
                </a:lnTo>
                <a:lnTo>
                  <a:pt x="5900" y="604"/>
                </a:lnTo>
                <a:lnTo>
                  <a:pt x="5898" y="600"/>
                </a:lnTo>
                <a:lnTo>
                  <a:pt x="5898" y="596"/>
                </a:lnTo>
                <a:lnTo>
                  <a:pt x="5898" y="594"/>
                </a:lnTo>
                <a:lnTo>
                  <a:pt x="5892" y="588"/>
                </a:lnTo>
                <a:lnTo>
                  <a:pt x="5884" y="584"/>
                </a:lnTo>
                <a:lnTo>
                  <a:pt x="5876" y="582"/>
                </a:lnTo>
                <a:lnTo>
                  <a:pt x="5868" y="580"/>
                </a:lnTo>
                <a:lnTo>
                  <a:pt x="5864" y="576"/>
                </a:lnTo>
                <a:lnTo>
                  <a:pt x="5864" y="574"/>
                </a:lnTo>
                <a:lnTo>
                  <a:pt x="5864" y="572"/>
                </a:lnTo>
                <a:lnTo>
                  <a:pt x="5868" y="568"/>
                </a:lnTo>
                <a:lnTo>
                  <a:pt x="5876" y="564"/>
                </a:lnTo>
                <a:lnTo>
                  <a:pt x="5882" y="566"/>
                </a:lnTo>
                <a:lnTo>
                  <a:pt x="5886" y="570"/>
                </a:lnTo>
                <a:lnTo>
                  <a:pt x="5890" y="574"/>
                </a:lnTo>
                <a:lnTo>
                  <a:pt x="5894" y="578"/>
                </a:lnTo>
                <a:lnTo>
                  <a:pt x="5900" y="580"/>
                </a:lnTo>
                <a:lnTo>
                  <a:pt x="5908" y="580"/>
                </a:lnTo>
                <a:lnTo>
                  <a:pt x="5918" y="572"/>
                </a:lnTo>
                <a:lnTo>
                  <a:pt x="5930" y="566"/>
                </a:lnTo>
                <a:lnTo>
                  <a:pt x="5944" y="560"/>
                </a:lnTo>
                <a:lnTo>
                  <a:pt x="5956" y="558"/>
                </a:lnTo>
                <a:lnTo>
                  <a:pt x="5968" y="558"/>
                </a:lnTo>
                <a:lnTo>
                  <a:pt x="5980" y="560"/>
                </a:lnTo>
                <a:lnTo>
                  <a:pt x="5992" y="564"/>
                </a:lnTo>
                <a:lnTo>
                  <a:pt x="6014" y="572"/>
                </a:lnTo>
                <a:lnTo>
                  <a:pt x="6024" y="576"/>
                </a:lnTo>
                <a:lnTo>
                  <a:pt x="6032" y="574"/>
                </a:lnTo>
                <a:lnTo>
                  <a:pt x="6038" y="570"/>
                </a:lnTo>
                <a:lnTo>
                  <a:pt x="6042" y="562"/>
                </a:lnTo>
                <a:lnTo>
                  <a:pt x="6044" y="554"/>
                </a:lnTo>
                <a:lnTo>
                  <a:pt x="6044" y="546"/>
                </a:lnTo>
                <a:lnTo>
                  <a:pt x="6038" y="536"/>
                </a:lnTo>
                <a:lnTo>
                  <a:pt x="6032" y="528"/>
                </a:lnTo>
                <a:lnTo>
                  <a:pt x="6022" y="522"/>
                </a:lnTo>
                <a:lnTo>
                  <a:pt x="6018" y="522"/>
                </a:lnTo>
                <a:lnTo>
                  <a:pt x="6012" y="524"/>
                </a:lnTo>
                <a:lnTo>
                  <a:pt x="6008" y="528"/>
                </a:lnTo>
                <a:lnTo>
                  <a:pt x="6002" y="532"/>
                </a:lnTo>
                <a:lnTo>
                  <a:pt x="5994" y="532"/>
                </a:lnTo>
                <a:lnTo>
                  <a:pt x="5984" y="530"/>
                </a:lnTo>
                <a:lnTo>
                  <a:pt x="5968" y="522"/>
                </a:lnTo>
                <a:lnTo>
                  <a:pt x="5942" y="506"/>
                </a:lnTo>
                <a:lnTo>
                  <a:pt x="5938" y="500"/>
                </a:lnTo>
                <a:lnTo>
                  <a:pt x="5938" y="498"/>
                </a:lnTo>
                <a:lnTo>
                  <a:pt x="5944" y="496"/>
                </a:lnTo>
                <a:lnTo>
                  <a:pt x="5952" y="498"/>
                </a:lnTo>
                <a:lnTo>
                  <a:pt x="5982" y="504"/>
                </a:lnTo>
                <a:lnTo>
                  <a:pt x="6006" y="508"/>
                </a:lnTo>
                <a:lnTo>
                  <a:pt x="6010" y="506"/>
                </a:lnTo>
                <a:lnTo>
                  <a:pt x="6010" y="504"/>
                </a:lnTo>
                <a:lnTo>
                  <a:pt x="6004" y="500"/>
                </a:lnTo>
                <a:lnTo>
                  <a:pt x="5992" y="496"/>
                </a:lnTo>
                <a:lnTo>
                  <a:pt x="5956" y="480"/>
                </a:lnTo>
                <a:lnTo>
                  <a:pt x="5936" y="474"/>
                </a:lnTo>
                <a:lnTo>
                  <a:pt x="5922" y="472"/>
                </a:lnTo>
                <a:lnTo>
                  <a:pt x="5914" y="476"/>
                </a:lnTo>
                <a:lnTo>
                  <a:pt x="5910" y="480"/>
                </a:lnTo>
                <a:lnTo>
                  <a:pt x="5906" y="494"/>
                </a:lnTo>
                <a:lnTo>
                  <a:pt x="5902" y="500"/>
                </a:lnTo>
                <a:lnTo>
                  <a:pt x="5896" y="502"/>
                </a:lnTo>
                <a:lnTo>
                  <a:pt x="5892" y="502"/>
                </a:lnTo>
                <a:lnTo>
                  <a:pt x="5890" y="502"/>
                </a:lnTo>
                <a:lnTo>
                  <a:pt x="5888" y="500"/>
                </a:lnTo>
                <a:lnTo>
                  <a:pt x="5888" y="496"/>
                </a:lnTo>
                <a:lnTo>
                  <a:pt x="5890" y="488"/>
                </a:lnTo>
                <a:lnTo>
                  <a:pt x="5896" y="478"/>
                </a:lnTo>
                <a:lnTo>
                  <a:pt x="5910" y="452"/>
                </a:lnTo>
                <a:lnTo>
                  <a:pt x="5916" y="438"/>
                </a:lnTo>
                <a:lnTo>
                  <a:pt x="5922" y="424"/>
                </a:lnTo>
                <a:lnTo>
                  <a:pt x="5926" y="414"/>
                </a:lnTo>
                <a:lnTo>
                  <a:pt x="5934" y="406"/>
                </a:lnTo>
                <a:lnTo>
                  <a:pt x="5940" y="404"/>
                </a:lnTo>
                <a:lnTo>
                  <a:pt x="5948" y="402"/>
                </a:lnTo>
                <a:lnTo>
                  <a:pt x="5960" y="404"/>
                </a:lnTo>
                <a:lnTo>
                  <a:pt x="5966" y="402"/>
                </a:lnTo>
                <a:lnTo>
                  <a:pt x="5970" y="400"/>
                </a:lnTo>
                <a:lnTo>
                  <a:pt x="5982" y="392"/>
                </a:lnTo>
                <a:lnTo>
                  <a:pt x="5996" y="380"/>
                </a:lnTo>
                <a:lnTo>
                  <a:pt x="6002" y="376"/>
                </a:lnTo>
                <a:lnTo>
                  <a:pt x="6004" y="370"/>
                </a:lnTo>
                <a:lnTo>
                  <a:pt x="6004" y="368"/>
                </a:lnTo>
                <a:lnTo>
                  <a:pt x="5996" y="364"/>
                </a:lnTo>
                <a:lnTo>
                  <a:pt x="5988" y="362"/>
                </a:lnTo>
                <a:lnTo>
                  <a:pt x="5984" y="358"/>
                </a:lnTo>
                <a:lnTo>
                  <a:pt x="5980" y="354"/>
                </a:lnTo>
                <a:lnTo>
                  <a:pt x="5980" y="348"/>
                </a:lnTo>
                <a:lnTo>
                  <a:pt x="5982" y="342"/>
                </a:lnTo>
                <a:lnTo>
                  <a:pt x="5986" y="338"/>
                </a:lnTo>
                <a:lnTo>
                  <a:pt x="5994" y="336"/>
                </a:lnTo>
                <a:lnTo>
                  <a:pt x="6006" y="334"/>
                </a:lnTo>
                <a:lnTo>
                  <a:pt x="6026" y="332"/>
                </a:lnTo>
                <a:lnTo>
                  <a:pt x="6040" y="328"/>
                </a:lnTo>
                <a:lnTo>
                  <a:pt x="6052" y="322"/>
                </a:lnTo>
                <a:lnTo>
                  <a:pt x="6064" y="310"/>
                </a:lnTo>
                <a:lnTo>
                  <a:pt x="6066" y="306"/>
                </a:lnTo>
                <a:lnTo>
                  <a:pt x="6066" y="304"/>
                </a:lnTo>
                <a:lnTo>
                  <a:pt x="6066" y="302"/>
                </a:lnTo>
                <a:lnTo>
                  <a:pt x="6062" y="300"/>
                </a:lnTo>
                <a:lnTo>
                  <a:pt x="6052" y="298"/>
                </a:lnTo>
                <a:lnTo>
                  <a:pt x="6036" y="300"/>
                </a:lnTo>
                <a:lnTo>
                  <a:pt x="5998" y="306"/>
                </a:lnTo>
                <a:lnTo>
                  <a:pt x="5980" y="312"/>
                </a:lnTo>
                <a:lnTo>
                  <a:pt x="5962" y="318"/>
                </a:lnTo>
                <a:lnTo>
                  <a:pt x="5948" y="320"/>
                </a:lnTo>
                <a:lnTo>
                  <a:pt x="5946" y="320"/>
                </a:lnTo>
                <a:lnTo>
                  <a:pt x="5944" y="318"/>
                </a:lnTo>
                <a:lnTo>
                  <a:pt x="5944" y="316"/>
                </a:lnTo>
                <a:lnTo>
                  <a:pt x="5944" y="312"/>
                </a:lnTo>
                <a:lnTo>
                  <a:pt x="5950" y="306"/>
                </a:lnTo>
                <a:lnTo>
                  <a:pt x="5960" y="298"/>
                </a:lnTo>
                <a:lnTo>
                  <a:pt x="5974" y="290"/>
                </a:lnTo>
                <a:lnTo>
                  <a:pt x="5988" y="286"/>
                </a:lnTo>
                <a:lnTo>
                  <a:pt x="5996" y="286"/>
                </a:lnTo>
                <a:lnTo>
                  <a:pt x="6004" y="288"/>
                </a:lnTo>
                <a:lnTo>
                  <a:pt x="6018" y="290"/>
                </a:lnTo>
                <a:lnTo>
                  <a:pt x="6034" y="292"/>
                </a:lnTo>
                <a:lnTo>
                  <a:pt x="6050" y="292"/>
                </a:lnTo>
                <a:lnTo>
                  <a:pt x="6064" y="290"/>
                </a:lnTo>
                <a:lnTo>
                  <a:pt x="6092" y="284"/>
                </a:lnTo>
                <a:lnTo>
                  <a:pt x="6116" y="274"/>
                </a:lnTo>
                <a:lnTo>
                  <a:pt x="6122" y="270"/>
                </a:lnTo>
                <a:lnTo>
                  <a:pt x="6122" y="268"/>
                </a:lnTo>
                <a:lnTo>
                  <a:pt x="6122" y="266"/>
                </a:lnTo>
                <a:lnTo>
                  <a:pt x="6116" y="264"/>
                </a:lnTo>
                <a:lnTo>
                  <a:pt x="6106" y="262"/>
                </a:lnTo>
                <a:lnTo>
                  <a:pt x="6082" y="260"/>
                </a:lnTo>
                <a:lnTo>
                  <a:pt x="6068" y="260"/>
                </a:lnTo>
                <a:lnTo>
                  <a:pt x="6056" y="262"/>
                </a:lnTo>
                <a:lnTo>
                  <a:pt x="6042" y="262"/>
                </a:lnTo>
                <a:lnTo>
                  <a:pt x="6026" y="262"/>
                </a:lnTo>
                <a:lnTo>
                  <a:pt x="5990" y="260"/>
                </a:lnTo>
                <a:lnTo>
                  <a:pt x="5970" y="258"/>
                </a:lnTo>
                <a:lnTo>
                  <a:pt x="5988" y="258"/>
                </a:lnTo>
                <a:lnTo>
                  <a:pt x="6004" y="258"/>
                </a:lnTo>
                <a:lnTo>
                  <a:pt x="6018" y="258"/>
                </a:lnTo>
                <a:lnTo>
                  <a:pt x="6028" y="254"/>
                </a:lnTo>
                <a:lnTo>
                  <a:pt x="6036" y="252"/>
                </a:lnTo>
                <a:lnTo>
                  <a:pt x="6050" y="246"/>
                </a:lnTo>
                <a:lnTo>
                  <a:pt x="6058" y="246"/>
                </a:lnTo>
                <a:lnTo>
                  <a:pt x="6068" y="248"/>
                </a:lnTo>
                <a:lnTo>
                  <a:pt x="6080" y="248"/>
                </a:lnTo>
                <a:lnTo>
                  <a:pt x="6090" y="250"/>
                </a:lnTo>
                <a:lnTo>
                  <a:pt x="6112" y="248"/>
                </a:lnTo>
                <a:lnTo>
                  <a:pt x="6136" y="244"/>
                </a:lnTo>
                <a:lnTo>
                  <a:pt x="6166" y="242"/>
                </a:lnTo>
                <a:lnTo>
                  <a:pt x="6178" y="240"/>
                </a:lnTo>
                <a:lnTo>
                  <a:pt x="6180" y="238"/>
                </a:lnTo>
                <a:lnTo>
                  <a:pt x="6180" y="236"/>
                </a:lnTo>
                <a:lnTo>
                  <a:pt x="6178" y="232"/>
                </a:lnTo>
                <a:lnTo>
                  <a:pt x="6172" y="228"/>
                </a:lnTo>
                <a:lnTo>
                  <a:pt x="6166" y="224"/>
                </a:lnTo>
                <a:lnTo>
                  <a:pt x="6166" y="220"/>
                </a:lnTo>
                <a:lnTo>
                  <a:pt x="6166" y="218"/>
                </a:lnTo>
                <a:lnTo>
                  <a:pt x="6170" y="218"/>
                </a:lnTo>
                <a:lnTo>
                  <a:pt x="6184" y="216"/>
                </a:lnTo>
                <a:lnTo>
                  <a:pt x="6196" y="216"/>
                </a:lnTo>
                <a:lnTo>
                  <a:pt x="6208" y="214"/>
                </a:lnTo>
                <a:lnTo>
                  <a:pt x="6218" y="210"/>
                </a:lnTo>
                <a:lnTo>
                  <a:pt x="6228" y="206"/>
                </a:lnTo>
                <a:lnTo>
                  <a:pt x="6248" y="194"/>
                </a:lnTo>
                <a:lnTo>
                  <a:pt x="6272" y="182"/>
                </a:lnTo>
                <a:lnTo>
                  <a:pt x="6278" y="180"/>
                </a:lnTo>
                <a:lnTo>
                  <a:pt x="6278" y="176"/>
                </a:lnTo>
                <a:lnTo>
                  <a:pt x="6276" y="172"/>
                </a:lnTo>
                <a:lnTo>
                  <a:pt x="6270" y="170"/>
                </a:lnTo>
                <a:lnTo>
                  <a:pt x="6250" y="164"/>
                </a:lnTo>
                <a:lnTo>
                  <a:pt x="6224" y="158"/>
                </a:lnTo>
                <a:lnTo>
                  <a:pt x="6192" y="154"/>
                </a:lnTo>
                <a:lnTo>
                  <a:pt x="6160" y="150"/>
                </a:lnTo>
                <a:lnTo>
                  <a:pt x="6128" y="148"/>
                </a:lnTo>
                <a:lnTo>
                  <a:pt x="6100" y="148"/>
                </a:lnTo>
                <a:lnTo>
                  <a:pt x="6080" y="152"/>
                </a:lnTo>
                <a:lnTo>
                  <a:pt x="6066" y="156"/>
                </a:lnTo>
                <a:lnTo>
                  <a:pt x="6056" y="164"/>
                </a:lnTo>
                <a:lnTo>
                  <a:pt x="6050" y="172"/>
                </a:lnTo>
                <a:lnTo>
                  <a:pt x="6046" y="178"/>
                </a:lnTo>
                <a:lnTo>
                  <a:pt x="6040" y="184"/>
                </a:lnTo>
                <a:lnTo>
                  <a:pt x="6034" y="186"/>
                </a:lnTo>
                <a:lnTo>
                  <a:pt x="6024" y="186"/>
                </a:lnTo>
                <a:lnTo>
                  <a:pt x="6012" y="182"/>
                </a:lnTo>
                <a:lnTo>
                  <a:pt x="6000" y="182"/>
                </a:lnTo>
                <a:lnTo>
                  <a:pt x="5976" y="182"/>
                </a:lnTo>
                <a:lnTo>
                  <a:pt x="5964" y="182"/>
                </a:lnTo>
                <a:lnTo>
                  <a:pt x="5962" y="182"/>
                </a:lnTo>
                <a:lnTo>
                  <a:pt x="5962" y="180"/>
                </a:lnTo>
                <a:lnTo>
                  <a:pt x="5966" y="176"/>
                </a:lnTo>
                <a:lnTo>
                  <a:pt x="5970" y="172"/>
                </a:lnTo>
                <a:lnTo>
                  <a:pt x="5970" y="170"/>
                </a:lnTo>
                <a:lnTo>
                  <a:pt x="5966" y="170"/>
                </a:lnTo>
                <a:lnTo>
                  <a:pt x="5956" y="172"/>
                </a:lnTo>
                <a:lnTo>
                  <a:pt x="5944" y="176"/>
                </a:lnTo>
                <a:lnTo>
                  <a:pt x="5928" y="184"/>
                </a:lnTo>
                <a:lnTo>
                  <a:pt x="5910" y="194"/>
                </a:lnTo>
                <a:lnTo>
                  <a:pt x="5888" y="210"/>
                </a:lnTo>
                <a:lnTo>
                  <a:pt x="5866" y="224"/>
                </a:lnTo>
                <a:lnTo>
                  <a:pt x="5846" y="234"/>
                </a:lnTo>
                <a:lnTo>
                  <a:pt x="5832" y="240"/>
                </a:lnTo>
                <a:lnTo>
                  <a:pt x="5822" y="244"/>
                </a:lnTo>
                <a:lnTo>
                  <a:pt x="5820" y="244"/>
                </a:lnTo>
                <a:lnTo>
                  <a:pt x="5818" y="242"/>
                </a:lnTo>
                <a:lnTo>
                  <a:pt x="5820" y="238"/>
                </a:lnTo>
                <a:lnTo>
                  <a:pt x="5828" y="228"/>
                </a:lnTo>
                <a:lnTo>
                  <a:pt x="5844" y="216"/>
                </a:lnTo>
                <a:lnTo>
                  <a:pt x="5862" y="200"/>
                </a:lnTo>
                <a:lnTo>
                  <a:pt x="5876" y="186"/>
                </a:lnTo>
                <a:lnTo>
                  <a:pt x="5886" y="172"/>
                </a:lnTo>
                <a:lnTo>
                  <a:pt x="5888" y="166"/>
                </a:lnTo>
                <a:lnTo>
                  <a:pt x="5890" y="160"/>
                </a:lnTo>
                <a:lnTo>
                  <a:pt x="5890" y="154"/>
                </a:lnTo>
                <a:lnTo>
                  <a:pt x="5888" y="150"/>
                </a:lnTo>
                <a:lnTo>
                  <a:pt x="5884" y="146"/>
                </a:lnTo>
                <a:lnTo>
                  <a:pt x="5878" y="142"/>
                </a:lnTo>
                <a:lnTo>
                  <a:pt x="5872" y="140"/>
                </a:lnTo>
                <a:lnTo>
                  <a:pt x="5864" y="138"/>
                </a:lnTo>
                <a:lnTo>
                  <a:pt x="5842" y="136"/>
                </a:lnTo>
                <a:lnTo>
                  <a:pt x="5820" y="138"/>
                </a:lnTo>
                <a:lnTo>
                  <a:pt x="5808" y="142"/>
                </a:lnTo>
                <a:lnTo>
                  <a:pt x="5802" y="146"/>
                </a:lnTo>
                <a:lnTo>
                  <a:pt x="5798" y="150"/>
                </a:lnTo>
                <a:lnTo>
                  <a:pt x="5798" y="156"/>
                </a:lnTo>
                <a:lnTo>
                  <a:pt x="5794" y="162"/>
                </a:lnTo>
                <a:lnTo>
                  <a:pt x="5788" y="166"/>
                </a:lnTo>
                <a:lnTo>
                  <a:pt x="5776" y="172"/>
                </a:lnTo>
                <a:lnTo>
                  <a:pt x="5746" y="178"/>
                </a:lnTo>
                <a:lnTo>
                  <a:pt x="5722" y="182"/>
                </a:lnTo>
                <a:lnTo>
                  <a:pt x="5714" y="180"/>
                </a:lnTo>
                <a:lnTo>
                  <a:pt x="5712" y="180"/>
                </a:lnTo>
                <a:lnTo>
                  <a:pt x="5716" y="176"/>
                </a:lnTo>
                <a:lnTo>
                  <a:pt x="5728" y="170"/>
                </a:lnTo>
                <a:lnTo>
                  <a:pt x="5752" y="160"/>
                </a:lnTo>
                <a:lnTo>
                  <a:pt x="5760" y="154"/>
                </a:lnTo>
                <a:lnTo>
                  <a:pt x="5760" y="152"/>
                </a:lnTo>
                <a:lnTo>
                  <a:pt x="5762" y="150"/>
                </a:lnTo>
                <a:lnTo>
                  <a:pt x="5760" y="148"/>
                </a:lnTo>
                <a:lnTo>
                  <a:pt x="5756" y="146"/>
                </a:lnTo>
                <a:lnTo>
                  <a:pt x="5744" y="144"/>
                </a:lnTo>
                <a:lnTo>
                  <a:pt x="5722" y="142"/>
                </a:lnTo>
                <a:lnTo>
                  <a:pt x="5688" y="140"/>
                </a:lnTo>
                <a:lnTo>
                  <a:pt x="5648" y="140"/>
                </a:lnTo>
                <a:lnTo>
                  <a:pt x="5606" y="144"/>
                </a:lnTo>
                <a:lnTo>
                  <a:pt x="5566" y="152"/>
                </a:lnTo>
                <a:lnTo>
                  <a:pt x="5530" y="158"/>
                </a:lnTo>
                <a:lnTo>
                  <a:pt x="5472" y="170"/>
                </a:lnTo>
                <a:lnTo>
                  <a:pt x="5454" y="174"/>
                </a:lnTo>
                <a:lnTo>
                  <a:pt x="5448" y="174"/>
                </a:lnTo>
                <a:lnTo>
                  <a:pt x="5444" y="174"/>
                </a:lnTo>
                <a:lnTo>
                  <a:pt x="5440" y="170"/>
                </a:lnTo>
                <a:lnTo>
                  <a:pt x="5438" y="168"/>
                </a:lnTo>
                <a:lnTo>
                  <a:pt x="5440" y="164"/>
                </a:lnTo>
                <a:lnTo>
                  <a:pt x="5442" y="162"/>
                </a:lnTo>
                <a:lnTo>
                  <a:pt x="5454" y="156"/>
                </a:lnTo>
                <a:lnTo>
                  <a:pt x="5472" y="150"/>
                </a:lnTo>
                <a:lnTo>
                  <a:pt x="5522" y="142"/>
                </a:lnTo>
                <a:lnTo>
                  <a:pt x="5580" y="134"/>
                </a:lnTo>
                <a:lnTo>
                  <a:pt x="5608" y="130"/>
                </a:lnTo>
                <a:lnTo>
                  <a:pt x="5638" y="128"/>
                </a:lnTo>
                <a:lnTo>
                  <a:pt x="5700" y="130"/>
                </a:lnTo>
                <a:lnTo>
                  <a:pt x="5762" y="128"/>
                </a:lnTo>
                <a:lnTo>
                  <a:pt x="5792" y="126"/>
                </a:lnTo>
                <a:lnTo>
                  <a:pt x="5820" y="122"/>
                </a:lnTo>
                <a:lnTo>
                  <a:pt x="5856" y="114"/>
                </a:lnTo>
                <a:lnTo>
                  <a:pt x="5890" y="102"/>
                </a:lnTo>
                <a:lnTo>
                  <a:pt x="5902" y="96"/>
                </a:lnTo>
                <a:lnTo>
                  <a:pt x="5908" y="92"/>
                </a:lnTo>
                <a:lnTo>
                  <a:pt x="5908" y="90"/>
                </a:lnTo>
                <a:lnTo>
                  <a:pt x="5906" y="88"/>
                </a:lnTo>
                <a:lnTo>
                  <a:pt x="5898" y="84"/>
                </a:lnTo>
                <a:lnTo>
                  <a:pt x="5870" y="78"/>
                </a:lnTo>
                <a:lnTo>
                  <a:pt x="5840" y="70"/>
                </a:lnTo>
                <a:lnTo>
                  <a:pt x="5824" y="68"/>
                </a:lnTo>
                <a:lnTo>
                  <a:pt x="5806" y="68"/>
                </a:lnTo>
                <a:lnTo>
                  <a:pt x="5788" y="68"/>
                </a:lnTo>
                <a:lnTo>
                  <a:pt x="5770" y="72"/>
                </a:lnTo>
                <a:lnTo>
                  <a:pt x="5750" y="74"/>
                </a:lnTo>
                <a:lnTo>
                  <a:pt x="5752" y="72"/>
                </a:lnTo>
                <a:lnTo>
                  <a:pt x="5758" y="68"/>
                </a:lnTo>
                <a:lnTo>
                  <a:pt x="5766" y="64"/>
                </a:lnTo>
                <a:lnTo>
                  <a:pt x="5772" y="58"/>
                </a:lnTo>
                <a:lnTo>
                  <a:pt x="5774" y="54"/>
                </a:lnTo>
                <a:lnTo>
                  <a:pt x="5774" y="52"/>
                </a:lnTo>
                <a:lnTo>
                  <a:pt x="5772" y="48"/>
                </a:lnTo>
                <a:lnTo>
                  <a:pt x="5768" y="46"/>
                </a:lnTo>
                <a:lnTo>
                  <a:pt x="5758" y="42"/>
                </a:lnTo>
                <a:lnTo>
                  <a:pt x="5748" y="40"/>
                </a:lnTo>
                <a:lnTo>
                  <a:pt x="5736" y="42"/>
                </a:lnTo>
                <a:lnTo>
                  <a:pt x="5720" y="44"/>
                </a:lnTo>
                <a:lnTo>
                  <a:pt x="5704" y="48"/>
                </a:lnTo>
                <a:lnTo>
                  <a:pt x="5682" y="50"/>
                </a:lnTo>
                <a:lnTo>
                  <a:pt x="5658" y="50"/>
                </a:lnTo>
                <a:lnTo>
                  <a:pt x="5630" y="50"/>
                </a:lnTo>
                <a:lnTo>
                  <a:pt x="5602" y="48"/>
                </a:lnTo>
                <a:lnTo>
                  <a:pt x="5580" y="48"/>
                </a:lnTo>
                <a:lnTo>
                  <a:pt x="5560" y="50"/>
                </a:lnTo>
                <a:lnTo>
                  <a:pt x="5544" y="54"/>
                </a:lnTo>
                <a:lnTo>
                  <a:pt x="5514" y="60"/>
                </a:lnTo>
                <a:lnTo>
                  <a:pt x="5496" y="60"/>
                </a:lnTo>
                <a:lnTo>
                  <a:pt x="5476" y="60"/>
                </a:lnTo>
                <a:lnTo>
                  <a:pt x="5458" y="58"/>
                </a:lnTo>
                <a:lnTo>
                  <a:pt x="5452" y="56"/>
                </a:lnTo>
                <a:lnTo>
                  <a:pt x="5454" y="54"/>
                </a:lnTo>
                <a:lnTo>
                  <a:pt x="5464" y="52"/>
                </a:lnTo>
                <a:lnTo>
                  <a:pt x="5528" y="46"/>
                </a:lnTo>
                <a:lnTo>
                  <a:pt x="5572" y="44"/>
                </a:lnTo>
                <a:lnTo>
                  <a:pt x="5630" y="40"/>
                </a:lnTo>
                <a:lnTo>
                  <a:pt x="5690" y="38"/>
                </a:lnTo>
                <a:lnTo>
                  <a:pt x="5732" y="34"/>
                </a:lnTo>
                <a:lnTo>
                  <a:pt x="5736" y="32"/>
                </a:lnTo>
                <a:lnTo>
                  <a:pt x="5738" y="30"/>
                </a:lnTo>
                <a:lnTo>
                  <a:pt x="5738" y="28"/>
                </a:lnTo>
                <a:lnTo>
                  <a:pt x="5734" y="28"/>
                </a:lnTo>
                <a:lnTo>
                  <a:pt x="5718" y="24"/>
                </a:lnTo>
                <a:lnTo>
                  <a:pt x="5694" y="20"/>
                </a:lnTo>
                <a:lnTo>
                  <a:pt x="5634" y="12"/>
                </a:lnTo>
                <a:lnTo>
                  <a:pt x="5568" y="6"/>
                </a:lnTo>
                <a:lnTo>
                  <a:pt x="5522" y="2"/>
                </a:lnTo>
                <a:lnTo>
                  <a:pt x="5484" y="0"/>
                </a:lnTo>
                <a:lnTo>
                  <a:pt x="5454" y="0"/>
                </a:lnTo>
                <a:lnTo>
                  <a:pt x="5430" y="2"/>
                </a:lnTo>
                <a:lnTo>
                  <a:pt x="5388" y="6"/>
                </a:lnTo>
                <a:lnTo>
                  <a:pt x="5366" y="6"/>
                </a:lnTo>
                <a:lnTo>
                  <a:pt x="5340" y="6"/>
                </a:lnTo>
                <a:lnTo>
                  <a:pt x="5316" y="6"/>
                </a:lnTo>
                <a:lnTo>
                  <a:pt x="5304" y="8"/>
                </a:lnTo>
                <a:lnTo>
                  <a:pt x="5298" y="10"/>
                </a:lnTo>
                <a:lnTo>
                  <a:pt x="5294" y="14"/>
                </a:lnTo>
                <a:lnTo>
                  <a:pt x="5294" y="16"/>
                </a:lnTo>
                <a:lnTo>
                  <a:pt x="5294" y="18"/>
                </a:lnTo>
                <a:lnTo>
                  <a:pt x="5288" y="18"/>
                </a:lnTo>
                <a:lnTo>
                  <a:pt x="5278" y="16"/>
                </a:lnTo>
                <a:lnTo>
                  <a:pt x="5258" y="12"/>
                </a:lnTo>
                <a:lnTo>
                  <a:pt x="5246" y="12"/>
                </a:lnTo>
                <a:lnTo>
                  <a:pt x="5236" y="16"/>
                </a:lnTo>
                <a:lnTo>
                  <a:pt x="5220" y="16"/>
                </a:lnTo>
                <a:lnTo>
                  <a:pt x="5210" y="16"/>
                </a:lnTo>
                <a:lnTo>
                  <a:pt x="5204" y="20"/>
                </a:lnTo>
                <a:lnTo>
                  <a:pt x="5202" y="22"/>
                </a:lnTo>
                <a:lnTo>
                  <a:pt x="5202" y="26"/>
                </a:lnTo>
                <a:lnTo>
                  <a:pt x="5206" y="32"/>
                </a:lnTo>
                <a:lnTo>
                  <a:pt x="5214" y="36"/>
                </a:lnTo>
                <a:lnTo>
                  <a:pt x="5224" y="40"/>
                </a:lnTo>
                <a:lnTo>
                  <a:pt x="5238" y="42"/>
                </a:lnTo>
                <a:lnTo>
                  <a:pt x="5248" y="44"/>
                </a:lnTo>
                <a:lnTo>
                  <a:pt x="5252" y="46"/>
                </a:lnTo>
                <a:lnTo>
                  <a:pt x="5248" y="48"/>
                </a:lnTo>
                <a:lnTo>
                  <a:pt x="5242" y="48"/>
                </a:lnTo>
                <a:lnTo>
                  <a:pt x="5224" y="52"/>
                </a:lnTo>
                <a:lnTo>
                  <a:pt x="5214" y="54"/>
                </a:lnTo>
                <a:lnTo>
                  <a:pt x="5208" y="56"/>
                </a:lnTo>
                <a:lnTo>
                  <a:pt x="5192" y="60"/>
                </a:lnTo>
                <a:lnTo>
                  <a:pt x="5168" y="64"/>
                </a:lnTo>
                <a:lnTo>
                  <a:pt x="5154" y="64"/>
                </a:lnTo>
                <a:lnTo>
                  <a:pt x="5140" y="64"/>
                </a:lnTo>
                <a:lnTo>
                  <a:pt x="5126" y="60"/>
                </a:lnTo>
                <a:lnTo>
                  <a:pt x="5114" y="56"/>
                </a:lnTo>
                <a:lnTo>
                  <a:pt x="5092" y="46"/>
                </a:lnTo>
                <a:lnTo>
                  <a:pt x="5078" y="40"/>
                </a:lnTo>
                <a:lnTo>
                  <a:pt x="5064" y="38"/>
                </a:lnTo>
                <a:lnTo>
                  <a:pt x="5048" y="34"/>
                </a:lnTo>
                <a:lnTo>
                  <a:pt x="5030" y="34"/>
                </a:lnTo>
                <a:lnTo>
                  <a:pt x="5012" y="36"/>
                </a:lnTo>
                <a:lnTo>
                  <a:pt x="4992" y="38"/>
                </a:lnTo>
                <a:lnTo>
                  <a:pt x="4950" y="44"/>
                </a:lnTo>
                <a:lnTo>
                  <a:pt x="4914" y="48"/>
                </a:lnTo>
                <a:lnTo>
                  <a:pt x="4900" y="50"/>
                </a:lnTo>
                <a:lnTo>
                  <a:pt x="4890" y="52"/>
                </a:lnTo>
                <a:lnTo>
                  <a:pt x="4886" y="56"/>
                </a:lnTo>
                <a:lnTo>
                  <a:pt x="4884" y="58"/>
                </a:lnTo>
                <a:lnTo>
                  <a:pt x="4884" y="60"/>
                </a:lnTo>
                <a:lnTo>
                  <a:pt x="4890" y="64"/>
                </a:lnTo>
                <a:lnTo>
                  <a:pt x="4900" y="66"/>
                </a:lnTo>
                <a:lnTo>
                  <a:pt x="4928" y="66"/>
                </a:lnTo>
                <a:lnTo>
                  <a:pt x="4966" y="66"/>
                </a:lnTo>
                <a:lnTo>
                  <a:pt x="5006" y="66"/>
                </a:lnTo>
                <a:lnTo>
                  <a:pt x="5046" y="68"/>
                </a:lnTo>
                <a:lnTo>
                  <a:pt x="5082" y="72"/>
                </a:lnTo>
                <a:lnTo>
                  <a:pt x="5116" y="76"/>
                </a:lnTo>
                <a:lnTo>
                  <a:pt x="5150" y="82"/>
                </a:lnTo>
                <a:lnTo>
                  <a:pt x="5162" y="84"/>
                </a:lnTo>
                <a:lnTo>
                  <a:pt x="5168" y="88"/>
                </a:lnTo>
                <a:lnTo>
                  <a:pt x="5168" y="90"/>
                </a:lnTo>
                <a:lnTo>
                  <a:pt x="5162" y="92"/>
                </a:lnTo>
                <a:lnTo>
                  <a:pt x="5144" y="92"/>
                </a:lnTo>
                <a:lnTo>
                  <a:pt x="5132" y="90"/>
                </a:lnTo>
                <a:lnTo>
                  <a:pt x="5118" y="88"/>
                </a:lnTo>
                <a:lnTo>
                  <a:pt x="5104" y="84"/>
                </a:lnTo>
                <a:lnTo>
                  <a:pt x="5088" y="82"/>
                </a:lnTo>
                <a:lnTo>
                  <a:pt x="5050" y="78"/>
                </a:lnTo>
                <a:lnTo>
                  <a:pt x="4946" y="74"/>
                </a:lnTo>
                <a:lnTo>
                  <a:pt x="4928" y="74"/>
                </a:lnTo>
                <a:lnTo>
                  <a:pt x="4926" y="76"/>
                </a:lnTo>
                <a:lnTo>
                  <a:pt x="4928" y="78"/>
                </a:lnTo>
                <a:lnTo>
                  <a:pt x="4942" y="84"/>
                </a:lnTo>
                <a:lnTo>
                  <a:pt x="4964" y="92"/>
                </a:lnTo>
                <a:lnTo>
                  <a:pt x="4984" y="100"/>
                </a:lnTo>
                <a:lnTo>
                  <a:pt x="5000" y="106"/>
                </a:lnTo>
                <a:lnTo>
                  <a:pt x="5004" y="110"/>
                </a:lnTo>
                <a:lnTo>
                  <a:pt x="5004" y="112"/>
                </a:lnTo>
                <a:lnTo>
                  <a:pt x="5000" y="114"/>
                </a:lnTo>
                <a:lnTo>
                  <a:pt x="4990" y="116"/>
                </a:lnTo>
                <a:lnTo>
                  <a:pt x="4984" y="118"/>
                </a:lnTo>
                <a:lnTo>
                  <a:pt x="4978" y="118"/>
                </a:lnTo>
                <a:lnTo>
                  <a:pt x="4976" y="122"/>
                </a:lnTo>
                <a:lnTo>
                  <a:pt x="4974" y="124"/>
                </a:lnTo>
                <a:lnTo>
                  <a:pt x="4972" y="132"/>
                </a:lnTo>
                <a:lnTo>
                  <a:pt x="4976" y="140"/>
                </a:lnTo>
                <a:lnTo>
                  <a:pt x="4978" y="148"/>
                </a:lnTo>
                <a:lnTo>
                  <a:pt x="4978" y="154"/>
                </a:lnTo>
                <a:lnTo>
                  <a:pt x="4978" y="158"/>
                </a:lnTo>
                <a:lnTo>
                  <a:pt x="4976" y="160"/>
                </a:lnTo>
                <a:lnTo>
                  <a:pt x="4974" y="162"/>
                </a:lnTo>
                <a:lnTo>
                  <a:pt x="4968" y="162"/>
                </a:lnTo>
                <a:lnTo>
                  <a:pt x="4958" y="162"/>
                </a:lnTo>
                <a:lnTo>
                  <a:pt x="4950" y="160"/>
                </a:lnTo>
                <a:lnTo>
                  <a:pt x="4944" y="156"/>
                </a:lnTo>
                <a:lnTo>
                  <a:pt x="4938" y="152"/>
                </a:lnTo>
                <a:lnTo>
                  <a:pt x="4930" y="146"/>
                </a:lnTo>
                <a:lnTo>
                  <a:pt x="4920" y="140"/>
                </a:lnTo>
                <a:lnTo>
                  <a:pt x="4906" y="136"/>
                </a:lnTo>
                <a:lnTo>
                  <a:pt x="4888" y="132"/>
                </a:lnTo>
                <a:lnTo>
                  <a:pt x="4870" y="128"/>
                </a:lnTo>
                <a:lnTo>
                  <a:pt x="4852" y="124"/>
                </a:lnTo>
                <a:lnTo>
                  <a:pt x="4822" y="112"/>
                </a:lnTo>
                <a:lnTo>
                  <a:pt x="4790" y="104"/>
                </a:lnTo>
                <a:lnTo>
                  <a:pt x="4772" y="100"/>
                </a:lnTo>
                <a:lnTo>
                  <a:pt x="4752" y="98"/>
                </a:lnTo>
                <a:lnTo>
                  <a:pt x="4732" y="98"/>
                </a:lnTo>
                <a:lnTo>
                  <a:pt x="4720" y="98"/>
                </a:lnTo>
                <a:lnTo>
                  <a:pt x="4712" y="102"/>
                </a:lnTo>
                <a:lnTo>
                  <a:pt x="4710" y="104"/>
                </a:lnTo>
                <a:lnTo>
                  <a:pt x="4710" y="106"/>
                </a:lnTo>
                <a:lnTo>
                  <a:pt x="4714" y="110"/>
                </a:lnTo>
                <a:lnTo>
                  <a:pt x="4722" y="118"/>
                </a:lnTo>
                <a:lnTo>
                  <a:pt x="4750" y="138"/>
                </a:lnTo>
                <a:lnTo>
                  <a:pt x="4764" y="146"/>
                </a:lnTo>
                <a:lnTo>
                  <a:pt x="4766" y="148"/>
                </a:lnTo>
                <a:lnTo>
                  <a:pt x="4764" y="150"/>
                </a:lnTo>
                <a:lnTo>
                  <a:pt x="4758" y="150"/>
                </a:lnTo>
                <a:lnTo>
                  <a:pt x="4748" y="148"/>
                </a:lnTo>
                <a:lnTo>
                  <a:pt x="4736" y="146"/>
                </a:lnTo>
                <a:lnTo>
                  <a:pt x="4724" y="146"/>
                </a:lnTo>
                <a:lnTo>
                  <a:pt x="4722" y="148"/>
                </a:lnTo>
                <a:lnTo>
                  <a:pt x="4720" y="150"/>
                </a:lnTo>
                <a:lnTo>
                  <a:pt x="4718" y="154"/>
                </a:lnTo>
                <a:lnTo>
                  <a:pt x="4722" y="158"/>
                </a:lnTo>
                <a:lnTo>
                  <a:pt x="4722" y="160"/>
                </a:lnTo>
                <a:lnTo>
                  <a:pt x="4714" y="158"/>
                </a:lnTo>
                <a:lnTo>
                  <a:pt x="4704" y="154"/>
                </a:lnTo>
                <a:lnTo>
                  <a:pt x="4688" y="150"/>
                </a:lnTo>
                <a:lnTo>
                  <a:pt x="4670" y="146"/>
                </a:lnTo>
                <a:lnTo>
                  <a:pt x="4660" y="146"/>
                </a:lnTo>
                <a:lnTo>
                  <a:pt x="4650" y="148"/>
                </a:lnTo>
                <a:lnTo>
                  <a:pt x="4642" y="150"/>
                </a:lnTo>
                <a:lnTo>
                  <a:pt x="4634" y="156"/>
                </a:lnTo>
                <a:lnTo>
                  <a:pt x="4626" y="162"/>
                </a:lnTo>
                <a:lnTo>
                  <a:pt x="4618" y="172"/>
                </a:lnTo>
                <a:lnTo>
                  <a:pt x="4606" y="190"/>
                </a:lnTo>
                <a:lnTo>
                  <a:pt x="4610" y="180"/>
                </a:lnTo>
                <a:lnTo>
                  <a:pt x="4612" y="168"/>
                </a:lnTo>
                <a:lnTo>
                  <a:pt x="4614" y="154"/>
                </a:lnTo>
                <a:lnTo>
                  <a:pt x="4610" y="138"/>
                </a:lnTo>
                <a:lnTo>
                  <a:pt x="4608" y="130"/>
                </a:lnTo>
                <a:lnTo>
                  <a:pt x="4604" y="124"/>
                </a:lnTo>
                <a:lnTo>
                  <a:pt x="4592" y="114"/>
                </a:lnTo>
                <a:lnTo>
                  <a:pt x="4582" y="108"/>
                </a:lnTo>
                <a:lnTo>
                  <a:pt x="4568" y="106"/>
                </a:lnTo>
                <a:lnTo>
                  <a:pt x="4554" y="108"/>
                </a:lnTo>
                <a:lnTo>
                  <a:pt x="4508" y="118"/>
                </a:lnTo>
                <a:lnTo>
                  <a:pt x="4476" y="124"/>
                </a:lnTo>
                <a:lnTo>
                  <a:pt x="4436" y="130"/>
                </a:lnTo>
                <a:lnTo>
                  <a:pt x="4394" y="134"/>
                </a:lnTo>
                <a:lnTo>
                  <a:pt x="4362" y="140"/>
                </a:lnTo>
                <a:lnTo>
                  <a:pt x="4338" y="144"/>
                </a:lnTo>
                <a:lnTo>
                  <a:pt x="4320" y="150"/>
                </a:lnTo>
                <a:lnTo>
                  <a:pt x="4308" y="156"/>
                </a:lnTo>
                <a:lnTo>
                  <a:pt x="4302" y="162"/>
                </a:lnTo>
                <a:lnTo>
                  <a:pt x="4302" y="166"/>
                </a:lnTo>
                <a:lnTo>
                  <a:pt x="4302" y="170"/>
                </a:lnTo>
                <a:lnTo>
                  <a:pt x="4306" y="176"/>
                </a:lnTo>
                <a:close/>
                <a:moveTo>
                  <a:pt x="5340" y="5242"/>
                </a:moveTo>
                <a:lnTo>
                  <a:pt x="5340" y="5242"/>
                </a:lnTo>
                <a:lnTo>
                  <a:pt x="5332" y="5236"/>
                </a:lnTo>
                <a:lnTo>
                  <a:pt x="5326" y="5232"/>
                </a:lnTo>
                <a:lnTo>
                  <a:pt x="5320" y="5232"/>
                </a:lnTo>
                <a:lnTo>
                  <a:pt x="5314" y="5234"/>
                </a:lnTo>
                <a:lnTo>
                  <a:pt x="5306" y="5234"/>
                </a:lnTo>
                <a:lnTo>
                  <a:pt x="5298" y="5234"/>
                </a:lnTo>
                <a:lnTo>
                  <a:pt x="5286" y="5230"/>
                </a:lnTo>
                <a:lnTo>
                  <a:pt x="5270" y="5222"/>
                </a:lnTo>
                <a:lnTo>
                  <a:pt x="5256" y="5212"/>
                </a:lnTo>
                <a:lnTo>
                  <a:pt x="5246" y="5204"/>
                </a:lnTo>
                <a:lnTo>
                  <a:pt x="5240" y="5198"/>
                </a:lnTo>
                <a:lnTo>
                  <a:pt x="5236" y="5192"/>
                </a:lnTo>
                <a:lnTo>
                  <a:pt x="5230" y="5178"/>
                </a:lnTo>
                <a:lnTo>
                  <a:pt x="5224" y="5172"/>
                </a:lnTo>
                <a:lnTo>
                  <a:pt x="5214" y="5162"/>
                </a:lnTo>
                <a:lnTo>
                  <a:pt x="5194" y="5144"/>
                </a:lnTo>
                <a:lnTo>
                  <a:pt x="5186" y="5136"/>
                </a:lnTo>
                <a:lnTo>
                  <a:pt x="5176" y="5130"/>
                </a:lnTo>
                <a:lnTo>
                  <a:pt x="5166" y="5126"/>
                </a:lnTo>
                <a:lnTo>
                  <a:pt x="5156" y="5124"/>
                </a:lnTo>
                <a:lnTo>
                  <a:pt x="5144" y="5122"/>
                </a:lnTo>
                <a:lnTo>
                  <a:pt x="5128" y="5124"/>
                </a:lnTo>
                <a:lnTo>
                  <a:pt x="5114" y="5126"/>
                </a:lnTo>
                <a:lnTo>
                  <a:pt x="5100" y="5126"/>
                </a:lnTo>
                <a:lnTo>
                  <a:pt x="5086" y="5124"/>
                </a:lnTo>
                <a:lnTo>
                  <a:pt x="5074" y="5122"/>
                </a:lnTo>
                <a:lnTo>
                  <a:pt x="5052" y="5114"/>
                </a:lnTo>
                <a:lnTo>
                  <a:pt x="5032" y="5106"/>
                </a:lnTo>
                <a:lnTo>
                  <a:pt x="5026" y="5104"/>
                </a:lnTo>
                <a:lnTo>
                  <a:pt x="5022" y="5104"/>
                </a:lnTo>
                <a:lnTo>
                  <a:pt x="5014" y="5108"/>
                </a:lnTo>
                <a:lnTo>
                  <a:pt x="5004" y="5114"/>
                </a:lnTo>
                <a:lnTo>
                  <a:pt x="4996" y="5120"/>
                </a:lnTo>
                <a:lnTo>
                  <a:pt x="4984" y="5134"/>
                </a:lnTo>
                <a:lnTo>
                  <a:pt x="4980" y="5136"/>
                </a:lnTo>
                <a:lnTo>
                  <a:pt x="4978" y="5136"/>
                </a:lnTo>
                <a:lnTo>
                  <a:pt x="4976" y="5136"/>
                </a:lnTo>
                <a:lnTo>
                  <a:pt x="4974" y="5130"/>
                </a:lnTo>
                <a:lnTo>
                  <a:pt x="4976" y="5126"/>
                </a:lnTo>
                <a:lnTo>
                  <a:pt x="4980" y="5112"/>
                </a:lnTo>
                <a:lnTo>
                  <a:pt x="4984" y="5100"/>
                </a:lnTo>
                <a:lnTo>
                  <a:pt x="4984" y="5094"/>
                </a:lnTo>
                <a:lnTo>
                  <a:pt x="4982" y="5092"/>
                </a:lnTo>
                <a:lnTo>
                  <a:pt x="4980" y="5086"/>
                </a:lnTo>
                <a:lnTo>
                  <a:pt x="4978" y="5082"/>
                </a:lnTo>
                <a:lnTo>
                  <a:pt x="4974" y="5072"/>
                </a:lnTo>
                <a:lnTo>
                  <a:pt x="4972" y="5068"/>
                </a:lnTo>
                <a:lnTo>
                  <a:pt x="4968" y="5064"/>
                </a:lnTo>
                <a:lnTo>
                  <a:pt x="4960" y="5060"/>
                </a:lnTo>
                <a:lnTo>
                  <a:pt x="4952" y="5058"/>
                </a:lnTo>
                <a:lnTo>
                  <a:pt x="4942" y="5054"/>
                </a:lnTo>
                <a:lnTo>
                  <a:pt x="4934" y="5050"/>
                </a:lnTo>
                <a:lnTo>
                  <a:pt x="4924" y="5042"/>
                </a:lnTo>
                <a:lnTo>
                  <a:pt x="4916" y="5036"/>
                </a:lnTo>
                <a:lnTo>
                  <a:pt x="4912" y="5034"/>
                </a:lnTo>
                <a:lnTo>
                  <a:pt x="4906" y="5032"/>
                </a:lnTo>
                <a:lnTo>
                  <a:pt x="4896" y="5032"/>
                </a:lnTo>
                <a:lnTo>
                  <a:pt x="4888" y="5028"/>
                </a:lnTo>
                <a:lnTo>
                  <a:pt x="4878" y="5024"/>
                </a:lnTo>
                <a:lnTo>
                  <a:pt x="4858" y="5020"/>
                </a:lnTo>
                <a:lnTo>
                  <a:pt x="4852" y="5022"/>
                </a:lnTo>
                <a:lnTo>
                  <a:pt x="4846" y="5022"/>
                </a:lnTo>
                <a:lnTo>
                  <a:pt x="4836" y="5028"/>
                </a:lnTo>
                <a:lnTo>
                  <a:pt x="4828" y="5036"/>
                </a:lnTo>
                <a:lnTo>
                  <a:pt x="4822" y="5046"/>
                </a:lnTo>
                <a:lnTo>
                  <a:pt x="4814" y="5060"/>
                </a:lnTo>
                <a:lnTo>
                  <a:pt x="4810" y="5060"/>
                </a:lnTo>
                <a:lnTo>
                  <a:pt x="4808" y="5056"/>
                </a:lnTo>
                <a:lnTo>
                  <a:pt x="4806" y="5048"/>
                </a:lnTo>
                <a:lnTo>
                  <a:pt x="4810" y="5040"/>
                </a:lnTo>
                <a:lnTo>
                  <a:pt x="4818" y="5026"/>
                </a:lnTo>
                <a:lnTo>
                  <a:pt x="4822" y="5018"/>
                </a:lnTo>
                <a:lnTo>
                  <a:pt x="4822" y="5012"/>
                </a:lnTo>
                <a:lnTo>
                  <a:pt x="4822" y="5008"/>
                </a:lnTo>
                <a:lnTo>
                  <a:pt x="4820" y="5006"/>
                </a:lnTo>
                <a:lnTo>
                  <a:pt x="4810" y="5000"/>
                </a:lnTo>
                <a:lnTo>
                  <a:pt x="4792" y="4996"/>
                </a:lnTo>
                <a:lnTo>
                  <a:pt x="4784" y="4998"/>
                </a:lnTo>
                <a:lnTo>
                  <a:pt x="4774" y="4998"/>
                </a:lnTo>
                <a:lnTo>
                  <a:pt x="4752" y="4996"/>
                </a:lnTo>
                <a:lnTo>
                  <a:pt x="4742" y="4994"/>
                </a:lnTo>
                <a:lnTo>
                  <a:pt x="4736" y="4998"/>
                </a:lnTo>
                <a:lnTo>
                  <a:pt x="4730" y="5002"/>
                </a:lnTo>
                <a:lnTo>
                  <a:pt x="4728" y="5010"/>
                </a:lnTo>
                <a:lnTo>
                  <a:pt x="4726" y="5018"/>
                </a:lnTo>
                <a:lnTo>
                  <a:pt x="4724" y="5026"/>
                </a:lnTo>
                <a:lnTo>
                  <a:pt x="4726" y="5040"/>
                </a:lnTo>
                <a:lnTo>
                  <a:pt x="4722" y="5036"/>
                </a:lnTo>
                <a:lnTo>
                  <a:pt x="4720" y="5036"/>
                </a:lnTo>
                <a:lnTo>
                  <a:pt x="4712" y="5042"/>
                </a:lnTo>
                <a:lnTo>
                  <a:pt x="4710" y="5044"/>
                </a:lnTo>
                <a:lnTo>
                  <a:pt x="4708" y="5044"/>
                </a:lnTo>
                <a:lnTo>
                  <a:pt x="4708" y="5042"/>
                </a:lnTo>
                <a:lnTo>
                  <a:pt x="4710" y="5034"/>
                </a:lnTo>
                <a:lnTo>
                  <a:pt x="4712" y="5026"/>
                </a:lnTo>
                <a:lnTo>
                  <a:pt x="4710" y="5020"/>
                </a:lnTo>
                <a:lnTo>
                  <a:pt x="4706" y="5020"/>
                </a:lnTo>
                <a:lnTo>
                  <a:pt x="4702" y="5020"/>
                </a:lnTo>
                <a:lnTo>
                  <a:pt x="4694" y="5024"/>
                </a:lnTo>
                <a:lnTo>
                  <a:pt x="4696" y="5020"/>
                </a:lnTo>
                <a:lnTo>
                  <a:pt x="4698" y="5014"/>
                </a:lnTo>
                <a:lnTo>
                  <a:pt x="4698" y="5010"/>
                </a:lnTo>
                <a:lnTo>
                  <a:pt x="4700" y="5004"/>
                </a:lnTo>
                <a:lnTo>
                  <a:pt x="4700" y="5000"/>
                </a:lnTo>
                <a:lnTo>
                  <a:pt x="4702" y="4996"/>
                </a:lnTo>
                <a:lnTo>
                  <a:pt x="4706" y="4994"/>
                </a:lnTo>
                <a:lnTo>
                  <a:pt x="4714" y="4990"/>
                </a:lnTo>
                <a:lnTo>
                  <a:pt x="4720" y="4986"/>
                </a:lnTo>
                <a:lnTo>
                  <a:pt x="4726" y="4980"/>
                </a:lnTo>
                <a:lnTo>
                  <a:pt x="4736" y="4964"/>
                </a:lnTo>
                <a:lnTo>
                  <a:pt x="4746" y="4950"/>
                </a:lnTo>
                <a:lnTo>
                  <a:pt x="4750" y="4944"/>
                </a:lnTo>
                <a:lnTo>
                  <a:pt x="4756" y="4940"/>
                </a:lnTo>
                <a:lnTo>
                  <a:pt x="4760" y="4938"/>
                </a:lnTo>
                <a:lnTo>
                  <a:pt x="4762" y="4932"/>
                </a:lnTo>
                <a:lnTo>
                  <a:pt x="4762" y="4926"/>
                </a:lnTo>
                <a:lnTo>
                  <a:pt x="4762" y="4918"/>
                </a:lnTo>
                <a:lnTo>
                  <a:pt x="4760" y="4912"/>
                </a:lnTo>
                <a:lnTo>
                  <a:pt x="4756" y="4906"/>
                </a:lnTo>
                <a:lnTo>
                  <a:pt x="4752" y="4902"/>
                </a:lnTo>
                <a:lnTo>
                  <a:pt x="4748" y="4902"/>
                </a:lnTo>
                <a:lnTo>
                  <a:pt x="4740" y="4902"/>
                </a:lnTo>
                <a:lnTo>
                  <a:pt x="4736" y="4900"/>
                </a:lnTo>
                <a:lnTo>
                  <a:pt x="4736" y="4896"/>
                </a:lnTo>
                <a:lnTo>
                  <a:pt x="4734" y="4892"/>
                </a:lnTo>
                <a:lnTo>
                  <a:pt x="4732" y="4886"/>
                </a:lnTo>
                <a:lnTo>
                  <a:pt x="4730" y="4884"/>
                </a:lnTo>
                <a:lnTo>
                  <a:pt x="4730" y="4882"/>
                </a:lnTo>
                <a:lnTo>
                  <a:pt x="4730" y="4878"/>
                </a:lnTo>
                <a:lnTo>
                  <a:pt x="4728" y="4874"/>
                </a:lnTo>
                <a:lnTo>
                  <a:pt x="4726" y="4870"/>
                </a:lnTo>
                <a:lnTo>
                  <a:pt x="4724" y="4868"/>
                </a:lnTo>
                <a:lnTo>
                  <a:pt x="4722" y="4864"/>
                </a:lnTo>
                <a:lnTo>
                  <a:pt x="4722" y="4860"/>
                </a:lnTo>
                <a:lnTo>
                  <a:pt x="4722" y="4854"/>
                </a:lnTo>
                <a:lnTo>
                  <a:pt x="4718" y="4848"/>
                </a:lnTo>
                <a:lnTo>
                  <a:pt x="4716" y="4828"/>
                </a:lnTo>
                <a:lnTo>
                  <a:pt x="4714" y="4806"/>
                </a:lnTo>
                <a:lnTo>
                  <a:pt x="4714" y="4800"/>
                </a:lnTo>
                <a:lnTo>
                  <a:pt x="4712" y="4800"/>
                </a:lnTo>
                <a:lnTo>
                  <a:pt x="4710" y="4798"/>
                </a:lnTo>
                <a:lnTo>
                  <a:pt x="4708" y="4794"/>
                </a:lnTo>
                <a:lnTo>
                  <a:pt x="4702" y="4780"/>
                </a:lnTo>
                <a:lnTo>
                  <a:pt x="4698" y="4776"/>
                </a:lnTo>
                <a:lnTo>
                  <a:pt x="4696" y="4776"/>
                </a:lnTo>
                <a:lnTo>
                  <a:pt x="4694" y="4778"/>
                </a:lnTo>
                <a:lnTo>
                  <a:pt x="4694" y="4780"/>
                </a:lnTo>
                <a:lnTo>
                  <a:pt x="4694" y="4784"/>
                </a:lnTo>
                <a:lnTo>
                  <a:pt x="4690" y="4792"/>
                </a:lnTo>
                <a:lnTo>
                  <a:pt x="4688" y="4790"/>
                </a:lnTo>
                <a:lnTo>
                  <a:pt x="4688" y="4786"/>
                </a:lnTo>
                <a:lnTo>
                  <a:pt x="4688" y="4782"/>
                </a:lnTo>
                <a:lnTo>
                  <a:pt x="4688" y="4778"/>
                </a:lnTo>
                <a:lnTo>
                  <a:pt x="4684" y="4764"/>
                </a:lnTo>
                <a:lnTo>
                  <a:pt x="4684" y="4762"/>
                </a:lnTo>
                <a:lnTo>
                  <a:pt x="4682" y="4764"/>
                </a:lnTo>
                <a:lnTo>
                  <a:pt x="4680" y="4766"/>
                </a:lnTo>
                <a:lnTo>
                  <a:pt x="4676" y="4764"/>
                </a:lnTo>
                <a:lnTo>
                  <a:pt x="4674" y="4758"/>
                </a:lnTo>
                <a:lnTo>
                  <a:pt x="4672" y="4754"/>
                </a:lnTo>
                <a:lnTo>
                  <a:pt x="4668" y="4752"/>
                </a:lnTo>
                <a:lnTo>
                  <a:pt x="4662" y="4748"/>
                </a:lnTo>
                <a:lnTo>
                  <a:pt x="4654" y="4744"/>
                </a:lnTo>
                <a:lnTo>
                  <a:pt x="4650" y="4740"/>
                </a:lnTo>
                <a:lnTo>
                  <a:pt x="4648" y="4734"/>
                </a:lnTo>
                <a:lnTo>
                  <a:pt x="4644" y="4730"/>
                </a:lnTo>
                <a:lnTo>
                  <a:pt x="4640" y="4726"/>
                </a:lnTo>
                <a:lnTo>
                  <a:pt x="4632" y="4722"/>
                </a:lnTo>
                <a:lnTo>
                  <a:pt x="4622" y="4718"/>
                </a:lnTo>
                <a:lnTo>
                  <a:pt x="4610" y="4712"/>
                </a:lnTo>
                <a:lnTo>
                  <a:pt x="4598" y="4708"/>
                </a:lnTo>
                <a:lnTo>
                  <a:pt x="4568" y="4698"/>
                </a:lnTo>
                <a:lnTo>
                  <a:pt x="4558" y="4696"/>
                </a:lnTo>
                <a:lnTo>
                  <a:pt x="4552" y="4696"/>
                </a:lnTo>
                <a:lnTo>
                  <a:pt x="4550" y="4700"/>
                </a:lnTo>
                <a:lnTo>
                  <a:pt x="4546" y="4700"/>
                </a:lnTo>
                <a:lnTo>
                  <a:pt x="4536" y="4698"/>
                </a:lnTo>
                <a:lnTo>
                  <a:pt x="4524" y="4698"/>
                </a:lnTo>
                <a:lnTo>
                  <a:pt x="4520" y="4700"/>
                </a:lnTo>
                <a:lnTo>
                  <a:pt x="4518" y="4702"/>
                </a:lnTo>
                <a:lnTo>
                  <a:pt x="4518" y="4704"/>
                </a:lnTo>
                <a:lnTo>
                  <a:pt x="4514" y="4706"/>
                </a:lnTo>
                <a:lnTo>
                  <a:pt x="4502" y="4702"/>
                </a:lnTo>
                <a:lnTo>
                  <a:pt x="4494" y="4700"/>
                </a:lnTo>
                <a:lnTo>
                  <a:pt x="4486" y="4698"/>
                </a:lnTo>
                <a:lnTo>
                  <a:pt x="4478" y="4698"/>
                </a:lnTo>
                <a:lnTo>
                  <a:pt x="4472" y="4702"/>
                </a:lnTo>
                <a:lnTo>
                  <a:pt x="4470" y="4700"/>
                </a:lnTo>
                <a:lnTo>
                  <a:pt x="4468" y="4698"/>
                </a:lnTo>
                <a:lnTo>
                  <a:pt x="4466" y="4692"/>
                </a:lnTo>
                <a:lnTo>
                  <a:pt x="4462" y="4684"/>
                </a:lnTo>
                <a:lnTo>
                  <a:pt x="4460" y="4682"/>
                </a:lnTo>
                <a:lnTo>
                  <a:pt x="4458" y="4682"/>
                </a:lnTo>
                <a:lnTo>
                  <a:pt x="4454" y="4680"/>
                </a:lnTo>
                <a:lnTo>
                  <a:pt x="4452" y="4678"/>
                </a:lnTo>
                <a:lnTo>
                  <a:pt x="4450" y="4670"/>
                </a:lnTo>
                <a:lnTo>
                  <a:pt x="4448" y="4666"/>
                </a:lnTo>
                <a:lnTo>
                  <a:pt x="4444" y="4664"/>
                </a:lnTo>
                <a:lnTo>
                  <a:pt x="4440" y="4660"/>
                </a:lnTo>
                <a:lnTo>
                  <a:pt x="4430" y="4656"/>
                </a:lnTo>
                <a:lnTo>
                  <a:pt x="4418" y="4654"/>
                </a:lnTo>
                <a:lnTo>
                  <a:pt x="4412" y="4650"/>
                </a:lnTo>
                <a:lnTo>
                  <a:pt x="4412" y="4646"/>
                </a:lnTo>
                <a:lnTo>
                  <a:pt x="4416" y="4638"/>
                </a:lnTo>
                <a:lnTo>
                  <a:pt x="4416" y="4630"/>
                </a:lnTo>
                <a:lnTo>
                  <a:pt x="4414" y="4624"/>
                </a:lnTo>
                <a:lnTo>
                  <a:pt x="4410" y="4618"/>
                </a:lnTo>
                <a:lnTo>
                  <a:pt x="4404" y="4612"/>
                </a:lnTo>
                <a:lnTo>
                  <a:pt x="4388" y="4598"/>
                </a:lnTo>
                <a:lnTo>
                  <a:pt x="4364" y="4582"/>
                </a:lnTo>
                <a:lnTo>
                  <a:pt x="4358" y="4576"/>
                </a:lnTo>
                <a:lnTo>
                  <a:pt x="4348" y="4572"/>
                </a:lnTo>
                <a:lnTo>
                  <a:pt x="4338" y="4570"/>
                </a:lnTo>
                <a:lnTo>
                  <a:pt x="4326" y="4572"/>
                </a:lnTo>
                <a:lnTo>
                  <a:pt x="4316" y="4574"/>
                </a:lnTo>
                <a:lnTo>
                  <a:pt x="4300" y="4576"/>
                </a:lnTo>
                <a:lnTo>
                  <a:pt x="4298" y="4576"/>
                </a:lnTo>
                <a:lnTo>
                  <a:pt x="4300" y="4572"/>
                </a:lnTo>
                <a:lnTo>
                  <a:pt x="4304" y="4568"/>
                </a:lnTo>
                <a:lnTo>
                  <a:pt x="4306" y="4564"/>
                </a:lnTo>
                <a:lnTo>
                  <a:pt x="4308" y="4554"/>
                </a:lnTo>
                <a:lnTo>
                  <a:pt x="4310" y="4546"/>
                </a:lnTo>
                <a:lnTo>
                  <a:pt x="4314" y="4544"/>
                </a:lnTo>
                <a:lnTo>
                  <a:pt x="4318" y="4540"/>
                </a:lnTo>
                <a:lnTo>
                  <a:pt x="4322" y="4536"/>
                </a:lnTo>
                <a:lnTo>
                  <a:pt x="4322" y="4534"/>
                </a:lnTo>
                <a:lnTo>
                  <a:pt x="4322" y="4532"/>
                </a:lnTo>
                <a:lnTo>
                  <a:pt x="4320" y="4530"/>
                </a:lnTo>
                <a:lnTo>
                  <a:pt x="4312" y="4526"/>
                </a:lnTo>
                <a:lnTo>
                  <a:pt x="4308" y="4522"/>
                </a:lnTo>
                <a:lnTo>
                  <a:pt x="4304" y="4518"/>
                </a:lnTo>
                <a:lnTo>
                  <a:pt x="4300" y="4514"/>
                </a:lnTo>
                <a:lnTo>
                  <a:pt x="4296" y="4512"/>
                </a:lnTo>
                <a:lnTo>
                  <a:pt x="4288" y="4510"/>
                </a:lnTo>
                <a:lnTo>
                  <a:pt x="4280" y="4510"/>
                </a:lnTo>
                <a:lnTo>
                  <a:pt x="4278" y="4508"/>
                </a:lnTo>
                <a:lnTo>
                  <a:pt x="4274" y="4504"/>
                </a:lnTo>
                <a:lnTo>
                  <a:pt x="4270" y="4500"/>
                </a:lnTo>
                <a:lnTo>
                  <a:pt x="4262" y="4496"/>
                </a:lnTo>
                <a:lnTo>
                  <a:pt x="4248" y="4488"/>
                </a:lnTo>
                <a:lnTo>
                  <a:pt x="4244" y="4484"/>
                </a:lnTo>
                <a:lnTo>
                  <a:pt x="4242" y="4480"/>
                </a:lnTo>
                <a:lnTo>
                  <a:pt x="4244" y="4478"/>
                </a:lnTo>
                <a:lnTo>
                  <a:pt x="4252" y="4476"/>
                </a:lnTo>
                <a:lnTo>
                  <a:pt x="4270" y="4472"/>
                </a:lnTo>
                <a:lnTo>
                  <a:pt x="4278" y="4468"/>
                </a:lnTo>
                <a:lnTo>
                  <a:pt x="4278" y="4466"/>
                </a:lnTo>
                <a:lnTo>
                  <a:pt x="4274" y="4464"/>
                </a:lnTo>
                <a:lnTo>
                  <a:pt x="4258" y="4460"/>
                </a:lnTo>
                <a:lnTo>
                  <a:pt x="4242" y="4460"/>
                </a:lnTo>
                <a:lnTo>
                  <a:pt x="4232" y="4464"/>
                </a:lnTo>
                <a:lnTo>
                  <a:pt x="4222" y="4466"/>
                </a:lnTo>
                <a:lnTo>
                  <a:pt x="4202" y="4468"/>
                </a:lnTo>
                <a:lnTo>
                  <a:pt x="4192" y="4468"/>
                </a:lnTo>
                <a:lnTo>
                  <a:pt x="4184" y="4470"/>
                </a:lnTo>
                <a:lnTo>
                  <a:pt x="4180" y="4472"/>
                </a:lnTo>
                <a:lnTo>
                  <a:pt x="4178" y="4474"/>
                </a:lnTo>
                <a:lnTo>
                  <a:pt x="4176" y="4480"/>
                </a:lnTo>
                <a:lnTo>
                  <a:pt x="4176" y="4484"/>
                </a:lnTo>
                <a:lnTo>
                  <a:pt x="4172" y="4486"/>
                </a:lnTo>
                <a:lnTo>
                  <a:pt x="4158" y="4492"/>
                </a:lnTo>
                <a:lnTo>
                  <a:pt x="4152" y="4494"/>
                </a:lnTo>
                <a:lnTo>
                  <a:pt x="4144" y="4496"/>
                </a:lnTo>
                <a:lnTo>
                  <a:pt x="4136" y="4494"/>
                </a:lnTo>
                <a:lnTo>
                  <a:pt x="4126" y="4492"/>
                </a:lnTo>
                <a:lnTo>
                  <a:pt x="4120" y="4486"/>
                </a:lnTo>
                <a:lnTo>
                  <a:pt x="4112" y="4476"/>
                </a:lnTo>
                <a:lnTo>
                  <a:pt x="4108" y="4472"/>
                </a:lnTo>
                <a:lnTo>
                  <a:pt x="4104" y="4470"/>
                </a:lnTo>
                <a:lnTo>
                  <a:pt x="4098" y="4468"/>
                </a:lnTo>
                <a:lnTo>
                  <a:pt x="4090" y="4468"/>
                </a:lnTo>
                <a:lnTo>
                  <a:pt x="4076" y="4470"/>
                </a:lnTo>
                <a:lnTo>
                  <a:pt x="4060" y="4474"/>
                </a:lnTo>
                <a:lnTo>
                  <a:pt x="4044" y="4476"/>
                </a:lnTo>
                <a:lnTo>
                  <a:pt x="4032" y="4478"/>
                </a:lnTo>
                <a:lnTo>
                  <a:pt x="4026" y="4476"/>
                </a:lnTo>
                <a:lnTo>
                  <a:pt x="4022" y="4472"/>
                </a:lnTo>
                <a:lnTo>
                  <a:pt x="4020" y="4468"/>
                </a:lnTo>
                <a:lnTo>
                  <a:pt x="4020" y="4460"/>
                </a:lnTo>
                <a:lnTo>
                  <a:pt x="4018" y="4448"/>
                </a:lnTo>
                <a:lnTo>
                  <a:pt x="4012" y="4438"/>
                </a:lnTo>
                <a:lnTo>
                  <a:pt x="4004" y="4434"/>
                </a:lnTo>
                <a:lnTo>
                  <a:pt x="3996" y="4430"/>
                </a:lnTo>
                <a:lnTo>
                  <a:pt x="3986" y="4426"/>
                </a:lnTo>
                <a:lnTo>
                  <a:pt x="3978" y="4422"/>
                </a:lnTo>
                <a:lnTo>
                  <a:pt x="3970" y="4416"/>
                </a:lnTo>
                <a:lnTo>
                  <a:pt x="3964" y="4406"/>
                </a:lnTo>
                <a:lnTo>
                  <a:pt x="3960" y="4396"/>
                </a:lnTo>
                <a:lnTo>
                  <a:pt x="3956" y="4390"/>
                </a:lnTo>
                <a:lnTo>
                  <a:pt x="3950" y="4390"/>
                </a:lnTo>
                <a:lnTo>
                  <a:pt x="3946" y="4394"/>
                </a:lnTo>
                <a:lnTo>
                  <a:pt x="3944" y="4398"/>
                </a:lnTo>
                <a:lnTo>
                  <a:pt x="3940" y="4406"/>
                </a:lnTo>
                <a:lnTo>
                  <a:pt x="3940" y="4412"/>
                </a:lnTo>
                <a:lnTo>
                  <a:pt x="3940" y="4416"/>
                </a:lnTo>
                <a:lnTo>
                  <a:pt x="3946" y="4424"/>
                </a:lnTo>
                <a:lnTo>
                  <a:pt x="3948" y="4430"/>
                </a:lnTo>
                <a:lnTo>
                  <a:pt x="3948" y="4434"/>
                </a:lnTo>
                <a:lnTo>
                  <a:pt x="3944" y="4436"/>
                </a:lnTo>
                <a:lnTo>
                  <a:pt x="3928" y="4440"/>
                </a:lnTo>
                <a:lnTo>
                  <a:pt x="3916" y="4444"/>
                </a:lnTo>
                <a:lnTo>
                  <a:pt x="3906" y="4448"/>
                </a:lnTo>
                <a:lnTo>
                  <a:pt x="3900" y="4452"/>
                </a:lnTo>
                <a:lnTo>
                  <a:pt x="3894" y="4458"/>
                </a:lnTo>
                <a:lnTo>
                  <a:pt x="3888" y="4464"/>
                </a:lnTo>
                <a:lnTo>
                  <a:pt x="3886" y="4462"/>
                </a:lnTo>
                <a:lnTo>
                  <a:pt x="3886" y="4456"/>
                </a:lnTo>
                <a:lnTo>
                  <a:pt x="3882" y="4448"/>
                </a:lnTo>
                <a:lnTo>
                  <a:pt x="3878" y="4440"/>
                </a:lnTo>
                <a:lnTo>
                  <a:pt x="3874" y="4434"/>
                </a:lnTo>
                <a:lnTo>
                  <a:pt x="3872" y="4430"/>
                </a:lnTo>
                <a:lnTo>
                  <a:pt x="3874" y="4426"/>
                </a:lnTo>
                <a:lnTo>
                  <a:pt x="3878" y="4422"/>
                </a:lnTo>
                <a:lnTo>
                  <a:pt x="3888" y="4416"/>
                </a:lnTo>
                <a:lnTo>
                  <a:pt x="3898" y="4410"/>
                </a:lnTo>
                <a:lnTo>
                  <a:pt x="3900" y="4410"/>
                </a:lnTo>
                <a:lnTo>
                  <a:pt x="3902" y="4406"/>
                </a:lnTo>
                <a:lnTo>
                  <a:pt x="3906" y="4402"/>
                </a:lnTo>
                <a:lnTo>
                  <a:pt x="3908" y="4398"/>
                </a:lnTo>
                <a:lnTo>
                  <a:pt x="3906" y="4394"/>
                </a:lnTo>
                <a:lnTo>
                  <a:pt x="3904" y="4390"/>
                </a:lnTo>
                <a:lnTo>
                  <a:pt x="3902" y="4386"/>
                </a:lnTo>
                <a:lnTo>
                  <a:pt x="3894" y="4384"/>
                </a:lnTo>
                <a:lnTo>
                  <a:pt x="3886" y="4384"/>
                </a:lnTo>
                <a:lnTo>
                  <a:pt x="3874" y="4386"/>
                </a:lnTo>
                <a:lnTo>
                  <a:pt x="3870" y="4390"/>
                </a:lnTo>
                <a:lnTo>
                  <a:pt x="3866" y="4392"/>
                </a:lnTo>
                <a:lnTo>
                  <a:pt x="3858" y="4402"/>
                </a:lnTo>
                <a:lnTo>
                  <a:pt x="3852" y="4410"/>
                </a:lnTo>
                <a:lnTo>
                  <a:pt x="3840" y="4418"/>
                </a:lnTo>
                <a:lnTo>
                  <a:pt x="3824" y="4428"/>
                </a:lnTo>
                <a:lnTo>
                  <a:pt x="3812" y="4434"/>
                </a:lnTo>
                <a:lnTo>
                  <a:pt x="3802" y="4436"/>
                </a:lnTo>
                <a:lnTo>
                  <a:pt x="3794" y="4434"/>
                </a:lnTo>
                <a:lnTo>
                  <a:pt x="3790" y="4432"/>
                </a:lnTo>
                <a:lnTo>
                  <a:pt x="3786" y="4432"/>
                </a:lnTo>
                <a:lnTo>
                  <a:pt x="3782" y="4434"/>
                </a:lnTo>
                <a:lnTo>
                  <a:pt x="3780" y="4442"/>
                </a:lnTo>
                <a:lnTo>
                  <a:pt x="3776" y="4448"/>
                </a:lnTo>
                <a:lnTo>
                  <a:pt x="3772" y="4452"/>
                </a:lnTo>
                <a:lnTo>
                  <a:pt x="3768" y="4450"/>
                </a:lnTo>
                <a:lnTo>
                  <a:pt x="3762" y="4450"/>
                </a:lnTo>
                <a:lnTo>
                  <a:pt x="3752" y="4446"/>
                </a:lnTo>
                <a:lnTo>
                  <a:pt x="3748" y="4446"/>
                </a:lnTo>
                <a:lnTo>
                  <a:pt x="3746" y="4450"/>
                </a:lnTo>
                <a:lnTo>
                  <a:pt x="3744" y="4456"/>
                </a:lnTo>
                <a:lnTo>
                  <a:pt x="3742" y="4460"/>
                </a:lnTo>
                <a:lnTo>
                  <a:pt x="3734" y="4470"/>
                </a:lnTo>
                <a:lnTo>
                  <a:pt x="3730" y="4476"/>
                </a:lnTo>
                <a:lnTo>
                  <a:pt x="3728" y="4484"/>
                </a:lnTo>
                <a:lnTo>
                  <a:pt x="3726" y="4492"/>
                </a:lnTo>
                <a:lnTo>
                  <a:pt x="3726" y="4506"/>
                </a:lnTo>
                <a:lnTo>
                  <a:pt x="3726" y="4518"/>
                </a:lnTo>
                <a:lnTo>
                  <a:pt x="3724" y="4524"/>
                </a:lnTo>
                <a:lnTo>
                  <a:pt x="3720" y="4528"/>
                </a:lnTo>
                <a:lnTo>
                  <a:pt x="3716" y="4530"/>
                </a:lnTo>
                <a:lnTo>
                  <a:pt x="3712" y="4530"/>
                </a:lnTo>
                <a:lnTo>
                  <a:pt x="3708" y="4530"/>
                </a:lnTo>
                <a:lnTo>
                  <a:pt x="3704" y="4534"/>
                </a:lnTo>
                <a:lnTo>
                  <a:pt x="3702" y="4540"/>
                </a:lnTo>
                <a:lnTo>
                  <a:pt x="3700" y="4548"/>
                </a:lnTo>
                <a:lnTo>
                  <a:pt x="3696" y="4554"/>
                </a:lnTo>
                <a:lnTo>
                  <a:pt x="3684" y="4560"/>
                </a:lnTo>
                <a:lnTo>
                  <a:pt x="3680" y="4562"/>
                </a:lnTo>
                <a:lnTo>
                  <a:pt x="3676" y="4566"/>
                </a:lnTo>
                <a:lnTo>
                  <a:pt x="3674" y="4572"/>
                </a:lnTo>
                <a:lnTo>
                  <a:pt x="3676" y="4580"/>
                </a:lnTo>
                <a:lnTo>
                  <a:pt x="3678" y="4592"/>
                </a:lnTo>
                <a:lnTo>
                  <a:pt x="3678" y="4598"/>
                </a:lnTo>
                <a:lnTo>
                  <a:pt x="3674" y="4596"/>
                </a:lnTo>
                <a:lnTo>
                  <a:pt x="3654" y="4566"/>
                </a:lnTo>
                <a:lnTo>
                  <a:pt x="3642" y="4552"/>
                </a:lnTo>
                <a:lnTo>
                  <a:pt x="3630" y="4540"/>
                </a:lnTo>
                <a:lnTo>
                  <a:pt x="3622" y="4534"/>
                </a:lnTo>
                <a:lnTo>
                  <a:pt x="3614" y="4530"/>
                </a:lnTo>
                <a:lnTo>
                  <a:pt x="3606" y="4528"/>
                </a:lnTo>
                <a:lnTo>
                  <a:pt x="3598" y="4528"/>
                </a:lnTo>
                <a:lnTo>
                  <a:pt x="3588" y="4528"/>
                </a:lnTo>
                <a:lnTo>
                  <a:pt x="3588" y="4526"/>
                </a:lnTo>
                <a:lnTo>
                  <a:pt x="3586" y="4524"/>
                </a:lnTo>
                <a:lnTo>
                  <a:pt x="3576" y="4520"/>
                </a:lnTo>
                <a:lnTo>
                  <a:pt x="3562" y="4520"/>
                </a:lnTo>
                <a:lnTo>
                  <a:pt x="3560" y="4522"/>
                </a:lnTo>
                <a:lnTo>
                  <a:pt x="3560" y="4524"/>
                </a:lnTo>
                <a:lnTo>
                  <a:pt x="3556" y="4530"/>
                </a:lnTo>
                <a:lnTo>
                  <a:pt x="3554" y="4534"/>
                </a:lnTo>
                <a:lnTo>
                  <a:pt x="3546" y="4536"/>
                </a:lnTo>
                <a:lnTo>
                  <a:pt x="3524" y="4546"/>
                </a:lnTo>
                <a:lnTo>
                  <a:pt x="3518" y="4552"/>
                </a:lnTo>
                <a:lnTo>
                  <a:pt x="3514" y="4556"/>
                </a:lnTo>
                <a:lnTo>
                  <a:pt x="3498" y="4562"/>
                </a:lnTo>
                <a:lnTo>
                  <a:pt x="3492" y="4562"/>
                </a:lnTo>
                <a:lnTo>
                  <a:pt x="3488" y="4560"/>
                </a:lnTo>
                <a:lnTo>
                  <a:pt x="3480" y="4552"/>
                </a:lnTo>
                <a:lnTo>
                  <a:pt x="3476" y="4546"/>
                </a:lnTo>
                <a:lnTo>
                  <a:pt x="3474" y="4544"/>
                </a:lnTo>
                <a:lnTo>
                  <a:pt x="3472" y="4542"/>
                </a:lnTo>
                <a:lnTo>
                  <a:pt x="3470" y="4542"/>
                </a:lnTo>
                <a:lnTo>
                  <a:pt x="3470" y="4544"/>
                </a:lnTo>
                <a:lnTo>
                  <a:pt x="3470" y="4548"/>
                </a:lnTo>
                <a:lnTo>
                  <a:pt x="3470" y="4550"/>
                </a:lnTo>
                <a:lnTo>
                  <a:pt x="3468" y="4552"/>
                </a:lnTo>
                <a:lnTo>
                  <a:pt x="3464" y="4552"/>
                </a:lnTo>
                <a:lnTo>
                  <a:pt x="3460" y="4550"/>
                </a:lnTo>
                <a:lnTo>
                  <a:pt x="3456" y="4546"/>
                </a:lnTo>
                <a:lnTo>
                  <a:pt x="3458" y="4544"/>
                </a:lnTo>
                <a:lnTo>
                  <a:pt x="3460" y="4542"/>
                </a:lnTo>
                <a:lnTo>
                  <a:pt x="3460" y="4540"/>
                </a:lnTo>
                <a:lnTo>
                  <a:pt x="3458" y="4538"/>
                </a:lnTo>
                <a:lnTo>
                  <a:pt x="3456" y="4540"/>
                </a:lnTo>
                <a:lnTo>
                  <a:pt x="3454" y="4538"/>
                </a:lnTo>
                <a:lnTo>
                  <a:pt x="3452" y="4534"/>
                </a:lnTo>
                <a:lnTo>
                  <a:pt x="3452" y="4530"/>
                </a:lnTo>
                <a:lnTo>
                  <a:pt x="3450" y="4528"/>
                </a:lnTo>
                <a:lnTo>
                  <a:pt x="3444" y="4524"/>
                </a:lnTo>
                <a:lnTo>
                  <a:pt x="3440" y="4516"/>
                </a:lnTo>
                <a:lnTo>
                  <a:pt x="3432" y="4508"/>
                </a:lnTo>
                <a:lnTo>
                  <a:pt x="3422" y="4498"/>
                </a:lnTo>
                <a:lnTo>
                  <a:pt x="3412" y="4484"/>
                </a:lnTo>
                <a:lnTo>
                  <a:pt x="3408" y="4474"/>
                </a:lnTo>
                <a:lnTo>
                  <a:pt x="3406" y="4466"/>
                </a:lnTo>
                <a:lnTo>
                  <a:pt x="3404" y="4460"/>
                </a:lnTo>
                <a:lnTo>
                  <a:pt x="3400" y="4456"/>
                </a:lnTo>
                <a:lnTo>
                  <a:pt x="3398" y="4452"/>
                </a:lnTo>
                <a:lnTo>
                  <a:pt x="3394" y="4444"/>
                </a:lnTo>
                <a:lnTo>
                  <a:pt x="3392" y="4436"/>
                </a:lnTo>
                <a:lnTo>
                  <a:pt x="3394" y="4430"/>
                </a:lnTo>
                <a:lnTo>
                  <a:pt x="3396" y="4426"/>
                </a:lnTo>
                <a:lnTo>
                  <a:pt x="3398" y="4424"/>
                </a:lnTo>
                <a:lnTo>
                  <a:pt x="3400" y="4422"/>
                </a:lnTo>
                <a:lnTo>
                  <a:pt x="3400" y="4416"/>
                </a:lnTo>
                <a:lnTo>
                  <a:pt x="3400" y="4412"/>
                </a:lnTo>
                <a:lnTo>
                  <a:pt x="3398" y="4410"/>
                </a:lnTo>
                <a:lnTo>
                  <a:pt x="3396" y="4410"/>
                </a:lnTo>
                <a:lnTo>
                  <a:pt x="3396" y="4408"/>
                </a:lnTo>
                <a:lnTo>
                  <a:pt x="3396" y="4404"/>
                </a:lnTo>
                <a:lnTo>
                  <a:pt x="3400" y="4390"/>
                </a:lnTo>
                <a:lnTo>
                  <a:pt x="3402" y="4384"/>
                </a:lnTo>
                <a:lnTo>
                  <a:pt x="3404" y="4384"/>
                </a:lnTo>
                <a:lnTo>
                  <a:pt x="3408" y="4384"/>
                </a:lnTo>
                <a:lnTo>
                  <a:pt x="3408" y="4378"/>
                </a:lnTo>
                <a:lnTo>
                  <a:pt x="3406" y="4364"/>
                </a:lnTo>
                <a:lnTo>
                  <a:pt x="3404" y="4344"/>
                </a:lnTo>
                <a:lnTo>
                  <a:pt x="3404" y="4334"/>
                </a:lnTo>
                <a:lnTo>
                  <a:pt x="3404" y="4330"/>
                </a:lnTo>
                <a:lnTo>
                  <a:pt x="3406" y="4326"/>
                </a:lnTo>
                <a:lnTo>
                  <a:pt x="3408" y="4318"/>
                </a:lnTo>
                <a:lnTo>
                  <a:pt x="3410" y="4306"/>
                </a:lnTo>
                <a:lnTo>
                  <a:pt x="3414" y="4296"/>
                </a:lnTo>
                <a:lnTo>
                  <a:pt x="3418" y="4288"/>
                </a:lnTo>
                <a:lnTo>
                  <a:pt x="3420" y="4284"/>
                </a:lnTo>
                <a:lnTo>
                  <a:pt x="3418" y="4280"/>
                </a:lnTo>
                <a:lnTo>
                  <a:pt x="3416" y="4274"/>
                </a:lnTo>
                <a:lnTo>
                  <a:pt x="3416" y="4268"/>
                </a:lnTo>
                <a:lnTo>
                  <a:pt x="3418" y="4262"/>
                </a:lnTo>
                <a:lnTo>
                  <a:pt x="3422" y="4256"/>
                </a:lnTo>
                <a:lnTo>
                  <a:pt x="3420" y="4254"/>
                </a:lnTo>
                <a:lnTo>
                  <a:pt x="3418" y="4250"/>
                </a:lnTo>
                <a:lnTo>
                  <a:pt x="3414" y="4244"/>
                </a:lnTo>
                <a:lnTo>
                  <a:pt x="3406" y="4238"/>
                </a:lnTo>
                <a:lnTo>
                  <a:pt x="3390" y="4230"/>
                </a:lnTo>
                <a:lnTo>
                  <a:pt x="3380" y="4220"/>
                </a:lnTo>
                <a:lnTo>
                  <a:pt x="3372" y="4214"/>
                </a:lnTo>
                <a:lnTo>
                  <a:pt x="3360" y="4210"/>
                </a:lnTo>
                <a:lnTo>
                  <a:pt x="3350" y="4206"/>
                </a:lnTo>
                <a:lnTo>
                  <a:pt x="3344" y="4208"/>
                </a:lnTo>
                <a:lnTo>
                  <a:pt x="3340" y="4210"/>
                </a:lnTo>
                <a:lnTo>
                  <a:pt x="3334" y="4210"/>
                </a:lnTo>
                <a:lnTo>
                  <a:pt x="3328" y="4210"/>
                </a:lnTo>
                <a:lnTo>
                  <a:pt x="3320" y="4206"/>
                </a:lnTo>
                <a:lnTo>
                  <a:pt x="3308" y="4204"/>
                </a:lnTo>
                <a:lnTo>
                  <a:pt x="3306" y="4204"/>
                </a:lnTo>
                <a:lnTo>
                  <a:pt x="3308" y="4206"/>
                </a:lnTo>
                <a:lnTo>
                  <a:pt x="3308" y="4208"/>
                </a:lnTo>
                <a:lnTo>
                  <a:pt x="3304" y="4212"/>
                </a:lnTo>
                <a:lnTo>
                  <a:pt x="3294" y="4216"/>
                </a:lnTo>
                <a:lnTo>
                  <a:pt x="3278" y="4216"/>
                </a:lnTo>
                <a:lnTo>
                  <a:pt x="3268" y="4214"/>
                </a:lnTo>
                <a:lnTo>
                  <a:pt x="3258" y="4214"/>
                </a:lnTo>
                <a:lnTo>
                  <a:pt x="3248" y="4214"/>
                </a:lnTo>
                <a:lnTo>
                  <a:pt x="3244" y="4214"/>
                </a:lnTo>
                <a:lnTo>
                  <a:pt x="3242" y="4214"/>
                </a:lnTo>
                <a:lnTo>
                  <a:pt x="3242" y="4210"/>
                </a:lnTo>
                <a:lnTo>
                  <a:pt x="3240" y="4208"/>
                </a:lnTo>
                <a:lnTo>
                  <a:pt x="3236" y="4208"/>
                </a:lnTo>
                <a:lnTo>
                  <a:pt x="3232" y="4210"/>
                </a:lnTo>
                <a:lnTo>
                  <a:pt x="3228" y="4216"/>
                </a:lnTo>
                <a:lnTo>
                  <a:pt x="3222" y="4220"/>
                </a:lnTo>
                <a:lnTo>
                  <a:pt x="3220" y="4222"/>
                </a:lnTo>
                <a:lnTo>
                  <a:pt x="3216" y="4220"/>
                </a:lnTo>
                <a:lnTo>
                  <a:pt x="3206" y="4210"/>
                </a:lnTo>
                <a:lnTo>
                  <a:pt x="3202" y="4208"/>
                </a:lnTo>
                <a:lnTo>
                  <a:pt x="3200" y="4208"/>
                </a:lnTo>
                <a:lnTo>
                  <a:pt x="3202" y="4210"/>
                </a:lnTo>
                <a:lnTo>
                  <a:pt x="3204" y="4214"/>
                </a:lnTo>
                <a:lnTo>
                  <a:pt x="3202" y="4218"/>
                </a:lnTo>
                <a:lnTo>
                  <a:pt x="3200" y="4220"/>
                </a:lnTo>
                <a:lnTo>
                  <a:pt x="3198" y="4218"/>
                </a:lnTo>
                <a:lnTo>
                  <a:pt x="3194" y="4214"/>
                </a:lnTo>
                <a:lnTo>
                  <a:pt x="3188" y="4210"/>
                </a:lnTo>
                <a:lnTo>
                  <a:pt x="3188" y="4206"/>
                </a:lnTo>
                <a:lnTo>
                  <a:pt x="3190" y="4202"/>
                </a:lnTo>
                <a:lnTo>
                  <a:pt x="3196" y="4196"/>
                </a:lnTo>
                <a:lnTo>
                  <a:pt x="3202" y="4188"/>
                </a:lnTo>
                <a:lnTo>
                  <a:pt x="3210" y="4182"/>
                </a:lnTo>
                <a:lnTo>
                  <a:pt x="3212" y="4176"/>
                </a:lnTo>
                <a:lnTo>
                  <a:pt x="3214" y="4166"/>
                </a:lnTo>
                <a:lnTo>
                  <a:pt x="3216" y="4144"/>
                </a:lnTo>
                <a:lnTo>
                  <a:pt x="3218" y="4120"/>
                </a:lnTo>
                <a:lnTo>
                  <a:pt x="3222" y="4098"/>
                </a:lnTo>
                <a:lnTo>
                  <a:pt x="3222" y="4092"/>
                </a:lnTo>
                <a:lnTo>
                  <a:pt x="3222" y="4090"/>
                </a:lnTo>
                <a:lnTo>
                  <a:pt x="3220" y="4088"/>
                </a:lnTo>
                <a:lnTo>
                  <a:pt x="3218" y="4088"/>
                </a:lnTo>
                <a:lnTo>
                  <a:pt x="3214" y="4090"/>
                </a:lnTo>
                <a:lnTo>
                  <a:pt x="3212" y="4090"/>
                </a:lnTo>
                <a:lnTo>
                  <a:pt x="3212" y="4084"/>
                </a:lnTo>
                <a:lnTo>
                  <a:pt x="3220" y="4066"/>
                </a:lnTo>
                <a:lnTo>
                  <a:pt x="3224" y="4064"/>
                </a:lnTo>
                <a:lnTo>
                  <a:pt x="3226" y="4068"/>
                </a:lnTo>
                <a:lnTo>
                  <a:pt x="3224" y="4074"/>
                </a:lnTo>
                <a:lnTo>
                  <a:pt x="3222" y="4078"/>
                </a:lnTo>
                <a:lnTo>
                  <a:pt x="3224" y="4082"/>
                </a:lnTo>
                <a:lnTo>
                  <a:pt x="3228" y="4086"/>
                </a:lnTo>
                <a:lnTo>
                  <a:pt x="3230" y="4094"/>
                </a:lnTo>
                <a:lnTo>
                  <a:pt x="3232" y="4094"/>
                </a:lnTo>
                <a:lnTo>
                  <a:pt x="3234" y="4092"/>
                </a:lnTo>
                <a:lnTo>
                  <a:pt x="3238" y="4076"/>
                </a:lnTo>
                <a:lnTo>
                  <a:pt x="3242" y="4058"/>
                </a:lnTo>
                <a:lnTo>
                  <a:pt x="3246" y="4044"/>
                </a:lnTo>
                <a:lnTo>
                  <a:pt x="3246" y="4042"/>
                </a:lnTo>
                <a:lnTo>
                  <a:pt x="3244" y="4040"/>
                </a:lnTo>
                <a:lnTo>
                  <a:pt x="3240" y="4042"/>
                </a:lnTo>
                <a:lnTo>
                  <a:pt x="3238" y="4042"/>
                </a:lnTo>
                <a:lnTo>
                  <a:pt x="3242" y="4036"/>
                </a:lnTo>
                <a:lnTo>
                  <a:pt x="3250" y="4028"/>
                </a:lnTo>
                <a:lnTo>
                  <a:pt x="3250" y="4026"/>
                </a:lnTo>
                <a:lnTo>
                  <a:pt x="3244" y="4028"/>
                </a:lnTo>
                <a:lnTo>
                  <a:pt x="3238" y="4028"/>
                </a:lnTo>
                <a:lnTo>
                  <a:pt x="3236" y="4026"/>
                </a:lnTo>
                <a:lnTo>
                  <a:pt x="3238" y="4022"/>
                </a:lnTo>
                <a:lnTo>
                  <a:pt x="3242" y="4018"/>
                </a:lnTo>
                <a:lnTo>
                  <a:pt x="3246" y="4016"/>
                </a:lnTo>
                <a:lnTo>
                  <a:pt x="3248" y="4012"/>
                </a:lnTo>
                <a:lnTo>
                  <a:pt x="3248" y="4002"/>
                </a:lnTo>
                <a:lnTo>
                  <a:pt x="3252" y="3988"/>
                </a:lnTo>
                <a:lnTo>
                  <a:pt x="3256" y="3980"/>
                </a:lnTo>
                <a:lnTo>
                  <a:pt x="3264" y="3970"/>
                </a:lnTo>
                <a:lnTo>
                  <a:pt x="3274" y="3956"/>
                </a:lnTo>
                <a:lnTo>
                  <a:pt x="3276" y="3950"/>
                </a:lnTo>
                <a:lnTo>
                  <a:pt x="3274" y="3946"/>
                </a:lnTo>
                <a:lnTo>
                  <a:pt x="3274" y="3940"/>
                </a:lnTo>
                <a:lnTo>
                  <a:pt x="3274" y="3936"/>
                </a:lnTo>
                <a:lnTo>
                  <a:pt x="3272" y="3934"/>
                </a:lnTo>
                <a:lnTo>
                  <a:pt x="3270" y="3932"/>
                </a:lnTo>
                <a:lnTo>
                  <a:pt x="3266" y="3928"/>
                </a:lnTo>
                <a:lnTo>
                  <a:pt x="3264" y="3926"/>
                </a:lnTo>
                <a:lnTo>
                  <a:pt x="3262" y="3924"/>
                </a:lnTo>
                <a:lnTo>
                  <a:pt x="3256" y="3926"/>
                </a:lnTo>
                <a:lnTo>
                  <a:pt x="3252" y="3928"/>
                </a:lnTo>
                <a:lnTo>
                  <a:pt x="3254" y="3928"/>
                </a:lnTo>
                <a:lnTo>
                  <a:pt x="3260" y="3930"/>
                </a:lnTo>
                <a:lnTo>
                  <a:pt x="3260" y="3932"/>
                </a:lnTo>
                <a:lnTo>
                  <a:pt x="3256" y="3934"/>
                </a:lnTo>
                <a:lnTo>
                  <a:pt x="3254" y="3934"/>
                </a:lnTo>
                <a:lnTo>
                  <a:pt x="3250" y="3934"/>
                </a:lnTo>
                <a:lnTo>
                  <a:pt x="3242" y="3930"/>
                </a:lnTo>
                <a:lnTo>
                  <a:pt x="3230" y="3926"/>
                </a:lnTo>
                <a:lnTo>
                  <a:pt x="3222" y="3926"/>
                </a:lnTo>
                <a:lnTo>
                  <a:pt x="3214" y="3926"/>
                </a:lnTo>
                <a:lnTo>
                  <a:pt x="3202" y="3928"/>
                </a:lnTo>
                <a:lnTo>
                  <a:pt x="3196" y="3932"/>
                </a:lnTo>
                <a:lnTo>
                  <a:pt x="3192" y="3934"/>
                </a:lnTo>
                <a:lnTo>
                  <a:pt x="3180" y="3936"/>
                </a:lnTo>
                <a:lnTo>
                  <a:pt x="3162" y="3940"/>
                </a:lnTo>
                <a:lnTo>
                  <a:pt x="3146" y="3944"/>
                </a:lnTo>
                <a:lnTo>
                  <a:pt x="3140" y="3948"/>
                </a:lnTo>
                <a:lnTo>
                  <a:pt x="3134" y="3950"/>
                </a:lnTo>
                <a:lnTo>
                  <a:pt x="3132" y="3954"/>
                </a:lnTo>
                <a:lnTo>
                  <a:pt x="3130" y="3960"/>
                </a:lnTo>
                <a:lnTo>
                  <a:pt x="3130" y="3966"/>
                </a:lnTo>
                <a:lnTo>
                  <a:pt x="3126" y="3972"/>
                </a:lnTo>
                <a:lnTo>
                  <a:pt x="3124" y="3980"/>
                </a:lnTo>
                <a:lnTo>
                  <a:pt x="3126" y="3994"/>
                </a:lnTo>
                <a:lnTo>
                  <a:pt x="3126" y="4006"/>
                </a:lnTo>
                <a:lnTo>
                  <a:pt x="3124" y="4010"/>
                </a:lnTo>
                <a:lnTo>
                  <a:pt x="3122" y="4010"/>
                </a:lnTo>
                <a:lnTo>
                  <a:pt x="3118" y="4016"/>
                </a:lnTo>
                <a:lnTo>
                  <a:pt x="3118" y="4020"/>
                </a:lnTo>
                <a:lnTo>
                  <a:pt x="3116" y="4026"/>
                </a:lnTo>
                <a:lnTo>
                  <a:pt x="3114" y="4034"/>
                </a:lnTo>
                <a:lnTo>
                  <a:pt x="3112" y="4042"/>
                </a:lnTo>
                <a:lnTo>
                  <a:pt x="3108" y="4046"/>
                </a:lnTo>
                <a:lnTo>
                  <a:pt x="3104" y="4050"/>
                </a:lnTo>
                <a:lnTo>
                  <a:pt x="3094" y="4058"/>
                </a:lnTo>
                <a:lnTo>
                  <a:pt x="3086" y="4062"/>
                </a:lnTo>
                <a:lnTo>
                  <a:pt x="3084" y="4064"/>
                </a:lnTo>
                <a:lnTo>
                  <a:pt x="3084" y="4066"/>
                </a:lnTo>
                <a:lnTo>
                  <a:pt x="3088" y="4068"/>
                </a:lnTo>
                <a:lnTo>
                  <a:pt x="3092" y="4070"/>
                </a:lnTo>
                <a:lnTo>
                  <a:pt x="3092" y="4074"/>
                </a:lnTo>
                <a:lnTo>
                  <a:pt x="3092" y="4076"/>
                </a:lnTo>
                <a:lnTo>
                  <a:pt x="3086" y="4082"/>
                </a:lnTo>
                <a:lnTo>
                  <a:pt x="3080" y="4084"/>
                </a:lnTo>
                <a:lnTo>
                  <a:pt x="3072" y="4084"/>
                </a:lnTo>
                <a:lnTo>
                  <a:pt x="3070" y="4082"/>
                </a:lnTo>
                <a:lnTo>
                  <a:pt x="3070" y="4080"/>
                </a:lnTo>
                <a:lnTo>
                  <a:pt x="3068" y="4074"/>
                </a:lnTo>
                <a:lnTo>
                  <a:pt x="3066" y="4072"/>
                </a:lnTo>
                <a:lnTo>
                  <a:pt x="3058" y="4070"/>
                </a:lnTo>
                <a:lnTo>
                  <a:pt x="3046" y="4072"/>
                </a:lnTo>
                <a:lnTo>
                  <a:pt x="3038" y="4074"/>
                </a:lnTo>
                <a:lnTo>
                  <a:pt x="3034" y="4076"/>
                </a:lnTo>
                <a:lnTo>
                  <a:pt x="3028" y="4080"/>
                </a:lnTo>
                <a:lnTo>
                  <a:pt x="3012" y="4084"/>
                </a:lnTo>
                <a:lnTo>
                  <a:pt x="2996" y="4086"/>
                </a:lnTo>
                <a:lnTo>
                  <a:pt x="2986" y="4090"/>
                </a:lnTo>
                <a:lnTo>
                  <a:pt x="2978" y="4096"/>
                </a:lnTo>
                <a:lnTo>
                  <a:pt x="2968" y="4098"/>
                </a:lnTo>
                <a:lnTo>
                  <a:pt x="2964" y="4098"/>
                </a:lnTo>
                <a:lnTo>
                  <a:pt x="2962" y="4096"/>
                </a:lnTo>
                <a:lnTo>
                  <a:pt x="2956" y="4088"/>
                </a:lnTo>
                <a:lnTo>
                  <a:pt x="2954" y="4082"/>
                </a:lnTo>
                <a:lnTo>
                  <a:pt x="2948" y="4078"/>
                </a:lnTo>
                <a:lnTo>
                  <a:pt x="2938" y="4072"/>
                </a:lnTo>
                <a:lnTo>
                  <a:pt x="2924" y="4070"/>
                </a:lnTo>
                <a:lnTo>
                  <a:pt x="2912" y="4066"/>
                </a:lnTo>
                <a:lnTo>
                  <a:pt x="2904" y="4060"/>
                </a:lnTo>
                <a:lnTo>
                  <a:pt x="2900" y="4052"/>
                </a:lnTo>
                <a:lnTo>
                  <a:pt x="2894" y="4042"/>
                </a:lnTo>
                <a:lnTo>
                  <a:pt x="2884" y="4016"/>
                </a:lnTo>
                <a:lnTo>
                  <a:pt x="2876" y="4000"/>
                </a:lnTo>
                <a:lnTo>
                  <a:pt x="2866" y="3986"/>
                </a:lnTo>
                <a:lnTo>
                  <a:pt x="2858" y="3976"/>
                </a:lnTo>
                <a:lnTo>
                  <a:pt x="2854" y="3966"/>
                </a:lnTo>
                <a:lnTo>
                  <a:pt x="2848" y="3950"/>
                </a:lnTo>
                <a:lnTo>
                  <a:pt x="2846" y="3936"/>
                </a:lnTo>
                <a:lnTo>
                  <a:pt x="2844" y="3932"/>
                </a:lnTo>
                <a:lnTo>
                  <a:pt x="2842" y="3932"/>
                </a:lnTo>
                <a:lnTo>
                  <a:pt x="2840" y="3930"/>
                </a:lnTo>
                <a:lnTo>
                  <a:pt x="2838" y="3926"/>
                </a:lnTo>
                <a:lnTo>
                  <a:pt x="2834" y="3916"/>
                </a:lnTo>
                <a:lnTo>
                  <a:pt x="2832" y="3886"/>
                </a:lnTo>
                <a:lnTo>
                  <a:pt x="2830" y="3876"/>
                </a:lnTo>
                <a:lnTo>
                  <a:pt x="2828" y="3874"/>
                </a:lnTo>
                <a:lnTo>
                  <a:pt x="2828" y="3872"/>
                </a:lnTo>
                <a:lnTo>
                  <a:pt x="2830" y="3866"/>
                </a:lnTo>
                <a:lnTo>
                  <a:pt x="2832" y="3856"/>
                </a:lnTo>
                <a:lnTo>
                  <a:pt x="2832" y="3846"/>
                </a:lnTo>
                <a:lnTo>
                  <a:pt x="2832" y="3826"/>
                </a:lnTo>
                <a:lnTo>
                  <a:pt x="2834" y="3792"/>
                </a:lnTo>
                <a:lnTo>
                  <a:pt x="2840" y="3760"/>
                </a:lnTo>
                <a:lnTo>
                  <a:pt x="2846" y="3738"/>
                </a:lnTo>
                <a:lnTo>
                  <a:pt x="2852" y="3724"/>
                </a:lnTo>
                <a:lnTo>
                  <a:pt x="2856" y="3706"/>
                </a:lnTo>
                <a:lnTo>
                  <a:pt x="2854" y="3688"/>
                </a:lnTo>
                <a:lnTo>
                  <a:pt x="2850" y="3668"/>
                </a:lnTo>
                <a:lnTo>
                  <a:pt x="2848" y="3650"/>
                </a:lnTo>
                <a:lnTo>
                  <a:pt x="2846" y="3636"/>
                </a:lnTo>
                <a:lnTo>
                  <a:pt x="2850" y="3626"/>
                </a:lnTo>
                <a:lnTo>
                  <a:pt x="2854" y="3618"/>
                </a:lnTo>
                <a:lnTo>
                  <a:pt x="2860" y="3610"/>
                </a:lnTo>
                <a:lnTo>
                  <a:pt x="2864" y="3602"/>
                </a:lnTo>
                <a:lnTo>
                  <a:pt x="2866" y="3596"/>
                </a:lnTo>
                <a:lnTo>
                  <a:pt x="2870" y="3592"/>
                </a:lnTo>
                <a:lnTo>
                  <a:pt x="2880" y="3586"/>
                </a:lnTo>
                <a:lnTo>
                  <a:pt x="2886" y="3582"/>
                </a:lnTo>
                <a:lnTo>
                  <a:pt x="2888" y="3578"/>
                </a:lnTo>
                <a:lnTo>
                  <a:pt x="2888" y="3576"/>
                </a:lnTo>
                <a:lnTo>
                  <a:pt x="2880" y="3568"/>
                </a:lnTo>
                <a:lnTo>
                  <a:pt x="2878" y="3566"/>
                </a:lnTo>
                <a:lnTo>
                  <a:pt x="2882" y="3566"/>
                </a:lnTo>
                <a:lnTo>
                  <a:pt x="2888" y="3568"/>
                </a:lnTo>
                <a:lnTo>
                  <a:pt x="2890" y="3566"/>
                </a:lnTo>
                <a:lnTo>
                  <a:pt x="2892" y="3566"/>
                </a:lnTo>
                <a:lnTo>
                  <a:pt x="2894" y="3566"/>
                </a:lnTo>
                <a:lnTo>
                  <a:pt x="2898" y="3568"/>
                </a:lnTo>
                <a:lnTo>
                  <a:pt x="2902" y="3568"/>
                </a:lnTo>
                <a:lnTo>
                  <a:pt x="2914" y="3564"/>
                </a:lnTo>
                <a:lnTo>
                  <a:pt x="2926" y="3556"/>
                </a:lnTo>
                <a:lnTo>
                  <a:pt x="2936" y="3546"/>
                </a:lnTo>
                <a:lnTo>
                  <a:pt x="2942" y="3538"/>
                </a:lnTo>
                <a:lnTo>
                  <a:pt x="2948" y="3534"/>
                </a:lnTo>
                <a:lnTo>
                  <a:pt x="2966" y="3522"/>
                </a:lnTo>
                <a:lnTo>
                  <a:pt x="2982" y="3512"/>
                </a:lnTo>
                <a:lnTo>
                  <a:pt x="2990" y="3508"/>
                </a:lnTo>
                <a:lnTo>
                  <a:pt x="3006" y="3508"/>
                </a:lnTo>
                <a:lnTo>
                  <a:pt x="3014" y="3508"/>
                </a:lnTo>
                <a:lnTo>
                  <a:pt x="3022" y="3510"/>
                </a:lnTo>
                <a:lnTo>
                  <a:pt x="3032" y="3514"/>
                </a:lnTo>
                <a:lnTo>
                  <a:pt x="3042" y="3518"/>
                </a:lnTo>
                <a:lnTo>
                  <a:pt x="3046" y="3520"/>
                </a:lnTo>
                <a:lnTo>
                  <a:pt x="3052" y="3520"/>
                </a:lnTo>
                <a:lnTo>
                  <a:pt x="3060" y="3518"/>
                </a:lnTo>
                <a:lnTo>
                  <a:pt x="3066" y="3520"/>
                </a:lnTo>
                <a:lnTo>
                  <a:pt x="3068" y="3522"/>
                </a:lnTo>
                <a:lnTo>
                  <a:pt x="3074" y="3520"/>
                </a:lnTo>
                <a:lnTo>
                  <a:pt x="3074" y="3518"/>
                </a:lnTo>
                <a:lnTo>
                  <a:pt x="3072" y="3516"/>
                </a:lnTo>
                <a:lnTo>
                  <a:pt x="3066" y="3514"/>
                </a:lnTo>
                <a:lnTo>
                  <a:pt x="3060" y="3512"/>
                </a:lnTo>
                <a:lnTo>
                  <a:pt x="3058" y="3510"/>
                </a:lnTo>
                <a:lnTo>
                  <a:pt x="3062" y="3508"/>
                </a:lnTo>
                <a:lnTo>
                  <a:pt x="3070" y="3506"/>
                </a:lnTo>
                <a:lnTo>
                  <a:pt x="3076" y="3506"/>
                </a:lnTo>
                <a:lnTo>
                  <a:pt x="3080" y="3512"/>
                </a:lnTo>
                <a:lnTo>
                  <a:pt x="3082" y="3516"/>
                </a:lnTo>
                <a:lnTo>
                  <a:pt x="3084" y="3520"/>
                </a:lnTo>
                <a:lnTo>
                  <a:pt x="3086" y="3520"/>
                </a:lnTo>
                <a:lnTo>
                  <a:pt x="3092" y="3522"/>
                </a:lnTo>
                <a:lnTo>
                  <a:pt x="3096" y="3526"/>
                </a:lnTo>
                <a:lnTo>
                  <a:pt x="3096" y="3528"/>
                </a:lnTo>
                <a:lnTo>
                  <a:pt x="3094" y="3530"/>
                </a:lnTo>
                <a:lnTo>
                  <a:pt x="3092" y="3532"/>
                </a:lnTo>
                <a:lnTo>
                  <a:pt x="3094" y="3534"/>
                </a:lnTo>
                <a:lnTo>
                  <a:pt x="3102" y="3538"/>
                </a:lnTo>
                <a:lnTo>
                  <a:pt x="3112" y="3540"/>
                </a:lnTo>
                <a:lnTo>
                  <a:pt x="3118" y="3540"/>
                </a:lnTo>
                <a:lnTo>
                  <a:pt x="3122" y="3536"/>
                </a:lnTo>
                <a:lnTo>
                  <a:pt x="3126" y="3534"/>
                </a:lnTo>
                <a:lnTo>
                  <a:pt x="3130" y="3534"/>
                </a:lnTo>
                <a:lnTo>
                  <a:pt x="3134" y="3540"/>
                </a:lnTo>
                <a:lnTo>
                  <a:pt x="3136" y="3542"/>
                </a:lnTo>
                <a:lnTo>
                  <a:pt x="3138" y="3542"/>
                </a:lnTo>
                <a:lnTo>
                  <a:pt x="3142" y="3540"/>
                </a:lnTo>
                <a:lnTo>
                  <a:pt x="3144" y="3534"/>
                </a:lnTo>
                <a:lnTo>
                  <a:pt x="3144" y="3532"/>
                </a:lnTo>
                <a:lnTo>
                  <a:pt x="3144" y="3528"/>
                </a:lnTo>
                <a:lnTo>
                  <a:pt x="3142" y="3522"/>
                </a:lnTo>
                <a:lnTo>
                  <a:pt x="3146" y="3522"/>
                </a:lnTo>
                <a:lnTo>
                  <a:pt x="3152" y="3526"/>
                </a:lnTo>
                <a:lnTo>
                  <a:pt x="3160" y="3532"/>
                </a:lnTo>
                <a:lnTo>
                  <a:pt x="3166" y="3542"/>
                </a:lnTo>
                <a:lnTo>
                  <a:pt x="3168" y="3548"/>
                </a:lnTo>
                <a:lnTo>
                  <a:pt x="3168" y="3550"/>
                </a:lnTo>
                <a:lnTo>
                  <a:pt x="3170" y="3550"/>
                </a:lnTo>
                <a:lnTo>
                  <a:pt x="3178" y="3546"/>
                </a:lnTo>
                <a:lnTo>
                  <a:pt x="3182" y="3542"/>
                </a:lnTo>
                <a:lnTo>
                  <a:pt x="3182" y="3538"/>
                </a:lnTo>
                <a:lnTo>
                  <a:pt x="3182" y="3536"/>
                </a:lnTo>
                <a:lnTo>
                  <a:pt x="3182" y="3534"/>
                </a:lnTo>
                <a:lnTo>
                  <a:pt x="3174" y="3528"/>
                </a:lnTo>
                <a:lnTo>
                  <a:pt x="3164" y="3522"/>
                </a:lnTo>
                <a:lnTo>
                  <a:pt x="3160" y="3520"/>
                </a:lnTo>
                <a:lnTo>
                  <a:pt x="3158" y="3516"/>
                </a:lnTo>
                <a:lnTo>
                  <a:pt x="3160" y="3514"/>
                </a:lnTo>
                <a:lnTo>
                  <a:pt x="3164" y="3512"/>
                </a:lnTo>
                <a:lnTo>
                  <a:pt x="3170" y="3508"/>
                </a:lnTo>
                <a:lnTo>
                  <a:pt x="3172" y="3504"/>
                </a:lnTo>
                <a:lnTo>
                  <a:pt x="3172" y="3500"/>
                </a:lnTo>
                <a:lnTo>
                  <a:pt x="3170" y="3496"/>
                </a:lnTo>
                <a:lnTo>
                  <a:pt x="3168" y="3494"/>
                </a:lnTo>
                <a:lnTo>
                  <a:pt x="3166" y="3496"/>
                </a:lnTo>
                <a:lnTo>
                  <a:pt x="3162" y="3500"/>
                </a:lnTo>
                <a:lnTo>
                  <a:pt x="3160" y="3502"/>
                </a:lnTo>
                <a:lnTo>
                  <a:pt x="3156" y="3500"/>
                </a:lnTo>
                <a:lnTo>
                  <a:pt x="3154" y="3498"/>
                </a:lnTo>
                <a:lnTo>
                  <a:pt x="3158" y="3494"/>
                </a:lnTo>
                <a:lnTo>
                  <a:pt x="3158" y="3492"/>
                </a:lnTo>
                <a:lnTo>
                  <a:pt x="3154" y="3490"/>
                </a:lnTo>
                <a:lnTo>
                  <a:pt x="3148" y="3490"/>
                </a:lnTo>
                <a:lnTo>
                  <a:pt x="3146" y="3492"/>
                </a:lnTo>
                <a:lnTo>
                  <a:pt x="3142" y="3494"/>
                </a:lnTo>
                <a:lnTo>
                  <a:pt x="3134" y="3492"/>
                </a:lnTo>
                <a:lnTo>
                  <a:pt x="3130" y="3490"/>
                </a:lnTo>
                <a:lnTo>
                  <a:pt x="3128" y="3486"/>
                </a:lnTo>
                <a:lnTo>
                  <a:pt x="3128" y="3484"/>
                </a:lnTo>
                <a:lnTo>
                  <a:pt x="3130" y="3480"/>
                </a:lnTo>
                <a:lnTo>
                  <a:pt x="3132" y="3478"/>
                </a:lnTo>
                <a:lnTo>
                  <a:pt x="3138" y="3476"/>
                </a:lnTo>
                <a:lnTo>
                  <a:pt x="3142" y="3476"/>
                </a:lnTo>
                <a:lnTo>
                  <a:pt x="3148" y="3478"/>
                </a:lnTo>
                <a:lnTo>
                  <a:pt x="3158" y="3482"/>
                </a:lnTo>
                <a:lnTo>
                  <a:pt x="3164" y="3484"/>
                </a:lnTo>
                <a:lnTo>
                  <a:pt x="3170" y="3482"/>
                </a:lnTo>
                <a:lnTo>
                  <a:pt x="3178" y="3478"/>
                </a:lnTo>
                <a:lnTo>
                  <a:pt x="3184" y="3476"/>
                </a:lnTo>
                <a:lnTo>
                  <a:pt x="3190" y="3474"/>
                </a:lnTo>
                <a:lnTo>
                  <a:pt x="3204" y="3476"/>
                </a:lnTo>
                <a:lnTo>
                  <a:pt x="3216" y="3478"/>
                </a:lnTo>
                <a:lnTo>
                  <a:pt x="3220" y="3476"/>
                </a:lnTo>
                <a:lnTo>
                  <a:pt x="3222" y="3474"/>
                </a:lnTo>
                <a:lnTo>
                  <a:pt x="3224" y="3460"/>
                </a:lnTo>
                <a:lnTo>
                  <a:pt x="3226" y="3462"/>
                </a:lnTo>
                <a:lnTo>
                  <a:pt x="3232" y="3472"/>
                </a:lnTo>
                <a:lnTo>
                  <a:pt x="3232" y="3476"/>
                </a:lnTo>
                <a:lnTo>
                  <a:pt x="3232" y="3480"/>
                </a:lnTo>
                <a:lnTo>
                  <a:pt x="3226" y="3484"/>
                </a:lnTo>
                <a:lnTo>
                  <a:pt x="3226" y="3486"/>
                </a:lnTo>
                <a:lnTo>
                  <a:pt x="3234" y="3482"/>
                </a:lnTo>
                <a:lnTo>
                  <a:pt x="3268" y="3476"/>
                </a:lnTo>
                <a:lnTo>
                  <a:pt x="3284" y="3476"/>
                </a:lnTo>
                <a:lnTo>
                  <a:pt x="3296" y="3478"/>
                </a:lnTo>
                <a:lnTo>
                  <a:pt x="3314" y="3484"/>
                </a:lnTo>
                <a:lnTo>
                  <a:pt x="3318" y="3486"/>
                </a:lnTo>
                <a:lnTo>
                  <a:pt x="3320" y="3490"/>
                </a:lnTo>
                <a:lnTo>
                  <a:pt x="3324" y="3494"/>
                </a:lnTo>
                <a:lnTo>
                  <a:pt x="3326" y="3496"/>
                </a:lnTo>
                <a:lnTo>
                  <a:pt x="3330" y="3498"/>
                </a:lnTo>
                <a:lnTo>
                  <a:pt x="3332" y="3506"/>
                </a:lnTo>
                <a:lnTo>
                  <a:pt x="3332" y="3510"/>
                </a:lnTo>
                <a:lnTo>
                  <a:pt x="3336" y="3510"/>
                </a:lnTo>
                <a:lnTo>
                  <a:pt x="3342" y="3510"/>
                </a:lnTo>
                <a:lnTo>
                  <a:pt x="3348" y="3508"/>
                </a:lnTo>
                <a:lnTo>
                  <a:pt x="3360" y="3504"/>
                </a:lnTo>
                <a:lnTo>
                  <a:pt x="3368" y="3500"/>
                </a:lnTo>
                <a:lnTo>
                  <a:pt x="3372" y="3500"/>
                </a:lnTo>
                <a:lnTo>
                  <a:pt x="3372" y="3498"/>
                </a:lnTo>
                <a:lnTo>
                  <a:pt x="3374" y="3496"/>
                </a:lnTo>
                <a:lnTo>
                  <a:pt x="3376" y="3492"/>
                </a:lnTo>
                <a:lnTo>
                  <a:pt x="3382" y="3490"/>
                </a:lnTo>
                <a:lnTo>
                  <a:pt x="3388" y="3492"/>
                </a:lnTo>
                <a:lnTo>
                  <a:pt x="3394" y="3498"/>
                </a:lnTo>
                <a:lnTo>
                  <a:pt x="3408" y="3514"/>
                </a:lnTo>
                <a:lnTo>
                  <a:pt x="3420" y="3530"/>
                </a:lnTo>
                <a:lnTo>
                  <a:pt x="3424" y="3536"/>
                </a:lnTo>
                <a:lnTo>
                  <a:pt x="3428" y="3538"/>
                </a:lnTo>
                <a:lnTo>
                  <a:pt x="3432" y="3540"/>
                </a:lnTo>
                <a:lnTo>
                  <a:pt x="3436" y="3542"/>
                </a:lnTo>
                <a:lnTo>
                  <a:pt x="3440" y="3554"/>
                </a:lnTo>
                <a:lnTo>
                  <a:pt x="3440" y="3570"/>
                </a:lnTo>
                <a:lnTo>
                  <a:pt x="3438" y="3584"/>
                </a:lnTo>
                <a:lnTo>
                  <a:pt x="3434" y="3598"/>
                </a:lnTo>
                <a:lnTo>
                  <a:pt x="3434" y="3610"/>
                </a:lnTo>
                <a:lnTo>
                  <a:pt x="3438" y="3616"/>
                </a:lnTo>
                <a:lnTo>
                  <a:pt x="3440" y="3616"/>
                </a:lnTo>
                <a:lnTo>
                  <a:pt x="3442" y="3616"/>
                </a:lnTo>
                <a:lnTo>
                  <a:pt x="3446" y="3610"/>
                </a:lnTo>
                <a:lnTo>
                  <a:pt x="3450" y="3610"/>
                </a:lnTo>
                <a:lnTo>
                  <a:pt x="3452" y="3610"/>
                </a:lnTo>
                <a:lnTo>
                  <a:pt x="3452" y="3612"/>
                </a:lnTo>
                <a:lnTo>
                  <a:pt x="3448" y="3618"/>
                </a:lnTo>
                <a:lnTo>
                  <a:pt x="3446" y="3622"/>
                </a:lnTo>
                <a:lnTo>
                  <a:pt x="3444" y="3626"/>
                </a:lnTo>
                <a:lnTo>
                  <a:pt x="3446" y="3638"/>
                </a:lnTo>
                <a:lnTo>
                  <a:pt x="3450" y="3648"/>
                </a:lnTo>
                <a:lnTo>
                  <a:pt x="3456" y="3658"/>
                </a:lnTo>
                <a:lnTo>
                  <a:pt x="3458" y="3660"/>
                </a:lnTo>
                <a:lnTo>
                  <a:pt x="3460" y="3660"/>
                </a:lnTo>
                <a:lnTo>
                  <a:pt x="3462" y="3658"/>
                </a:lnTo>
                <a:lnTo>
                  <a:pt x="3464" y="3666"/>
                </a:lnTo>
                <a:lnTo>
                  <a:pt x="3466" y="3674"/>
                </a:lnTo>
                <a:lnTo>
                  <a:pt x="3470" y="3678"/>
                </a:lnTo>
                <a:lnTo>
                  <a:pt x="3474" y="3682"/>
                </a:lnTo>
                <a:lnTo>
                  <a:pt x="3476" y="3694"/>
                </a:lnTo>
                <a:lnTo>
                  <a:pt x="3478" y="3700"/>
                </a:lnTo>
                <a:lnTo>
                  <a:pt x="3480" y="3704"/>
                </a:lnTo>
                <a:lnTo>
                  <a:pt x="3484" y="3706"/>
                </a:lnTo>
                <a:lnTo>
                  <a:pt x="3486" y="3708"/>
                </a:lnTo>
                <a:lnTo>
                  <a:pt x="3494" y="3712"/>
                </a:lnTo>
                <a:lnTo>
                  <a:pt x="3496" y="3714"/>
                </a:lnTo>
                <a:lnTo>
                  <a:pt x="3498" y="3720"/>
                </a:lnTo>
                <a:lnTo>
                  <a:pt x="3502" y="3732"/>
                </a:lnTo>
                <a:lnTo>
                  <a:pt x="3504" y="3734"/>
                </a:lnTo>
                <a:lnTo>
                  <a:pt x="3506" y="3736"/>
                </a:lnTo>
                <a:lnTo>
                  <a:pt x="3504" y="3738"/>
                </a:lnTo>
                <a:lnTo>
                  <a:pt x="3502" y="3744"/>
                </a:lnTo>
                <a:lnTo>
                  <a:pt x="3504" y="3748"/>
                </a:lnTo>
                <a:lnTo>
                  <a:pt x="3508" y="3748"/>
                </a:lnTo>
                <a:lnTo>
                  <a:pt x="3518" y="3746"/>
                </a:lnTo>
                <a:lnTo>
                  <a:pt x="3522" y="3744"/>
                </a:lnTo>
                <a:lnTo>
                  <a:pt x="3524" y="3746"/>
                </a:lnTo>
                <a:lnTo>
                  <a:pt x="3526" y="3748"/>
                </a:lnTo>
                <a:lnTo>
                  <a:pt x="3526" y="3750"/>
                </a:lnTo>
                <a:lnTo>
                  <a:pt x="3530" y="3744"/>
                </a:lnTo>
                <a:lnTo>
                  <a:pt x="3536" y="3734"/>
                </a:lnTo>
                <a:lnTo>
                  <a:pt x="3536" y="3730"/>
                </a:lnTo>
                <a:lnTo>
                  <a:pt x="3536" y="3726"/>
                </a:lnTo>
                <a:lnTo>
                  <a:pt x="3540" y="3718"/>
                </a:lnTo>
                <a:lnTo>
                  <a:pt x="3544" y="3708"/>
                </a:lnTo>
                <a:lnTo>
                  <a:pt x="3544" y="3698"/>
                </a:lnTo>
                <a:lnTo>
                  <a:pt x="3546" y="3686"/>
                </a:lnTo>
                <a:lnTo>
                  <a:pt x="3546" y="3670"/>
                </a:lnTo>
                <a:lnTo>
                  <a:pt x="3546" y="3662"/>
                </a:lnTo>
                <a:lnTo>
                  <a:pt x="3544" y="3650"/>
                </a:lnTo>
                <a:lnTo>
                  <a:pt x="3536" y="3626"/>
                </a:lnTo>
                <a:lnTo>
                  <a:pt x="3528" y="3602"/>
                </a:lnTo>
                <a:lnTo>
                  <a:pt x="3526" y="3590"/>
                </a:lnTo>
                <a:lnTo>
                  <a:pt x="3526" y="3580"/>
                </a:lnTo>
                <a:lnTo>
                  <a:pt x="3526" y="3576"/>
                </a:lnTo>
                <a:lnTo>
                  <a:pt x="3524" y="3568"/>
                </a:lnTo>
                <a:lnTo>
                  <a:pt x="3514" y="3550"/>
                </a:lnTo>
                <a:lnTo>
                  <a:pt x="3508" y="3536"/>
                </a:lnTo>
                <a:lnTo>
                  <a:pt x="3502" y="3522"/>
                </a:lnTo>
                <a:lnTo>
                  <a:pt x="3496" y="3504"/>
                </a:lnTo>
                <a:lnTo>
                  <a:pt x="3492" y="3482"/>
                </a:lnTo>
                <a:lnTo>
                  <a:pt x="3490" y="3460"/>
                </a:lnTo>
                <a:lnTo>
                  <a:pt x="3492" y="3440"/>
                </a:lnTo>
                <a:lnTo>
                  <a:pt x="3496" y="3422"/>
                </a:lnTo>
                <a:lnTo>
                  <a:pt x="3502" y="3408"/>
                </a:lnTo>
                <a:lnTo>
                  <a:pt x="3508" y="3396"/>
                </a:lnTo>
                <a:lnTo>
                  <a:pt x="3514" y="3388"/>
                </a:lnTo>
                <a:lnTo>
                  <a:pt x="3526" y="3376"/>
                </a:lnTo>
                <a:lnTo>
                  <a:pt x="3528" y="3374"/>
                </a:lnTo>
                <a:lnTo>
                  <a:pt x="3530" y="3370"/>
                </a:lnTo>
                <a:lnTo>
                  <a:pt x="3528" y="3368"/>
                </a:lnTo>
                <a:lnTo>
                  <a:pt x="3528" y="3366"/>
                </a:lnTo>
                <a:lnTo>
                  <a:pt x="3536" y="3364"/>
                </a:lnTo>
                <a:lnTo>
                  <a:pt x="3542" y="3362"/>
                </a:lnTo>
                <a:lnTo>
                  <a:pt x="3548" y="3360"/>
                </a:lnTo>
                <a:lnTo>
                  <a:pt x="3556" y="3352"/>
                </a:lnTo>
                <a:lnTo>
                  <a:pt x="3564" y="3342"/>
                </a:lnTo>
                <a:lnTo>
                  <a:pt x="3568" y="3340"/>
                </a:lnTo>
                <a:lnTo>
                  <a:pt x="3572" y="3338"/>
                </a:lnTo>
                <a:lnTo>
                  <a:pt x="3574" y="3336"/>
                </a:lnTo>
                <a:lnTo>
                  <a:pt x="3576" y="3334"/>
                </a:lnTo>
                <a:lnTo>
                  <a:pt x="3582" y="3322"/>
                </a:lnTo>
                <a:lnTo>
                  <a:pt x="3588" y="3308"/>
                </a:lnTo>
                <a:lnTo>
                  <a:pt x="3592" y="3302"/>
                </a:lnTo>
                <a:lnTo>
                  <a:pt x="3600" y="3296"/>
                </a:lnTo>
                <a:lnTo>
                  <a:pt x="3606" y="3292"/>
                </a:lnTo>
                <a:lnTo>
                  <a:pt x="3614" y="3290"/>
                </a:lnTo>
                <a:lnTo>
                  <a:pt x="3624" y="3290"/>
                </a:lnTo>
                <a:lnTo>
                  <a:pt x="3628" y="3290"/>
                </a:lnTo>
                <a:lnTo>
                  <a:pt x="3632" y="3288"/>
                </a:lnTo>
                <a:lnTo>
                  <a:pt x="3634" y="3286"/>
                </a:lnTo>
                <a:lnTo>
                  <a:pt x="3636" y="3280"/>
                </a:lnTo>
                <a:lnTo>
                  <a:pt x="3638" y="3274"/>
                </a:lnTo>
                <a:lnTo>
                  <a:pt x="3642" y="3268"/>
                </a:lnTo>
                <a:lnTo>
                  <a:pt x="3654" y="3256"/>
                </a:lnTo>
                <a:lnTo>
                  <a:pt x="3666" y="3250"/>
                </a:lnTo>
                <a:lnTo>
                  <a:pt x="3680" y="3246"/>
                </a:lnTo>
                <a:lnTo>
                  <a:pt x="3690" y="3244"/>
                </a:lnTo>
                <a:lnTo>
                  <a:pt x="3698" y="3238"/>
                </a:lnTo>
                <a:lnTo>
                  <a:pt x="3700" y="3234"/>
                </a:lnTo>
                <a:lnTo>
                  <a:pt x="3698" y="3232"/>
                </a:lnTo>
                <a:lnTo>
                  <a:pt x="3696" y="3230"/>
                </a:lnTo>
                <a:lnTo>
                  <a:pt x="3694" y="3228"/>
                </a:lnTo>
                <a:lnTo>
                  <a:pt x="3692" y="3230"/>
                </a:lnTo>
                <a:lnTo>
                  <a:pt x="3686" y="3232"/>
                </a:lnTo>
                <a:lnTo>
                  <a:pt x="3680" y="3236"/>
                </a:lnTo>
                <a:lnTo>
                  <a:pt x="3678" y="3236"/>
                </a:lnTo>
                <a:lnTo>
                  <a:pt x="3674" y="3234"/>
                </a:lnTo>
                <a:lnTo>
                  <a:pt x="3672" y="3232"/>
                </a:lnTo>
                <a:lnTo>
                  <a:pt x="3674" y="3232"/>
                </a:lnTo>
                <a:lnTo>
                  <a:pt x="3680" y="3230"/>
                </a:lnTo>
                <a:lnTo>
                  <a:pt x="3682" y="3228"/>
                </a:lnTo>
                <a:lnTo>
                  <a:pt x="3686" y="3224"/>
                </a:lnTo>
                <a:lnTo>
                  <a:pt x="3686" y="3220"/>
                </a:lnTo>
                <a:lnTo>
                  <a:pt x="3684" y="3216"/>
                </a:lnTo>
                <a:lnTo>
                  <a:pt x="3680" y="3210"/>
                </a:lnTo>
                <a:lnTo>
                  <a:pt x="3676" y="3208"/>
                </a:lnTo>
                <a:lnTo>
                  <a:pt x="3682" y="3208"/>
                </a:lnTo>
                <a:lnTo>
                  <a:pt x="3692" y="3210"/>
                </a:lnTo>
                <a:lnTo>
                  <a:pt x="3698" y="3214"/>
                </a:lnTo>
                <a:lnTo>
                  <a:pt x="3700" y="3214"/>
                </a:lnTo>
                <a:lnTo>
                  <a:pt x="3702" y="3214"/>
                </a:lnTo>
                <a:lnTo>
                  <a:pt x="3706" y="3208"/>
                </a:lnTo>
                <a:lnTo>
                  <a:pt x="3712" y="3202"/>
                </a:lnTo>
                <a:lnTo>
                  <a:pt x="3714" y="3202"/>
                </a:lnTo>
                <a:lnTo>
                  <a:pt x="3716" y="3200"/>
                </a:lnTo>
                <a:lnTo>
                  <a:pt x="3718" y="3194"/>
                </a:lnTo>
                <a:lnTo>
                  <a:pt x="3720" y="3186"/>
                </a:lnTo>
                <a:lnTo>
                  <a:pt x="3718" y="3182"/>
                </a:lnTo>
                <a:lnTo>
                  <a:pt x="3716" y="3180"/>
                </a:lnTo>
                <a:lnTo>
                  <a:pt x="3712" y="3182"/>
                </a:lnTo>
                <a:lnTo>
                  <a:pt x="3710" y="3184"/>
                </a:lnTo>
                <a:lnTo>
                  <a:pt x="3708" y="3182"/>
                </a:lnTo>
                <a:lnTo>
                  <a:pt x="3704" y="3180"/>
                </a:lnTo>
                <a:lnTo>
                  <a:pt x="3696" y="3180"/>
                </a:lnTo>
                <a:lnTo>
                  <a:pt x="3684" y="3182"/>
                </a:lnTo>
                <a:lnTo>
                  <a:pt x="3680" y="3180"/>
                </a:lnTo>
                <a:lnTo>
                  <a:pt x="3678" y="3176"/>
                </a:lnTo>
                <a:lnTo>
                  <a:pt x="3678" y="3170"/>
                </a:lnTo>
                <a:lnTo>
                  <a:pt x="3678" y="3168"/>
                </a:lnTo>
                <a:lnTo>
                  <a:pt x="3682" y="3172"/>
                </a:lnTo>
                <a:lnTo>
                  <a:pt x="3684" y="3174"/>
                </a:lnTo>
                <a:lnTo>
                  <a:pt x="3686" y="3176"/>
                </a:lnTo>
                <a:lnTo>
                  <a:pt x="3692" y="3176"/>
                </a:lnTo>
                <a:lnTo>
                  <a:pt x="3696" y="3172"/>
                </a:lnTo>
                <a:lnTo>
                  <a:pt x="3704" y="3170"/>
                </a:lnTo>
                <a:lnTo>
                  <a:pt x="3710" y="3170"/>
                </a:lnTo>
                <a:lnTo>
                  <a:pt x="3714" y="3172"/>
                </a:lnTo>
                <a:lnTo>
                  <a:pt x="3718" y="3176"/>
                </a:lnTo>
                <a:lnTo>
                  <a:pt x="3724" y="3184"/>
                </a:lnTo>
                <a:lnTo>
                  <a:pt x="3726" y="3186"/>
                </a:lnTo>
                <a:lnTo>
                  <a:pt x="3728" y="3188"/>
                </a:lnTo>
                <a:lnTo>
                  <a:pt x="3728" y="3186"/>
                </a:lnTo>
                <a:lnTo>
                  <a:pt x="3728" y="3184"/>
                </a:lnTo>
                <a:lnTo>
                  <a:pt x="3724" y="3176"/>
                </a:lnTo>
                <a:lnTo>
                  <a:pt x="3718" y="3160"/>
                </a:lnTo>
                <a:lnTo>
                  <a:pt x="3712" y="3136"/>
                </a:lnTo>
                <a:lnTo>
                  <a:pt x="3708" y="3128"/>
                </a:lnTo>
                <a:lnTo>
                  <a:pt x="3706" y="3126"/>
                </a:lnTo>
                <a:lnTo>
                  <a:pt x="3704" y="3126"/>
                </a:lnTo>
                <a:lnTo>
                  <a:pt x="3700" y="3126"/>
                </a:lnTo>
                <a:lnTo>
                  <a:pt x="3694" y="3130"/>
                </a:lnTo>
                <a:lnTo>
                  <a:pt x="3692" y="3130"/>
                </a:lnTo>
                <a:lnTo>
                  <a:pt x="3696" y="3126"/>
                </a:lnTo>
                <a:lnTo>
                  <a:pt x="3698" y="3120"/>
                </a:lnTo>
                <a:lnTo>
                  <a:pt x="3698" y="3116"/>
                </a:lnTo>
                <a:lnTo>
                  <a:pt x="3694" y="3112"/>
                </a:lnTo>
                <a:lnTo>
                  <a:pt x="3690" y="3110"/>
                </a:lnTo>
                <a:lnTo>
                  <a:pt x="3694" y="3108"/>
                </a:lnTo>
                <a:lnTo>
                  <a:pt x="3696" y="3108"/>
                </a:lnTo>
                <a:lnTo>
                  <a:pt x="3698" y="3106"/>
                </a:lnTo>
                <a:lnTo>
                  <a:pt x="3698" y="3102"/>
                </a:lnTo>
                <a:lnTo>
                  <a:pt x="3698" y="3096"/>
                </a:lnTo>
                <a:lnTo>
                  <a:pt x="3696" y="3084"/>
                </a:lnTo>
                <a:lnTo>
                  <a:pt x="3698" y="3078"/>
                </a:lnTo>
                <a:lnTo>
                  <a:pt x="3696" y="3076"/>
                </a:lnTo>
                <a:lnTo>
                  <a:pt x="3692" y="3070"/>
                </a:lnTo>
                <a:lnTo>
                  <a:pt x="3678" y="3058"/>
                </a:lnTo>
                <a:lnTo>
                  <a:pt x="3678" y="3056"/>
                </a:lnTo>
                <a:lnTo>
                  <a:pt x="3680" y="3056"/>
                </a:lnTo>
                <a:lnTo>
                  <a:pt x="3686" y="3060"/>
                </a:lnTo>
                <a:lnTo>
                  <a:pt x="3694" y="3064"/>
                </a:lnTo>
                <a:lnTo>
                  <a:pt x="3696" y="3064"/>
                </a:lnTo>
                <a:lnTo>
                  <a:pt x="3696" y="3062"/>
                </a:lnTo>
                <a:lnTo>
                  <a:pt x="3692" y="3048"/>
                </a:lnTo>
                <a:lnTo>
                  <a:pt x="3688" y="3032"/>
                </a:lnTo>
                <a:lnTo>
                  <a:pt x="3690" y="3016"/>
                </a:lnTo>
                <a:lnTo>
                  <a:pt x="3694" y="3002"/>
                </a:lnTo>
                <a:lnTo>
                  <a:pt x="3696" y="2998"/>
                </a:lnTo>
                <a:lnTo>
                  <a:pt x="3702" y="2992"/>
                </a:lnTo>
                <a:lnTo>
                  <a:pt x="3706" y="2990"/>
                </a:lnTo>
                <a:lnTo>
                  <a:pt x="3704" y="2992"/>
                </a:lnTo>
                <a:lnTo>
                  <a:pt x="3700" y="2998"/>
                </a:lnTo>
                <a:lnTo>
                  <a:pt x="3698" y="3004"/>
                </a:lnTo>
                <a:lnTo>
                  <a:pt x="3694" y="3016"/>
                </a:lnTo>
                <a:lnTo>
                  <a:pt x="3694" y="3020"/>
                </a:lnTo>
                <a:lnTo>
                  <a:pt x="3696" y="3024"/>
                </a:lnTo>
                <a:lnTo>
                  <a:pt x="3696" y="3028"/>
                </a:lnTo>
                <a:lnTo>
                  <a:pt x="3696" y="3030"/>
                </a:lnTo>
                <a:lnTo>
                  <a:pt x="3694" y="3034"/>
                </a:lnTo>
                <a:lnTo>
                  <a:pt x="3696" y="3038"/>
                </a:lnTo>
                <a:lnTo>
                  <a:pt x="3698" y="3042"/>
                </a:lnTo>
                <a:lnTo>
                  <a:pt x="3696" y="3046"/>
                </a:lnTo>
                <a:lnTo>
                  <a:pt x="3696" y="3048"/>
                </a:lnTo>
                <a:lnTo>
                  <a:pt x="3700" y="3052"/>
                </a:lnTo>
                <a:lnTo>
                  <a:pt x="3706" y="3056"/>
                </a:lnTo>
                <a:lnTo>
                  <a:pt x="3708" y="3054"/>
                </a:lnTo>
                <a:lnTo>
                  <a:pt x="3710" y="3054"/>
                </a:lnTo>
                <a:lnTo>
                  <a:pt x="3712" y="3058"/>
                </a:lnTo>
                <a:lnTo>
                  <a:pt x="3714" y="3066"/>
                </a:lnTo>
                <a:lnTo>
                  <a:pt x="3712" y="3070"/>
                </a:lnTo>
                <a:lnTo>
                  <a:pt x="3712" y="3072"/>
                </a:lnTo>
                <a:lnTo>
                  <a:pt x="3716" y="3074"/>
                </a:lnTo>
                <a:lnTo>
                  <a:pt x="3718" y="3076"/>
                </a:lnTo>
                <a:lnTo>
                  <a:pt x="3716" y="3080"/>
                </a:lnTo>
                <a:lnTo>
                  <a:pt x="3712" y="3092"/>
                </a:lnTo>
                <a:lnTo>
                  <a:pt x="3706" y="3106"/>
                </a:lnTo>
                <a:lnTo>
                  <a:pt x="3706" y="3112"/>
                </a:lnTo>
                <a:lnTo>
                  <a:pt x="3710" y="3116"/>
                </a:lnTo>
                <a:lnTo>
                  <a:pt x="3712" y="3114"/>
                </a:lnTo>
                <a:lnTo>
                  <a:pt x="3714" y="3110"/>
                </a:lnTo>
                <a:lnTo>
                  <a:pt x="3720" y="3096"/>
                </a:lnTo>
                <a:lnTo>
                  <a:pt x="3728" y="3078"/>
                </a:lnTo>
                <a:lnTo>
                  <a:pt x="3738" y="3060"/>
                </a:lnTo>
                <a:lnTo>
                  <a:pt x="3744" y="3054"/>
                </a:lnTo>
                <a:lnTo>
                  <a:pt x="3746" y="3046"/>
                </a:lnTo>
                <a:lnTo>
                  <a:pt x="3748" y="3040"/>
                </a:lnTo>
                <a:lnTo>
                  <a:pt x="3748" y="3036"/>
                </a:lnTo>
                <a:lnTo>
                  <a:pt x="3748" y="3030"/>
                </a:lnTo>
                <a:lnTo>
                  <a:pt x="3746" y="3028"/>
                </a:lnTo>
                <a:lnTo>
                  <a:pt x="3744" y="3026"/>
                </a:lnTo>
                <a:lnTo>
                  <a:pt x="3740" y="3024"/>
                </a:lnTo>
                <a:lnTo>
                  <a:pt x="3738" y="3024"/>
                </a:lnTo>
                <a:lnTo>
                  <a:pt x="3736" y="3022"/>
                </a:lnTo>
                <a:lnTo>
                  <a:pt x="3732" y="3014"/>
                </a:lnTo>
                <a:lnTo>
                  <a:pt x="3726" y="2992"/>
                </a:lnTo>
                <a:lnTo>
                  <a:pt x="3724" y="2984"/>
                </a:lnTo>
                <a:lnTo>
                  <a:pt x="3726" y="2976"/>
                </a:lnTo>
                <a:lnTo>
                  <a:pt x="3730" y="2970"/>
                </a:lnTo>
                <a:lnTo>
                  <a:pt x="3738" y="2964"/>
                </a:lnTo>
                <a:lnTo>
                  <a:pt x="3742" y="2964"/>
                </a:lnTo>
                <a:lnTo>
                  <a:pt x="3736" y="2968"/>
                </a:lnTo>
                <a:lnTo>
                  <a:pt x="3732" y="2972"/>
                </a:lnTo>
                <a:lnTo>
                  <a:pt x="3730" y="2978"/>
                </a:lnTo>
                <a:lnTo>
                  <a:pt x="3730" y="2986"/>
                </a:lnTo>
                <a:lnTo>
                  <a:pt x="3732" y="2992"/>
                </a:lnTo>
                <a:lnTo>
                  <a:pt x="3738" y="2998"/>
                </a:lnTo>
                <a:lnTo>
                  <a:pt x="3742" y="3002"/>
                </a:lnTo>
                <a:lnTo>
                  <a:pt x="3748" y="3004"/>
                </a:lnTo>
                <a:lnTo>
                  <a:pt x="3752" y="3004"/>
                </a:lnTo>
                <a:lnTo>
                  <a:pt x="3752" y="3012"/>
                </a:lnTo>
                <a:lnTo>
                  <a:pt x="3752" y="3016"/>
                </a:lnTo>
                <a:lnTo>
                  <a:pt x="3752" y="3018"/>
                </a:lnTo>
                <a:lnTo>
                  <a:pt x="3754" y="3016"/>
                </a:lnTo>
                <a:lnTo>
                  <a:pt x="3758" y="3014"/>
                </a:lnTo>
                <a:lnTo>
                  <a:pt x="3766" y="3002"/>
                </a:lnTo>
                <a:lnTo>
                  <a:pt x="3776" y="2986"/>
                </a:lnTo>
                <a:lnTo>
                  <a:pt x="3784" y="2970"/>
                </a:lnTo>
                <a:lnTo>
                  <a:pt x="3790" y="2954"/>
                </a:lnTo>
                <a:lnTo>
                  <a:pt x="3792" y="2948"/>
                </a:lnTo>
                <a:lnTo>
                  <a:pt x="3792" y="2942"/>
                </a:lnTo>
                <a:lnTo>
                  <a:pt x="3790" y="2938"/>
                </a:lnTo>
                <a:lnTo>
                  <a:pt x="3786" y="2938"/>
                </a:lnTo>
                <a:lnTo>
                  <a:pt x="3778" y="2936"/>
                </a:lnTo>
                <a:lnTo>
                  <a:pt x="3778" y="2934"/>
                </a:lnTo>
                <a:lnTo>
                  <a:pt x="3776" y="2932"/>
                </a:lnTo>
                <a:lnTo>
                  <a:pt x="3778" y="2926"/>
                </a:lnTo>
                <a:lnTo>
                  <a:pt x="3786" y="2918"/>
                </a:lnTo>
                <a:lnTo>
                  <a:pt x="3796" y="2910"/>
                </a:lnTo>
                <a:lnTo>
                  <a:pt x="3810" y="2902"/>
                </a:lnTo>
                <a:lnTo>
                  <a:pt x="3824" y="2894"/>
                </a:lnTo>
                <a:lnTo>
                  <a:pt x="3838" y="2890"/>
                </a:lnTo>
                <a:lnTo>
                  <a:pt x="3854" y="2888"/>
                </a:lnTo>
                <a:lnTo>
                  <a:pt x="3872" y="2886"/>
                </a:lnTo>
                <a:lnTo>
                  <a:pt x="3886" y="2884"/>
                </a:lnTo>
                <a:lnTo>
                  <a:pt x="3890" y="2882"/>
                </a:lnTo>
                <a:lnTo>
                  <a:pt x="3892" y="2880"/>
                </a:lnTo>
                <a:lnTo>
                  <a:pt x="3894" y="2866"/>
                </a:lnTo>
                <a:lnTo>
                  <a:pt x="3896" y="2862"/>
                </a:lnTo>
                <a:lnTo>
                  <a:pt x="3898" y="2868"/>
                </a:lnTo>
                <a:lnTo>
                  <a:pt x="3902" y="2876"/>
                </a:lnTo>
                <a:lnTo>
                  <a:pt x="3904" y="2880"/>
                </a:lnTo>
                <a:lnTo>
                  <a:pt x="3906" y="2880"/>
                </a:lnTo>
                <a:lnTo>
                  <a:pt x="3908" y="2878"/>
                </a:lnTo>
                <a:lnTo>
                  <a:pt x="3916" y="2872"/>
                </a:lnTo>
                <a:lnTo>
                  <a:pt x="3920" y="2868"/>
                </a:lnTo>
                <a:lnTo>
                  <a:pt x="3922" y="2866"/>
                </a:lnTo>
                <a:lnTo>
                  <a:pt x="3924" y="2868"/>
                </a:lnTo>
                <a:lnTo>
                  <a:pt x="3924" y="2870"/>
                </a:lnTo>
                <a:lnTo>
                  <a:pt x="3924" y="2876"/>
                </a:lnTo>
                <a:lnTo>
                  <a:pt x="3926" y="2876"/>
                </a:lnTo>
                <a:lnTo>
                  <a:pt x="3928" y="2874"/>
                </a:lnTo>
                <a:lnTo>
                  <a:pt x="3932" y="2872"/>
                </a:lnTo>
                <a:lnTo>
                  <a:pt x="3938" y="2870"/>
                </a:lnTo>
                <a:lnTo>
                  <a:pt x="3946" y="2868"/>
                </a:lnTo>
                <a:lnTo>
                  <a:pt x="3952" y="2866"/>
                </a:lnTo>
                <a:lnTo>
                  <a:pt x="3952" y="2864"/>
                </a:lnTo>
                <a:lnTo>
                  <a:pt x="3952" y="2860"/>
                </a:lnTo>
                <a:lnTo>
                  <a:pt x="3948" y="2846"/>
                </a:lnTo>
                <a:lnTo>
                  <a:pt x="3946" y="2844"/>
                </a:lnTo>
                <a:lnTo>
                  <a:pt x="3942" y="2842"/>
                </a:lnTo>
                <a:lnTo>
                  <a:pt x="3940" y="2844"/>
                </a:lnTo>
                <a:lnTo>
                  <a:pt x="3942" y="2846"/>
                </a:lnTo>
                <a:lnTo>
                  <a:pt x="3946" y="2848"/>
                </a:lnTo>
                <a:lnTo>
                  <a:pt x="3948" y="2854"/>
                </a:lnTo>
                <a:lnTo>
                  <a:pt x="3946" y="2860"/>
                </a:lnTo>
                <a:lnTo>
                  <a:pt x="3940" y="2864"/>
                </a:lnTo>
                <a:lnTo>
                  <a:pt x="3936" y="2866"/>
                </a:lnTo>
                <a:lnTo>
                  <a:pt x="3934" y="2864"/>
                </a:lnTo>
                <a:lnTo>
                  <a:pt x="3930" y="2862"/>
                </a:lnTo>
                <a:lnTo>
                  <a:pt x="3928" y="2858"/>
                </a:lnTo>
                <a:lnTo>
                  <a:pt x="3926" y="2848"/>
                </a:lnTo>
                <a:lnTo>
                  <a:pt x="3924" y="2840"/>
                </a:lnTo>
                <a:lnTo>
                  <a:pt x="3920" y="2836"/>
                </a:lnTo>
                <a:lnTo>
                  <a:pt x="3914" y="2834"/>
                </a:lnTo>
                <a:lnTo>
                  <a:pt x="3910" y="2832"/>
                </a:lnTo>
                <a:lnTo>
                  <a:pt x="3910" y="2830"/>
                </a:lnTo>
                <a:lnTo>
                  <a:pt x="3918" y="2824"/>
                </a:lnTo>
                <a:lnTo>
                  <a:pt x="3926" y="2816"/>
                </a:lnTo>
                <a:lnTo>
                  <a:pt x="3926" y="2812"/>
                </a:lnTo>
                <a:lnTo>
                  <a:pt x="3924" y="2810"/>
                </a:lnTo>
                <a:lnTo>
                  <a:pt x="3922" y="2808"/>
                </a:lnTo>
                <a:lnTo>
                  <a:pt x="3920" y="2804"/>
                </a:lnTo>
                <a:lnTo>
                  <a:pt x="3922" y="2790"/>
                </a:lnTo>
                <a:lnTo>
                  <a:pt x="3928" y="2776"/>
                </a:lnTo>
                <a:lnTo>
                  <a:pt x="3936" y="2766"/>
                </a:lnTo>
                <a:lnTo>
                  <a:pt x="3940" y="2760"/>
                </a:lnTo>
                <a:lnTo>
                  <a:pt x="3940" y="2756"/>
                </a:lnTo>
                <a:lnTo>
                  <a:pt x="3940" y="2752"/>
                </a:lnTo>
                <a:lnTo>
                  <a:pt x="3942" y="2748"/>
                </a:lnTo>
                <a:lnTo>
                  <a:pt x="3944" y="2748"/>
                </a:lnTo>
                <a:lnTo>
                  <a:pt x="3946" y="2748"/>
                </a:lnTo>
                <a:lnTo>
                  <a:pt x="3948" y="2750"/>
                </a:lnTo>
                <a:lnTo>
                  <a:pt x="3952" y="2752"/>
                </a:lnTo>
                <a:lnTo>
                  <a:pt x="3954" y="2752"/>
                </a:lnTo>
                <a:lnTo>
                  <a:pt x="3960" y="2750"/>
                </a:lnTo>
                <a:lnTo>
                  <a:pt x="3966" y="2746"/>
                </a:lnTo>
                <a:lnTo>
                  <a:pt x="3970" y="2742"/>
                </a:lnTo>
                <a:lnTo>
                  <a:pt x="3974" y="2740"/>
                </a:lnTo>
                <a:lnTo>
                  <a:pt x="3978" y="2738"/>
                </a:lnTo>
                <a:lnTo>
                  <a:pt x="3982" y="2738"/>
                </a:lnTo>
                <a:lnTo>
                  <a:pt x="3986" y="2734"/>
                </a:lnTo>
                <a:lnTo>
                  <a:pt x="3988" y="2726"/>
                </a:lnTo>
                <a:lnTo>
                  <a:pt x="3992" y="2718"/>
                </a:lnTo>
                <a:lnTo>
                  <a:pt x="3996" y="2716"/>
                </a:lnTo>
                <a:lnTo>
                  <a:pt x="4000" y="2718"/>
                </a:lnTo>
                <a:lnTo>
                  <a:pt x="4008" y="2720"/>
                </a:lnTo>
                <a:lnTo>
                  <a:pt x="4010" y="2720"/>
                </a:lnTo>
                <a:lnTo>
                  <a:pt x="4012" y="2716"/>
                </a:lnTo>
                <a:lnTo>
                  <a:pt x="4016" y="2712"/>
                </a:lnTo>
                <a:lnTo>
                  <a:pt x="4022" y="2712"/>
                </a:lnTo>
                <a:lnTo>
                  <a:pt x="4026" y="2714"/>
                </a:lnTo>
                <a:lnTo>
                  <a:pt x="4028" y="2714"/>
                </a:lnTo>
                <a:lnTo>
                  <a:pt x="4036" y="2712"/>
                </a:lnTo>
                <a:lnTo>
                  <a:pt x="4044" y="2706"/>
                </a:lnTo>
                <a:lnTo>
                  <a:pt x="4054" y="2704"/>
                </a:lnTo>
                <a:lnTo>
                  <a:pt x="4060" y="2702"/>
                </a:lnTo>
                <a:lnTo>
                  <a:pt x="4066" y="2696"/>
                </a:lnTo>
                <a:lnTo>
                  <a:pt x="4070" y="2690"/>
                </a:lnTo>
                <a:lnTo>
                  <a:pt x="4070" y="2688"/>
                </a:lnTo>
                <a:lnTo>
                  <a:pt x="4068" y="2686"/>
                </a:lnTo>
                <a:lnTo>
                  <a:pt x="4066" y="2682"/>
                </a:lnTo>
                <a:lnTo>
                  <a:pt x="4064" y="2676"/>
                </a:lnTo>
                <a:lnTo>
                  <a:pt x="4062" y="2674"/>
                </a:lnTo>
                <a:lnTo>
                  <a:pt x="4054" y="2670"/>
                </a:lnTo>
                <a:lnTo>
                  <a:pt x="4052" y="2666"/>
                </a:lnTo>
                <a:lnTo>
                  <a:pt x="4050" y="2658"/>
                </a:lnTo>
                <a:lnTo>
                  <a:pt x="4052" y="2642"/>
                </a:lnTo>
                <a:lnTo>
                  <a:pt x="4054" y="2644"/>
                </a:lnTo>
                <a:lnTo>
                  <a:pt x="4054" y="2648"/>
                </a:lnTo>
                <a:lnTo>
                  <a:pt x="4054" y="2656"/>
                </a:lnTo>
                <a:lnTo>
                  <a:pt x="4054" y="2660"/>
                </a:lnTo>
                <a:lnTo>
                  <a:pt x="4056" y="2664"/>
                </a:lnTo>
                <a:lnTo>
                  <a:pt x="4060" y="2666"/>
                </a:lnTo>
                <a:lnTo>
                  <a:pt x="4066" y="2670"/>
                </a:lnTo>
                <a:lnTo>
                  <a:pt x="4078" y="2672"/>
                </a:lnTo>
                <a:lnTo>
                  <a:pt x="4088" y="2674"/>
                </a:lnTo>
                <a:lnTo>
                  <a:pt x="4096" y="2674"/>
                </a:lnTo>
                <a:lnTo>
                  <a:pt x="4106" y="2672"/>
                </a:lnTo>
                <a:lnTo>
                  <a:pt x="4124" y="2664"/>
                </a:lnTo>
                <a:lnTo>
                  <a:pt x="4144" y="2652"/>
                </a:lnTo>
                <a:lnTo>
                  <a:pt x="4152" y="2648"/>
                </a:lnTo>
                <a:lnTo>
                  <a:pt x="4156" y="2648"/>
                </a:lnTo>
                <a:lnTo>
                  <a:pt x="4158" y="2648"/>
                </a:lnTo>
                <a:lnTo>
                  <a:pt x="4158" y="2650"/>
                </a:lnTo>
                <a:lnTo>
                  <a:pt x="4160" y="2654"/>
                </a:lnTo>
                <a:lnTo>
                  <a:pt x="4164" y="2656"/>
                </a:lnTo>
                <a:lnTo>
                  <a:pt x="4174" y="2658"/>
                </a:lnTo>
                <a:lnTo>
                  <a:pt x="4190" y="2656"/>
                </a:lnTo>
                <a:lnTo>
                  <a:pt x="4204" y="2654"/>
                </a:lnTo>
                <a:lnTo>
                  <a:pt x="4194" y="2660"/>
                </a:lnTo>
                <a:lnTo>
                  <a:pt x="4172" y="2668"/>
                </a:lnTo>
                <a:lnTo>
                  <a:pt x="4148" y="2678"/>
                </a:lnTo>
                <a:lnTo>
                  <a:pt x="4136" y="2686"/>
                </a:lnTo>
                <a:lnTo>
                  <a:pt x="4126" y="2692"/>
                </a:lnTo>
                <a:lnTo>
                  <a:pt x="4118" y="2700"/>
                </a:lnTo>
                <a:lnTo>
                  <a:pt x="4110" y="2710"/>
                </a:lnTo>
                <a:lnTo>
                  <a:pt x="4106" y="2720"/>
                </a:lnTo>
                <a:lnTo>
                  <a:pt x="4104" y="2730"/>
                </a:lnTo>
                <a:lnTo>
                  <a:pt x="4106" y="2740"/>
                </a:lnTo>
                <a:lnTo>
                  <a:pt x="4110" y="2752"/>
                </a:lnTo>
                <a:lnTo>
                  <a:pt x="4118" y="2762"/>
                </a:lnTo>
                <a:lnTo>
                  <a:pt x="4124" y="2766"/>
                </a:lnTo>
                <a:lnTo>
                  <a:pt x="4132" y="2766"/>
                </a:lnTo>
                <a:lnTo>
                  <a:pt x="4138" y="2764"/>
                </a:lnTo>
                <a:lnTo>
                  <a:pt x="4146" y="2758"/>
                </a:lnTo>
                <a:lnTo>
                  <a:pt x="4156" y="2748"/>
                </a:lnTo>
                <a:lnTo>
                  <a:pt x="4174" y="2726"/>
                </a:lnTo>
                <a:lnTo>
                  <a:pt x="4182" y="2714"/>
                </a:lnTo>
                <a:lnTo>
                  <a:pt x="4190" y="2708"/>
                </a:lnTo>
                <a:lnTo>
                  <a:pt x="4196" y="2706"/>
                </a:lnTo>
                <a:lnTo>
                  <a:pt x="4202" y="2706"/>
                </a:lnTo>
                <a:lnTo>
                  <a:pt x="4208" y="2706"/>
                </a:lnTo>
                <a:lnTo>
                  <a:pt x="4216" y="2706"/>
                </a:lnTo>
                <a:lnTo>
                  <a:pt x="4226" y="2702"/>
                </a:lnTo>
                <a:lnTo>
                  <a:pt x="4238" y="2696"/>
                </a:lnTo>
                <a:lnTo>
                  <a:pt x="4252" y="2688"/>
                </a:lnTo>
                <a:lnTo>
                  <a:pt x="4266" y="2680"/>
                </a:lnTo>
                <a:lnTo>
                  <a:pt x="4292" y="2672"/>
                </a:lnTo>
                <a:lnTo>
                  <a:pt x="4300" y="2670"/>
                </a:lnTo>
                <a:lnTo>
                  <a:pt x="4306" y="2668"/>
                </a:lnTo>
                <a:lnTo>
                  <a:pt x="4308" y="2664"/>
                </a:lnTo>
                <a:lnTo>
                  <a:pt x="4306" y="2660"/>
                </a:lnTo>
                <a:lnTo>
                  <a:pt x="4286" y="2640"/>
                </a:lnTo>
                <a:lnTo>
                  <a:pt x="4280" y="2636"/>
                </a:lnTo>
                <a:lnTo>
                  <a:pt x="4276" y="2634"/>
                </a:lnTo>
                <a:lnTo>
                  <a:pt x="4270" y="2634"/>
                </a:lnTo>
                <a:lnTo>
                  <a:pt x="4264" y="2638"/>
                </a:lnTo>
                <a:lnTo>
                  <a:pt x="4258" y="2640"/>
                </a:lnTo>
                <a:lnTo>
                  <a:pt x="4248" y="2640"/>
                </a:lnTo>
                <a:lnTo>
                  <a:pt x="4236" y="2638"/>
                </a:lnTo>
                <a:lnTo>
                  <a:pt x="4224" y="2636"/>
                </a:lnTo>
                <a:lnTo>
                  <a:pt x="4212" y="2632"/>
                </a:lnTo>
                <a:lnTo>
                  <a:pt x="4204" y="2628"/>
                </a:lnTo>
                <a:lnTo>
                  <a:pt x="4198" y="2624"/>
                </a:lnTo>
                <a:lnTo>
                  <a:pt x="4196" y="2622"/>
                </a:lnTo>
                <a:lnTo>
                  <a:pt x="4198" y="2620"/>
                </a:lnTo>
                <a:lnTo>
                  <a:pt x="4198" y="2616"/>
                </a:lnTo>
                <a:lnTo>
                  <a:pt x="4196" y="2614"/>
                </a:lnTo>
                <a:lnTo>
                  <a:pt x="4186" y="2612"/>
                </a:lnTo>
                <a:lnTo>
                  <a:pt x="4180" y="2608"/>
                </a:lnTo>
                <a:lnTo>
                  <a:pt x="4172" y="2602"/>
                </a:lnTo>
                <a:lnTo>
                  <a:pt x="4166" y="2594"/>
                </a:lnTo>
                <a:lnTo>
                  <a:pt x="4160" y="2580"/>
                </a:lnTo>
                <a:lnTo>
                  <a:pt x="4156" y="2564"/>
                </a:lnTo>
                <a:lnTo>
                  <a:pt x="4156" y="2550"/>
                </a:lnTo>
                <a:lnTo>
                  <a:pt x="4158" y="2538"/>
                </a:lnTo>
                <a:lnTo>
                  <a:pt x="4162" y="2528"/>
                </a:lnTo>
                <a:lnTo>
                  <a:pt x="4162" y="2520"/>
                </a:lnTo>
                <a:lnTo>
                  <a:pt x="4162" y="2516"/>
                </a:lnTo>
                <a:lnTo>
                  <a:pt x="4158" y="2514"/>
                </a:lnTo>
                <a:lnTo>
                  <a:pt x="4148" y="2514"/>
                </a:lnTo>
                <a:lnTo>
                  <a:pt x="4134" y="2518"/>
                </a:lnTo>
                <a:lnTo>
                  <a:pt x="4126" y="2518"/>
                </a:lnTo>
                <a:lnTo>
                  <a:pt x="4124" y="2518"/>
                </a:lnTo>
                <a:lnTo>
                  <a:pt x="4126" y="2514"/>
                </a:lnTo>
                <a:lnTo>
                  <a:pt x="4142" y="2504"/>
                </a:lnTo>
                <a:lnTo>
                  <a:pt x="4164" y="2488"/>
                </a:lnTo>
                <a:lnTo>
                  <a:pt x="4180" y="2478"/>
                </a:lnTo>
                <a:lnTo>
                  <a:pt x="4184" y="2472"/>
                </a:lnTo>
                <a:lnTo>
                  <a:pt x="4184" y="2466"/>
                </a:lnTo>
                <a:lnTo>
                  <a:pt x="4184" y="2460"/>
                </a:lnTo>
                <a:lnTo>
                  <a:pt x="4180" y="2454"/>
                </a:lnTo>
                <a:lnTo>
                  <a:pt x="4174" y="2448"/>
                </a:lnTo>
                <a:lnTo>
                  <a:pt x="4166" y="2440"/>
                </a:lnTo>
                <a:lnTo>
                  <a:pt x="4160" y="2438"/>
                </a:lnTo>
                <a:lnTo>
                  <a:pt x="4152" y="2436"/>
                </a:lnTo>
                <a:lnTo>
                  <a:pt x="4142" y="2434"/>
                </a:lnTo>
                <a:lnTo>
                  <a:pt x="4130" y="2436"/>
                </a:lnTo>
                <a:lnTo>
                  <a:pt x="4104" y="2440"/>
                </a:lnTo>
                <a:lnTo>
                  <a:pt x="4074" y="2448"/>
                </a:lnTo>
                <a:lnTo>
                  <a:pt x="4046" y="2458"/>
                </a:lnTo>
                <a:lnTo>
                  <a:pt x="4018" y="2470"/>
                </a:lnTo>
                <a:lnTo>
                  <a:pt x="3996" y="2486"/>
                </a:lnTo>
                <a:lnTo>
                  <a:pt x="3988" y="2492"/>
                </a:lnTo>
                <a:lnTo>
                  <a:pt x="3982" y="2500"/>
                </a:lnTo>
                <a:lnTo>
                  <a:pt x="3964" y="2522"/>
                </a:lnTo>
                <a:lnTo>
                  <a:pt x="3948" y="2542"/>
                </a:lnTo>
                <a:lnTo>
                  <a:pt x="3934" y="2556"/>
                </a:lnTo>
                <a:lnTo>
                  <a:pt x="3922" y="2566"/>
                </a:lnTo>
                <a:lnTo>
                  <a:pt x="3914" y="2572"/>
                </a:lnTo>
                <a:lnTo>
                  <a:pt x="3908" y="2576"/>
                </a:lnTo>
                <a:lnTo>
                  <a:pt x="3908" y="2574"/>
                </a:lnTo>
                <a:lnTo>
                  <a:pt x="3914" y="2568"/>
                </a:lnTo>
                <a:lnTo>
                  <a:pt x="3926" y="2554"/>
                </a:lnTo>
                <a:lnTo>
                  <a:pt x="3936" y="2538"/>
                </a:lnTo>
                <a:lnTo>
                  <a:pt x="3964" y="2500"/>
                </a:lnTo>
                <a:lnTo>
                  <a:pt x="3978" y="2480"/>
                </a:lnTo>
                <a:lnTo>
                  <a:pt x="3994" y="2462"/>
                </a:lnTo>
                <a:lnTo>
                  <a:pt x="4012" y="2448"/>
                </a:lnTo>
                <a:lnTo>
                  <a:pt x="4020" y="2444"/>
                </a:lnTo>
                <a:lnTo>
                  <a:pt x="4030" y="2440"/>
                </a:lnTo>
                <a:lnTo>
                  <a:pt x="4042" y="2434"/>
                </a:lnTo>
                <a:lnTo>
                  <a:pt x="4050" y="2430"/>
                </a:lnTo>
                <a:lnTo>
                  <a:pt x="4056" y="2426"/>
                </a:lnTo>
                <a:lnTo>
                  <a:pt x="4060" y="2422"/>
                </a:lnTo>
                <a:lnTo>
                  <a:pt x="4066" y="2412"/>
                </a:lnTo>
                <a:lnTo>
                  <a:pt x="4068" y="2404"/>
                </a:lnTo>
                <a:lnTo>
                  <a:pt x="4072" y="2394"/>
                </a:lnTo>
                <a:lnTo>
                  <a:pt x="4076" y="2390"/>
                </a:lnTo>
                <a:lnTo>
                  <a:pt x="4082" y="2386"/>
                </a:lnTo>
                <a:lnTo>
                  <a:pt x="4092" y="2382"/>
                </a:lnTo>
                <a:lnTo>
                  <a:pt x="4102" y="2378"/>
                </a:lnTo>
                <a:lnTo>
                  <a:pt x="4136" y="2372"/>
                </a:lnTo>
                <a:lnTo>
                  <a:pt x="4160" y="2370"/>
                </a:lnTo>
                <a:lnTo>
                  <a:pt x="4182" y="2368"/>
                </a:lnTo>
                <a:lnTo>
                  <a:pt x="4202" y="2368"/>
                </a:lnTo>
                <a:lnTo>
                  <a:pt x="4220" y="2370"/>
                </a:lnTo>
                <a:lnTo>
                  <a:pt x="4252" y="2376"/>
                </a:lnTo>
                <a:lnTo>
                  <a:pt x="4280" y="2382"/>
                </a:lnTo>
                <a:lnTo>
                  <a:pt x="4304" y="2384"/>
                </a:lnTo>
                <a:lnTo>
                  <a:pt x="4316" y="2384"/>
                </a:lnTo>
                <a:lnTo>
                  <a:pt x="4330" y="2382"/>
                </a:lnTo>
                <a:lnTo>
                  <a:pt x="4342" y="2376"/>
                </a:lnTo>
                <a:lnTo>
                  <a:pt x="4356" y="2370"/>
                </a:lnTo>
                <a:lnTo>
                  <a:pt x="4370" y="2358"/>
                </a:lnTo>
                <a:lnTo>
                  <a:pt x="4386" y="2346"/>
                </a:lnTo>
                <a:lnTo>
                  <a:pt x="4414" y="2320"/>
                </a:lnTo>
                <a:lnTo>
                  <a:pt x="4434" y="2308"/>
                </a:lnTo>
                <a:lnTo>
                  <a:pt x="4448" y="2302"/>
                </a:lnTo>
                <a:lnTo>
                  <a:pt x="4458" y="2302"/>
                </a:lnTo>
                <a:lnTo>
                  <a:pt x="4470" y="2306"/>
                </a:lnTo>
                <a:lnTo>
                  <a:pt x="4476" y="2306"/>
                </a:lnTo>
                <a:lnTo>
                  <a:pt x="4484" y="2298"/>
                </a:lnTo>
                <a:lnTo>
                  <a:pt x="4492" y="2288"/>
                </a:lnTo>
                <a:lnTo>
                  <a:pt x="4502" y="2280"/>
                </a:lnTo>
                <a:lnTo>
                  <a:pt x="4518" y="2268"/>
                </a:lnTo>
                <a:lnTo>
                  <a:pt x="4524" y="2262"/>
                </a:lnTo>
                <a:lnTo>
                  <a:pt x="4528" y="2256"/>
                </a:lnTo>
                <a:lnTo>
                  <a:pt x="4528" y="2246"/>
                </a:lnTo>
                <a:lnTo>
                  <a:pt x="4522" y="2234"/>
                </a:lnTo>
                <a:lnTo>
                  <a:pt x="4518" y="2224"/>
                </a:lnTo>
                <a:lnTo>
                  <a:pt x="4518" y="2216"/>
                </a:lnTo>
                <a:lnTo>
                  <a:pt x="4520" y="2212"/>
                </a:lnTo>
                <a:lnTo>
                  <a:pt x="4522" y="2210"/>
                </a:lnTo>
                <a:lnTo>
                  <a:pt x="4524" y="2208"/>
                </a:lnTo>
                <a:lnTo>
                  <a:pt x="4526" y="2204"/>
                </a:lnTo>
                <a:lnTo>
                  <a:pt x="4526" y="2198"/>
                </a:lnTo>
                <a:lnTo>
                  <a:pt x="4522" y="2188"/>
                </a:lnTo>
                <a:lnTo>
                  <a:pt x="4516" y="2178"/>
                </a:lnTo>
                <a:lnTo>
                  <a:pt x="4510" y="2172"/>
                </a:lnTo>
                <a:lnTo>
                  <a:pt x="4502" y="2170"/>
                </a:lnTo>
                <a:lnTo>
                  <a:pt x="4496" y="2170"/>
                </a:lnTo>
                <a:lnTo>
                  <a:pt x="4488" y="2170"/>
                </a:lnTo>
                <a:lnTo>
                  <a:pt x="4480" y="2168"/>
                </a:lnTo>
                <a:lnTo>
                  <a:pt x="4472" y="2162"/>
                </a:lnTo>
                <a:lnTo>
                  <a:pt x="4464" y="2154"/>
                </a:lnTo>
                <a:lnTo>
                  <a:pt x="4454" y="2144"/>
                </a:lnTo>
                <a:lnTo>
                  <a:pt x="4446" y="2138"/>
                </a:lnTo>
                <a:lnTo>
                  <a:pt x="4436" y="2136"/>
                </a:lnTo>
                <a:lnTo>
                  <a:pt x="4428" y="2140"/>
                </a:lnTo>
                <a:lnTo>
                  <a:pt x="4418" y="2144"/>
                </a:lnTo>
                <a:lnTo>
                  <a:pt x="4406" y="2152"/>
                </a:lnTo>
                <a:lnTo>
                  <a:pt x="4378" y="2172"/>
                </a:lnTo>
                <a:lnTo>
                  <a:pt x="4364" y="2182"/>
                </a:lnTo>
                <a:lnTo>
                  <a:pt x="4352" y="2186"/>
                </a:lnTo>
                <a:lnTo>
                  <a:pt x="4346" y="2184"/>
                </a:lnTo>
                <a:lnTo>
                  <a:pt x="4342" y="2182"/>
                </a:lnTo>
                <a:lnTo>
                  <a:pt x="4342" y="2176"/>
                </a:lnTo>
                <a:lnTo>
                  <a:pt x="4346" y="2170"/>
                </a:lnTo>
                <a:lnTo>
                  <a:pt x="4354" y="2164"/>
                </a:lnTo>
                <a:lnTo>
                  <a:pt x="4366" y="2160"/>
                </a:lnTo>
                <a:lnTo>
                  <a:pt x="4378" y="2156"/>
                </a:lnTo>
                <a:lnTo>
                  <a:pt x="4386" y="2152"/>
                </a:lnTo>
                <a:lnTo>
                  <a:pt x="4400" y="2144"/>
                </a:lnTo>
                <a:lnTo>
                  <a:pt x="4416" y="2136"/>
                </a:lnTo>
                <a:lnTo>
                  <a:pt x="4424" y="2132"/>
                </a:lnTo>
                <a:lnTo>
                  <a:pt x="4438" y="2128"/>
                </a:lnTo>
                <a:lnTo>
                  <a:pt x="4450" y="2126"/>
                </a:lnTo>
                <a:lnTo>
                  <a:pt x="4456" y="2122"/>
                </a:lnTo>
                <a:lnTo>
                  <a:pt x="4458" y="2118"/>
                </a:lnTo>
                <a:lnTo>
                  <a:pt x="4456" y="2114"/>
                </a:lnTo>
                <a:lnTo>
                  <a:pt x="4452" y="2108"/>
                </a:lnTo>
                <a:lnTo>
                  <a:pt x="4442" y="2104"/>
                </a:lnTo>
                <a:lnTo>
                  <a:pt x="4432" y="2102"/>
                </a:lnTo>
                <a:lnTo>
                  <a:pt x="4418" y="2098"/>
                </a:lnTo>
                <a:lnTo>
                  <a:pt x="4408" y="2096"/>
                </a:lnTo>
                <a:lnTo>
                  <a:pt x="4400" y="2094"/>
                </a:lnTo>
                <a:lnTo>
                  <a:pt x="4398" y="2090"/>
                </a:lnTo>
                <a:lnTo>
                  <a:pt x="4396" y="2086"/>
                </a:lnTo>
                <a:lnTo>
                  <a:pt x="4392" y="2082"/>
                </a:lnTo>
                <a:lnTo>
                  <a:pt x="4388" y="2078"/>
                </a:lnTo>
                <a:lnTo>
                  <a:pt x="4380" y="2074"/>
                </a:lnTo>
                <a:lnTo>
                  <a:pt x="4364" y="2072"/>
                </a:lnTo>
                <a:lnTo>
                  <a:pt x="4350" y="2068"/>
                </a:lnTo>
                <a:lnTo>
                  <a:pt x="4342" y="2066"/>
                </a:lnTo>
                <a:lnTo>
                  <a:pt x="4340" y="2062"/>
                </a:lnTo>
                <a:lnTo>
                  <a:pt x="4340" y="2056"/>
                </a:lnTo>
                <a:lnTo>
                  <a:pt x="4340" y="2052"/>
                </a:lnTo>
                <a:lnTo>
                  <a:pt x="4338" y="2046"/>
                </a:lnTo>
                <a:lnTo>
                  <a:pt x="4334" y="2040"/>
                </a:lnTo>
                <a:lnTo>
                  <a:pt x="4326" y="2036"/>
                </a:lnTo>
                <a:lnTo>
                  <a:pt x="4314" y="2030"/>
                </a:lnTo>
                <a:lnTo>
                  <a:pt x="4304" y="2024"/>
                </a:lnTo>
                <a:lnTo>
                  <a:pt x="4296" y="2018"/>
                </a:lnTo>
                <a:lnTo>
                  <a:pt x="4290" y="2010"/>
                </a:lnTo>
                <a:lnTo>
                  <a:pt x="4288" y="2002"/>
                </a:lnTo>
                <a:lnTo>
                  <a:pt x="4286" y="1992"/>
                </a:lnTo>
                <a:lnTo>
                  <a:pt x="4290" y="1982"/>
                </a:lnTo>
                <a:lnTo>
                  <a:pt x="4294" y="1970"/>
                </a:lnTo>
                <a:lnTo>
                  <a:pt x="4298" y="1964"/>
                </a:lnTo>
                <a:lnTo>
                  <a:pt x="4298" y="1958"/>
                </a:lnTo>
                <a:lnTo>
                  <a:pt x="4298" y="1954"/>
                </a:lnTo>
                <a:lnTo>
                  <a:pt x="4296" y="1952"/>
                </a:lnTo>
                <a:lnTo>
                  <a:pt x="4290" y="1946"/>
                </a:lnTo>
                <a:lnTo>
                  <a:pt x="4282" y="1944"/>
                </a:lnTo>
                <a:lnTo>
                  <a:pt x="4274" y="1942"/>
                </a:lnTo>
                <a:lnTo>
                  <a:pt x="4268" y="1938"/>
                </a:lnTo>
                <a:lnTo>
                  <a:pt x="4266" y="1936"/>
                </a:lnTo>
                <a:lnTo>
                  <a:pt x="4266" y="1932"/>
                </a:lnTo>
                <a:lnTo>
                  <a:pt x="4268" y="1930"/>
                </a:lnTo>
                <a:lnTo>
                  <a:pt x="4270" y="1924"/>
                </a:lnTo>
                <a:lnTo>
                  <a:pt x="4274" y="1916"/>
                </a:lnTo>
                <a:lnTo>
                  <a:pt x="4274" y="1910"/>
                </a:lnTo>
                <a:lnTo>
                  <a:pt x="4270" y="1904"/>
                </a:lnTo>
                <a:lnTo>
                  <a:pt x="4266" y="1900"/>
                </a:lnTo>
                <a:lnTo>
                  <a:pt x="4258" y="1894"/>
                </a:lnTo>
                <a:lnTo>
                  <a:pt x="4252" y="1888"/>
                </a:lnTo>
                <a:lnTo>
                  <a:pt x="4248" y="1878"/>
                </a:lnTo>
                <a:lnTo>
                  <a:pt x="4244" y="1868"/>
                </a:lnTo>
                <a:lnTo>
                  <a:pt x="4240" y="1850"/>
                </a:lnTo>
                <a:lnTo>
                  <a:pt x="4238" y="1846"/>
                </a:lnTo>
                <a:lnTo>
                  <a:pt x="4236" y="1846"/>
                </a:lnTo>
                <a:lnTo>
                  <a:pt x="4230" y="1842"/>
                </a:lnTo>
                <a:lnTo>
                  <a:pt x="4228" y="1838"/>
                </a:lnTo>
                <a:lnTo>
                  <a:pt x="4226" y="1830"/>
                </a:lnTo>
                <a:lnTo>
                  <a:pt x="4222" y="1822"/>
                </a:lnTo>
                <a:lnTo>
                  <a:pt x="4220" y="1818"/>
                </a:lnTo>
                <a:lnTo>
                  <a:pt x="4212" y="1810"/>
                </a:lnTo>
                <a:lnTo>
                  <a:pt x="4206" y="1806"/>
                </a:lnTo>
                <a:lnTo>
                  <a:pt x="4200" y="1800"/>
                </a:lnTo>
                <a:lnTo>
                  <a:pt x="4194" y="1792"/>
                </a:lnTo>
                <a:lnTo>
                  <a:pt x="4188" y="1778"/>
                </a:lnTo>
                <a:lnTo>
                  <a:pt x="4180" y="1764"/>
                </a:lnTo>
                <a:lnTo>
                  <a:pt x="4174" y="1756"/>
                </a:lnTo>
                <a:lnTo>
                  <a:pt x="4168" y="1752"/>
                </a:lnTo>
                <a:lnTo>
                  <a:pt x="4164" y="1752"/>
                </a:lnTo>
                <a:lnTo>
                  <a:pt x="4158" y="1754"/>
                </a:lnTo>
                <a:lnTo>
                  <a:pt x="4154" y="1760"/>
                </a:lnTo>
                <a:lnTo>
                  <a:pt x="4140" y="1776"/>
                </a:lnTo>
                <a:lnTo>
                  <a:pt x="4132" y="1786"/>
                </a:lnTo>
                <a:lnTo>
                  <a:pt x="4128" y="1800"/>
                </a:lnTo>
                <a:lnTo>
                  <a:pt x="4124" y="1824"/>
                </a:lnTo>
                <a:lnTo>
                  <a:pt x="4122" y="1834"/>
                </a:lnTo>
                <a:lnTo>
                  <a:pt x="4116" y="1842"/>
                </a:lnTo>
                <a:lnTo>
                  <a:pt x="4114" y="1844"/>
                </a:lnTo>
                <a:lnTo>
                  <a:pt x="4110" y="1846"/>
                </a:lnTo>
                <a:lnTo>
                  <a:pt x="4106" y="1846"/>
                </a:lnTo>
                <a:lnTo>
                  <a:pt x="4100" y="1846"/>
                </a:lnTo>
                <a:lnTo>
                  <a:pt x="4090" y="1844"/>
                </a:lnTo>
                <a:lnTo>
                  <a:pt x="4086" y="1844"/>
                </a:lnTo>
                <a:lnTo>
                  <a:pt x="4084" y="1846"/>
                </a:lnTo>
                <a:lnTo>
                  <a:pt x="4084" y="1852"/>
                </a:lnTo>
                <a:lnTo>
                  <a:pt x="4084" y="1856"/>
                </a:lnTo>
                <a:lnTo>
                  <a:pt x="4080" y="1862"/>
                </a:lnTo>
                <a:lnTo>
                  <a:pt x="4074" y="1868"/>
                </a:lnTo>
                <a:lnTo>
                  <a:pt x="4062" y="1874"/>
                </a:lnTo>
                <a:lnTo>
                  <a:pt x="4048" y="1876"/>
                </a:lnTo>
                <a:lnTo>
                  <a:pt x="4038" y="1874"/>
                </a:lnTo>
                <a:lnTo>
                  <a:pt x="4030" y="1868"/>
                </a:lnTo>
                <a:lnTo>
                  <a:pt x="4024" y="1862"/>
                </a:lnTo>
                <a:lnTo>
                  <a:pt x="4018" y="1854"/>
                </a:lnTo>
                <a:lnTo>
                  <a:pt x="4012" y="1846"/>
                </a:lnTo>
                <a:lnTo>
                  <a:pt x="4002" y="1842"/>
                </a:lnTo>
                <a:lnTo>
                  <a:pt x="3988" y="1840"/>
                </a:lnTo>
                <a:lnTo>
                  <a:pt x="3978" y="1840"/>
                </a:lnTo>
                <a:lnTo>
                  <a:pt x="3972" y="1838"/>
                </a:lnTo>
                <a:lnTo>
                  <a:pt x="3970" y="1836"/>
                </a:lnTo>
                <a:lnTo>
                  <a:pt x="3972" y="1832"/>
                </a:lnTo>
                <a:lnTo>
                  <a:pt x="3974" y="1828"/>
                </a:lnTo>
                <a:lnTo>
                  <a:pt x="3976" y="1824"/>
                </a:lnTo>
                <a:lnTo>
                  <a:pt x="3974" y="1818"/>
                </a:lnTo>
                <a:lnTo>
                  <a:pt x="3970" y="1814"/>
                </a:lnTo>
                <a:lnTo>
                  <a:pt x="3964" y="1810"/>
                </a:lnTo>
                <a:lnTo>
                  <a:pt x="3960" y="1806"/>
                </a:lnTo>
                <a:lnTo>
                  <a:pt x="3962" y="1802"/>
                </a:lnTo>
                <a:lnTo>
                  <a:pt x="3964" y="1798"/>
                </a:lnTo>
                <a:lnTo>
                  <a:pt x="3966" y="1794"/>
                </a:lnTo>
                <a:lnTo>
                  <a:pt x="3968" y="1790"/>
                </a:lnTo>
                <a:lnTo>
                  <a:pt x="3968" y="1782"/>
                </a:lnTo>
                <a:lnTo>
                  <a:pt x="3964" y="1774"/>
                </a:lnTo>
                <a:lnTo>
                  <a:pt x="3960" y="1764"/>
                </a:lnTo>
                <a:lnTo>
                  <a:pt x="3960" y="1752"/>
                </a:lnTo>
                <a:lnTo>
                  <a:pt x="3962" y="1742"/>
                </a:lnTo>
                <a:lnTo>
                  <a:pt x="3966" y="1732"/>
                </a:lnTo>
                <a:lnTo>
                  <a:pt x="3974" y="1716"/>
                </a:lnTo>
                <a:lnTo>
                  <a:pt x="3976" y="1708"/>
                </a:lnTo>
                <a:lnTo>
                  <a:pt x="3974" y="1702"/>
                </a:lnTo>
                <a:lnTo>
                  <a:pt x="3968" y="1698"/>
                </a:lnTo>
                <a:lnTo>
                  <a:pt x="3964" y="1698"/>
                </a:lnTo>
                <a:lnTo>
                  <a:pt x="3962" y="1700"/>
                </a:lnTo>
                <a:lnTo>
                  <a:pt x="3958" y="1702"/>
                </a:lnTo>
                <a:lnTo>
                  <a:pt x="3954" y="1710"/>
                </a:lnTo>
                <a:lnTo>
                  <a:pt x="3952" y="1712"/>
                </a:lnTo>
                <a:lnTo>
                  <a:pt x="3950" y="1708"/>
                </a:lnTo>
                <a:lnTo>
                  <a:pt x="3946" y="1704"/>
                </a:lnTo>
                <a:lnTo>
                  <a:pt x="3936" y="1702"/>
                </a:lnTo>
                <a:lnTo>
                  <a:pt x="3914" y="1696"/>
                </a:lnTo>
                <a:lnTo>
                  <a:pt x="3904" y="1692"/>
                </a:lnTo>
                <a:lnTo>
                  <a:pt x="3894" y="1688"/>
                </a:lnTo>
                <a:lnTo>
                  <a:pt x="3888" y="1682"/>
                </a:lnTo>
                <a:lnTo>
                  <a:pt x="3886" y="1680"/>
                </a:lnTo>
                <a:lnTo>
                  <a:pt x="3886" y="1676"/>
                </a:lnTo>
                <a:lnTo>
                  <a:pt x="3886" y="1668"/>
                </a:lnTo>
                <a:lnTo>
                  <a:pt x="3884" y="1662"/>
                </a:lnTo>
                <a:lnTo>
                  <a:pt x="3878" y="1656"/>
                </a:lnTo>
                <a:lnTo>
                  <a:pt x="3870" y="1650"/>
                </a:lnTo>
                <a:lnTo>
                  <a:pt x="3826" y="1620"/>
                </a:lnTo>
                <a:lnTo>
                  <a:pt x="3808" y="1608"/>
                </a:lnTo>
                <a:lnTo>
                  <a:pt x="3800" y="1606"/>
                </a:lnTo>
                <a:lnTo>
                  <a:pt x="3796" y="1606"/>
                </a:lnTo>
                <a:lnTo>
                  <a:pt x="3792" y="1608"/>
                </a:lnTo>
                <a:lnTo>
                  <a:pt x="3788" y="1610"/>
                </a:lnTo>
                <a:lnTo>
                  <a:pt x="3780" y="1616"/>
                </a:lnTo>
                <a:lnTo>
                  <a:pt x="3776" y="1620"/>
                </a:lnTo>
                <a:lnTo>
                  <a:pt x="3768" y="1622"/>
                </a:lnTo>
                <a:lnTo>
                  <a:pt x="3760" y="1624"/>
                </a:lnTo>
                <a:lnTo>
                  <a:pt x="3750" y="1624"/>
                </a:lnTo>
                <a:lnTo>
                  <a:pt x="3736" y="1624"/>
                </a:lnTo>
                <a:lnTo>
                  <a:pt x="3720" y="1620"/>
                </a:lnTo>
                <a:lnTo>
                  <a:pt x="3700" y="1614"/>
                </a:lnTo>
                <a:lnTo>
                  <a:pt x="3676" y="1604"/>
                </a:lnTo>
                <a:lnTo>
                  <a:pt x="3666" y="1600"/>
                </a:lnTo>
                <a:lnTo>
                  <a:pt x="3656" y="1600"/>
                </a:lnTo>
                <a:lnTo>
                  <a:pt x="3648" y="1600"/>
                </a:lnTo>
                <a:lnTo>
                  <a:pt x="3642" y="1600"/>
                </a:lnTo>
                <a:lnTo>
                  <a:pt x="3636" y="1604"/>
                </a:lnTo>
                <a:lnTo>
                  <a:pt x="3632" y="1606"/>
                </a:lnTo>
                <a:lnTo>
                  <a:pt x="3626" y="1616"/>
                </a:lnTo>
                <a:lnTo>
                  <a:pt x="3622" y="1628"/>
                </a:lnTo>
                <a:lnTo>
                  <a:pt x="3624" y="1640"/>
                </a:lnTo>
                <a:lnTo>
                  <a:pt x="3626" y="1652"/>
                </a:lnTo>
                <a:lnTo>
                  <a:pt x="3630" y="1658"/>
                </a:lnTo>
                <a:lnTo>
                  <a:pt x="3634" y="1664"/>
                </a:lnTo>
                <a:lnTo>
                  <a:pt x="3636" y="1672"/>
                </a:lnTo>
                <a:lnTo>
                  <a:pt x="3638" y="1678"/>
                </a:lnTo>
                <a:lnTo>
                  <a:pt x="3638" y="1686"/>
                </a:lnTo>
                <a:lnTo>
                  <a:pt x="3634" y="1700"/>
                </a:lnTo>
                <a:lnTo>
                  <a:pt x="3626" y="1712"/>
                </a:lnTo>
                <a:lnTo>
                  <a:pt x="3624" y="1716"/>
                </a:lnTo>
                <a:lnTo>
                  <a:pt x="3622" y="1718"/>
                </a:lnTo>
                <a:lnTo>
                  <a:pt x="3624" y="1722"/>
                </a:lnTo>
                <a:lnTo>
                  <a:pt x="3626" y="1724"/>
                </a:lnTo>
                <a:lnTo>
                  <a:pt x="3634" y="1734"/>
                </a:lnTo>
                <a:lnTo>
                  <a:pt x="3640" y="1742"/>
                </a:lnTo>
                <a:lnTo>
                  <a:pt x="3644" y="1752"/>
                </a:lnTo>
                <a:lnTo>
                  <a:pt x="3648" y="1764"/>
                </a:lnTo>
                <a:lnTo>
                  <a:pt x="3650" y="1772"/>
                </a:lnTo>
                <a:lnTo>
                  <a:pt x="3650" y="1778"/>
                </a:lnTo>
                <a:lnTo>
                  <a:pt x="3648" y="1784"/>
                </a:lnTo>
                <a:lnTo>
                  <a:pt x="3642" y="1794"/>
                </a:lnTo>
                <a:lnTo>
                  <a:pt x="3636" y="1808"/>
                </a:lnTo>
                <a:lnTo>
                  <a:pt x="3634" y="1816"/>
                </a:lnTo>
                <a:lnTo>
                  <a:pt x="3630" y="1822"/>
                </a:lnTo>
                <a:lnTo>
                  <a:pt x="3620" y="1828"/>
                </a:lnTo>
                <a:lnTo>
                  <a:pt x="3616" y="1830"/>
                </a:lnTo>
                <a:lnTo>
                  <a:pt x="3612" y="1834"/>
                </a:lnTo>
                <a:lnTo>
                  <a:pt x="3610" y="1840"/>
                </a:lnTo>
                <a:lnTo>
                  <a:pt x="3608" y="1850"/>
                </a:lnTo>
                <a:lnTo>
                  <a:pt x="3608" y="1854"/>
                </a:lnTo>
                <a:lnTo>
                  <a:pt x="3608" y="1858"/>
                </a:lnTo>
                <a:lnTo>
                  <a:pt x="3614" y="1866"/>
                </a:lnTo>
                <a:lnTo>
                  <a:pt x="3624" y="1872"/>
                </a:lnTo>
                <a:lnTo>
                  <a:pt x="3634" y="1880"/>
                </a:lnTo>
                <a:lnTo>
                  <a:pt x="3648" y="1890"/>
                </a:lnTo>
                <a:lnTo>
                  <a:pt x="3660" y="1902"/>
                </a:lnTo>
                <a:lnTo>
                  <a:pt x="3668" y="1912"/>
                </a:lnTo>
                <a:lnTo>
                  <a:pt x="3674" y="1922"/>
                </a:lnTo>
                <a:lnTo>
                  <a:pt x="3678" y="1934"/>
                </a:lnTo>
                <a:lnTo>
                  <a:pt x="3684" y="1950"/>
                </a:lnTo>
                <a:lnTo>
                  <a:pt x="3686" y="1964"/>
                </a:lnTo>
                <a:lnTo>
                  <a:pt x="3688" y="1978"/>
                </a:lnTo>
                <a:lnTo>
                  <a:pt x="3688" y="1992"/>
                </a:lnTo>
                <a:lnTo>
                  <a:pt x="3684" y="2004"/>
                </a:lnTo>
                <a:lnTo>
                  <a:pt x="3680" y="2016"/>
                </a:lnTo>
                <a:lnTo>
                  <a:pt x="3676" y="2028"/>
                </a:lnTo>
                <a:lnTo>
                  <a:pt x="3668" y="2038"/>
                </a:lnTo>
                <a:lnTo>
                  <a:pt x="3660" y="2048"/>
                </a:lnTo>
                <a:lnTo>
                  <a:pt x="3644" y="2064"/>
                </a:lnTo>
                <a:lnTo>
                  <a:pt x="3624" y="2078"/>
                </a:lnTo>
                <a:lnTo>
                  <a:pt x="3604" y="2090"/>
                </a:lnTo>
                <a:lnTo>
                  <a:pt x="3584" y="2098"/>
                </a:lnTo>
                <a:lnTo>
                  <a:pt x="3570" y="2104"/>
                </a:lnTo>
                <a:lnTo>
                  <a:pt x="3564" y="2110"/>
                </a:lnTo>
                <a:lnTo>
                  <a:pt x="3562" y="2114"/>
                </a:lnTo>
                <a:lnTo>
                  <a:pt x="3562" y="2116"/>
                </a:lnTo>
                <a:lnTo>
                  <a:pt x="3566" y="2122"/>
                </a:lnTo>
                <a:lnTo>
                  <a:pt x="3572" y="2130"/>
                </a:lnTo>
                <a:lnTo>
                  <a:pt x="3578" y="2140"/>
                </a:lnTo>
                <a:lnTo>
                  <a:pt x="3584" y="2152"/>
                </a:lnTo>
                <a:lnTo>
                  <a:pt x="3584" y="2160"/>
                </a:lnTo>
                <a:lnTo>
                  <a:pt x="3584" y="2168"/>
                </a:lnTo>
                <a:lnTo>
                  <a:pt x="3586" y="2184"/>
                </a:lnTo>
                <a:lnTo>
                  <a:pt x="3590" y="2198"/>
                </a:lnTo>
                <a:lnTo>
                  <a:pt x="3600" y="2228"/>
                </a:lnTo>
                <a:lnTo>
                  <a:pt x="3604" y="2242"/>
                </a:lnTo>
                <a:lnTo>
                  <a:pt x="3604" y="2254"/>
                </a:lnTo>
                <a:lnTo>
                  <a:pt x="3604" y="2264"/>
                </a:lnTo>
                <a:lnTo>
                  <a:pt x="3602" y="2266"/>
                </a:lnTo>
                <a:lnTo>
                  <a:pt x="3598" y="2270"/>
                </a:lnTo>
                <a:lnTo>
                  <a:pt x="3594" y="2272"/>
                </a:lnTo>
                <a:lnTo>
                  <a:pt x="3592" y="2276"/>
                </a:lnTo>
                <a:lnTo>
                  <a:pt x="3590" y="2282"/>
                </a:lnTo>
                <a:lnTo>
                  <a:pt x="3592" y="2290"/>
                </a:lnTo>
                <a:lnTo>
                  <a:pt x="3594" y="2298"/>
                </a:lnTo>
                <a:lnTo>
                  <a:pt x="3596" y="2302"/>
                </a:lnTo>
                <a:lnTo>
                  <a:pt x="3596" y="2304"/>
                </a:lnTo>
                <a:lnTo>
                  <a:pt x="3590" y="2304"/>
                </a:lnTo>
                <a:lnTo>
                  <a:pt x="3582" y="2298"/>
                </a:lnTo>
                <a:lnTo>
                  <a:pt x="3570" y="2294"/>
                </a:lnTo>
                <a:lnTo>
                  <a:pt x="3568" y="2294"/>
                </a:lnTo>
                <a:lnTo>
                  <a:pt x="3566" y="2296"/>
                </a:lnTo>
                <a:lnTo>
                  <a:pt x="3564" y="2302"/>
                </a:lnTo>
                <a:lnTo>
                  <a:pt x="3562" y="2308"/>
                </a:lnTo>
                <a:lnTo>
                  <a:pt x="3562" y="2316"/>
                </a:lnTo>
                <a:lnTo>
                  <a:pt x="3560" y="2322"/>
                </a:lnTo>
                <a:lnTo>
                  <a:pt x="3558" y="2322"/>
                </a:lnTo>
                <a:lnTo>
                  <a:pt x="3554" y="2324"/>
                </a:lnTo>
                <a:lnTo>
                  <a:pt x="3546" y="2318"/>
                </a:lnTo>
                <a:lnTo>
                  <a:pt x="3536" y="2312"/>
                </a:lnTo>
                <a:lnTo>
                  <a:pt x="3530" y="2306"/>
                </a:lnTo>
                <a:lnTo>
                  <a:pt x="3522" y="2292"/>
                </a:lnTo>
                <a:lnTo>
                  <a:pt x="3516" y="2282"/>
                </a:lnTo>
                <a:lnTo>
                  <a:pt x="3508" y="2270"/>
                </a:lnTo>
                <a:lnTo>
                  <a:pt x="3494" y="2256"/>
                </a:lnTo>
                <a:lnTo>
                  <a:pt x="3474" y="2238"/>
                </a:lnTo>
                <a:lnTo>
                  <a:pt x="3464" y="2226"/>
                </a:lnTo>
                <a:lnTo>
                  <a:pt x="3458" y="2216"/>
                </a:lnTo>
                <a:lnTo>
                  <a:pt x="3456" y="2204"/>
                </a:lnTo>
                <a:lnTo>
                  <a:pt x="3456" y="2194"/>
                </a:lnTo>
                <a:lnTo>
                  <a:pt x="3458" y="2172"/>
                </a:lnTo>
                <a:lnTo>
                  <a:pt x="3456" y="2160"/>
                </a:lnTo>
                <a:lnTo>
                  <a:pt x="3454" y="2148"/>
                </a:lnTo>
                <a:lnTo>
                  <a:pt x="3450" y="2134"/>
                </a:lnTo>
                <a:lnTo>
                  <a:pt x="3452" y="2122"/>
                </a:lnTo>
                <a:lnTo>
                  <a:pt x="3454" y="2110"/>
                </a:lnTo>
                <a:lnTo>
                  <a:pt x="3456" y="2102"/>
                </a:lnTo>
                <a:lnTo>
                  <a:pt x="3458" y="2094"/>
                </a:lnTo>
                <a:lnTo>
                  <a:pt x="3456" y="2088"/>
                </a:lnTo>
                <a:lnTo>
                  <a:pt x="3452" y="2082"/>
                </a:lnTo>
                <a:lnTo>
                  <a:pt x="3440" y="2078"/>
                </a:lnTo>
                <a:lnTo>
                  <a:pt x="3414" y="2072"/>
                </a:lnTo>
                <a:lnTo>
                  <a:pt x="3394" y="2070"/>
                </a:lnTo>
                <a:lnTo>
                  <a:pt x="3378" y="2070"/>
                </a:lnTo>
                <a:lnTo>
                  <a:pt x="3368" y="2070"/>
                </a:lnTo>
                <a:lnTo>
                  <a:pt x="3354" y="2072"/>
                </a:lnTo>
                <a:lnTo>
                  <a:pt x="3348" y="2072"/>
                </a:lnTo>
                <a:lnTo>
                  <a:pt x="3340" y="2070"/>
                </a:lnTo>
                <a:lnTo>
                  <a:pt x="3334" y="2068"/>
                </a:lnTo>
                <a:lnTo>
                  <a:pt x="3330" y="2064"/>
                </a:lnTo>
                <a:lnTo>
                  <a:pt x="3322" y="2054"/>
                </a:lnTo>
                <a:lnTo>
                  <a:pt x="3316" y="2050"/>
                </a:lnTo>
                <a:lnTo>
                  <a:pt x="3306" y="2044"/>
                </a:lnTo>
                <a:lnTo>
                  <a:pt x="3290" y="2038"/>
                </a:lnTo>
                <a:lnTo>
                  <a:pt x="3268" y="2030"/>
                </a:lnTo>
                <a:lnTo>
                  <a:pt x="3248" y="2024"/>
                </a:lnTo>
                <a:lnTo>
                  <a:pt x="3236" y="2018"/>
                </a:lnTo>
                <a:lnTo>
                  <a:pt x="3232" y="2012"/>
                </a:lnTo>
                <a:lnTo>
                  <a:pt x="3230" y="2004"/>
                </a:lnTo>
                <a:lnTo>
                  <a:pt x="3226" y="1996"/>
                </a:lnTo>
                <a:lnTo>
                  <a:pt x="3216" y="1988"/>
                </a:lnTo>
                <a:lnTo>
                  <a:pt x="3198" y="1976"/>
                </a:lnTo>
                <a:lnTo>
                  <a:pt x="3166" y="1962"/>
                </a:lnTo>
                <a:lnTo>
                  <a:pt x="3146" y="1956"/>
                </a:lnTo>
                <a:lnTo>
                  <a:pt x="3130" y="1952"/>
                </a:lnTo>
                <a:lnTo>
                  <a:pt x="3114" y="1950"/>
                </a:lnTo>
                <a:lnTo>
                  <a:pt x="3102" y="1950"/>
                </a:lnTo>
                <a:lnTo>
                  <a:pt x="3090" y="1950"/>
                </a:lnTo>
                <a:lnTo>
                  <a:pt x="3080" y="1952"/>
                </a:lnTo>
                <a:lnTo>
                  <a:pt x="3064" y="1958"/>
                </a:lnTo>
                <a:lnTo>
                  <a:pt x="3052" y="1964"/>
                </a:lnTo>
                <a:lnTo>
                  <a:pt x="3046" y="1966"/>
                </a:lnTo>
                <a:lnTo>
                  <a:pt x="3044" y="1966"/>
                </a:lnTo>
                <a:lnTo>
                  <a:pt x="3042" y="1962"/>
                </a:lnTo>
                <a:lnTo>
                  <a:pt x="3040" y="1948"/>
                </a:lnTo>
                <a:lnTo>
                  <a:pt x="3040" y="1930"/>
                </a:lnTo>
                <a:lnTo>
                  <a:pt x="3038" y="1918"/>
                </a:lnTo>
                <a:lnTo>
                  <a:pt x="3032" y="1902"/>
                </a:lnTo>
                <a:lnTo>
                  <a:pt x="3026" y="1888"/>
                </a:lnTo>
                <a:lnTo>
                  <a:pt x="3024" y="1878"/>
                </a:lnTo>
                <a:lnTo>
                  <a:pt x="3020" y="1866"/>
                </a:lnTo>
                <a:lnTo>
                  <a:pt x="3020" y="1860"/>
                </a:lnTo>
                <a:lnTo>
                  <a:pt x="3016" y="1856"/>
                </a:lnTo>
                <a:lnTo>
                  <a:pt x="3012" y="1854"/>
                </a:lnTo>
                <a:lnTo>
                  <a:pt x="3008" y="1852"/>
                </a:lnTo>
                <a:lnTo>
                  <a:pt x="2998" y="1852"/>
                </a:lnTo>
                <a:lnTo>
                  <a:pt x="2986" y="1852"/>
                </a:lnTo>
                <a:lnTo>
                  <a:pt x="2974" y="1850"/>
                </a:lnTo>
                <a:lnTo>
                  <a:pt x="2968" y="1846"/>
                </a:lnTo>
                <a:lnTo>
                  <a:pt x="2964" y="1844"/>
                </a:lnTo>
                <a:lnTo>
                  <a:pt x="2958" y="1838"/>
                </a:lnTo>
                <a:lnTo>
                  <a:pt x="2954" y="1830"/>
                </a:lnTo>
                <a:lnTo>
                  <a:pt x="2952" y="1820"/>
                </a:lnTo>
                <a:lnTo>
                  <a:pt x="2948" y="1808"/>
                </a:lnTo>
                <a:lnTo>
                  <a:pt x="2948" y="1794"/>
                </a:lnTo>
                <a:lnTo>
                  <a:pt x="2950" y="1778"/>
                </a:lnTo>
                <a:lnTo>
                  <a:pt x="2952" y="1764"/>
                </a:lnTo>
                <a:lnTo>
                  <a:pt x="2956" y="1748"/>
                </a:lnTo>
                <a:lnTo>
                  <a:pt x="2968" y="1718"/>
                </a:lnTo>
                <a:lnTo>
                  <a:pt x="2982" y="1688"/>
                </a:lnTo>
                <a:lnTo>
                  <a:pt x="2998" y="1664"/>
                </a:lnTo>
                <a:lnTo>
                  <a:pt x="3014" y="1644"/>
                </a:lnTo>
                <a:lnTo>
                  <a:pt x="3026" y="1632"/>
                </a:lnTo>
                <a:lnTo>
                  <a:pt x="3032" y="1630"/>
                </a:lnTo>
                <a:lnTo>
                  <a:pt x="3034" y="1628"/>
                </a:lnTo>
                <a:lnTo>
                  <a:pt x="3040" y="1628"/>
                </a:lnTo>
                <a:lnTo>
                  <a:pt x="3042" y="1624"/>
                </a:lnTo>
                <a:lnTo>
                  <a:pt x="3046" y="1610"/>
                </a:lnTo>
                <a:lnTo>
                  <a:pt x="3048" y="1602"/>
                </a:lnTo>
                <a:lnTo>
                  <a:pt x="3052" y="1594"/>
                </a:lnTo>
                <a:lnTo>
                  <a:pt x="3060" y="1588"/>
                </a:lnTo>
                <a:lnTo>
                  <a:pt x="3072" y="1586"/>
                </a:lnTo>
                <a:lnTo>
                  <a:pt x="3096" y="1582"/>
                </a:lnTo>
                <a:lnTo>
                  <a:pt x="3108" y="1580"/>
                </a:lnTo>
                <a:lnTo>
                  <a:pt x="3116" y="1576"/>
                </a:lnTo>
                <a:lnTo>
                  <a:pt x="3120" y="1570"/>
                </a:lnTo>
                <a:lnTo>
                  <a:pt x="3122" y="1562"/>
                </a:lnTo>
                <a:lnTo>
                  <a:pt x="3116" y="1554"/>
                </a:lnTo>
                <a:lnTo>
                  <a:pt x="3106" y="1544"/>
                </a:lnTo>
                <a:lnTo>
                  <a:pt x="3098" y="1536"/>
                </a:lnTo>
                <a:lnTo>
                  <a:pt x="3098" y="1532"/>
                </a:lnTo>
                <a:lnTo>
                  <a:pt x="3104" y="1530"/>
                </a:lnTo>
                <a:lnTo>
                  <a:pt x="3114" y="1530"/>
                </a:lnTo>
                <a:lnTo>
                  <a:pt x="3124" y="1528"/>
                </a:lnTo>
                <a:lnTo>
                  <a:pt x="3136" y="1526"/>
                </a:lnTo>
                <a:lnTo>
                  <a:pt x="3142" y="1524"/>
                </a:lnTo>
                <a:lnTo>
                  <a:pt x="3146" y="1520"/>
                </a:lnTo>
                <a:lnTo>
                  <a:pt x="3148" y="1514"/>
                </a:lnTo>
                <a:lnTo>
                  <a:pt x="3150" y="1508"/>
                </a:lnTo>
                <a:lnTo>
                  <a:pt x="3152" y="1502"/>
                </a:lnTo>
                <a:lnTo>
                  <a:pt x="3154" y="1498"/>
                </a:lnTo>
                <a:lnTo>
                  <a:pt x="3156" y="1496"/>
                </a:lnTo>
                <a:lnTo>
                  <a:pt x="3160" y="1496"/>
                </a:lnTo>
                <a:lnTo>
                  <a:pt x="3168" y="1500"/>
                </a:lnTo>
                <a:lnTo>
                  <a:pt x="3176" y="1506"/>
                </a:lnTo>
                <a:lnTo>
                  <a:pt x="3188" y="1510"/>
                </a:lnTo>
                <a:lnTo>
                  <a:pt x="3194" y="1510"/>
                </a:lnTo>
                <a:lnTo>
                  <a:pt x="3200" y="1510"/>
                </a:lnTo>
                <a:lnTo>
                  <a:pt x="3206" y="1506"/>
                </a:lnTo>
                <a:lnTo>
                  <a:pt x="3214" y="1502"/>
                </a:lnTo>
                <a:lnTo>
                  <a:pt x="3222" y="1494"/>
                </a:lnTo>
                <a:lnTo>
                  <a:pt x="3228" y="1482"/>
                </a:lnTo>
                <a:lnTo>
                  <a:pt x="3242" y="1460"/>
                </a:lnTo>
                <a:lnTo>
                  <a:pt x="3252" y="1446"/>
                </a:lnTo>
                <a:lnTo>
                  <a:pt x="3258" y="1436"/>
                </a:lnTo>
                <a:lnTo>
                  <a:pt x="3260" y="1430"/>
                </a:lnTo>
                <a:lnTo>
                  <a:pt x="3258" y="1428"/>
                </a:lnTo>
                <a:lnTo>
                  <a:pt x="3256" y="1428"/>
                </a:lnTo>
                <a:lnTo>
                  <a:pt x="3246" y="1426"/>
                </a:lnTo>
                <a:lnTo>
                  <a:pt x="3228" y="1422"/>
                </a:lnTo>
                <a:lnTo>
                  <a:pt x="3204" y="1418"/>
                </a:lnTo>
                <a:lnTo>
                  <a:pt x="3188" y="1414"/>
                </a:lnTo>
                <a:lnTo>
                  <a:pt x="3176" y="1408"/>
                </a:lnTo>
                <a:lnTo>
                  <a:pt x="3170" y="1404"/>
                </a:lnTo>
                <a:lnTo>
                  <a:pt x="3164" y="1400"/>
                </a:lnTo>
                <a:lnTo>
                  <a:pt x="3154" y="1390"/>
                </a:lnTo>
                <a:lnTo>
                  <a:pt x="3146" y="1384"/>
                </a:lnTo>
                <a:lnTo>
                  <a:pt x="3132" y="1378"/>
                </a:lnTo>
                <a:lnTo>
                  <a:pt x="3140" y="1376"/>
                </a:lnTo>
                <a:lnTo>
                  <a:pt x="3150" y="1376"/>
                </a:lnTo>
                <a:lnTo>
                  <a:pt x="3158" y="1378"/>
                </a:lnTo>
                <a:lnTo>
                  <a:pt x="3168" y="1382"/>
                </a:lnTo>
                <a:lnTo>
                  <a:pt x="3186" y="1392"/>
                </a:lnTo>
                <a:lnTo>
                  <a:pt x="3204" y="1400"/>
                </a:lnTo>
                <a:lnTo>
                  <a:pt x="3220" y="1410"/>
                </a:lnTo>
                <a:lnTo>
                  <a:pt x="3230" y="1412"/>
                </a:lnTo>
                <a:lnTo>
                  <a:pt x="3238" y="1414"/>
                </a:lnTo>
                <a:lnTo>
                  <a:pt x="3246" y="1412"/>
                </a:lnTo>
                <a:lnTo>
                  <a:pt x="3256" y="1410"/>
                </a:lnTo>
                <a:lnTo>
                  <a:pt x="3264" y="1406"/>
                </a:lnTo>
                <a:lnTo>
                  <a:pt x="3272" y="1398"/>
                </a:lnTo>
                <a:lnTo>
                  <a:pt x="3296" y="1372"/>
                </a:lnTo>
                <a:lnTo>
                  <a:pt x="3302" y="1366"/>
                </a:lnTo>
                <a:lnTo>
                  <a:pt x="3304" y="1360"/>
                </a:lnTo>
                <a:lnTo>
                  <a:pt x="3304" y="1356"/>
                </a:lnTo>
                <a:lnTo>
                  <a:pt x="3300" y="1352"/>
                </a:lnTo>
                <a:lnTo>
                  <a:pt x="3280" y="1340"/>
                </a:lnTo>
                <a:lnTo>
                  <a:pt x="3270" y="1334"/>
                </a:lnTo>
                <a:lnTo>
                  <a:pt x="3270" y="1332"/>
                </a:lnTo>
                <a:lnTo>
                  <a:pt x="3270" y="1330"/>
                </a:lnTo>
                <a:lnTo>
                  <a:pt x="3278" y="1326"/>
                </a:lnTo>
                <a:lnTo>
                  <a:pt x="3290" y="1326"/>
                </a:lnTo>
                <a:lnTo>
                  <a:pt x="3302" y="1328"/>
                </a:lnTo>
                <a:lnTo>
                  <a:pt x="3316" y="1330"/>
                </a:lnTo>
                <a:lnTo>
                  <a:pt x="3328" y="1334"/>
                </a:lnTo>
                <a:lnTo>
                  <a:pt x="3336" y="1340"/>
                </a:lnTo>
                <a:lnTo>
                  <a:pt x="3346" y="1348"/>
                </a:lnTo>
                <a:lnTo>
                  <a:pt x="3356" y="1358"/>
                </a:lnTo>
                <a:lnTo>
                  <a:pt x="3366" y="1366"/>
                </a:lnTo>
                <a:lnTo>
                  <a:pt x="3374" y="1376"/>
                </a:lnTo>
                <a:lnTo>
                  <a:pt x="3382" y="1386"/>
                </a:lnTo>
                <a:lnTo>
                  <a:pt x="3388" y="1392"/>
                </a:lnTo>
                <a:lnTo>
                  <a:pt x="3398" y="1394"/>
                </a:lnTo>
                <a:lnTo>
                  <a:pt x="3410" y="1390"/>
                </a:lnTo>
                <a:lnTo>
                  <a:pt x="3412" y="1390"/>
                </a:lnTo>
                <a:lnTo>
                  <a:pt x="3414" y="1388"/>
                </a:lnTo>
                <a:lnTo>
                  <a:pt x="3412" y="1384"/>
                </a:lnTo>
                <a:lnTo>
                  <a:pt x="3400" y="1376"/>
                </a:lnTo>
                <a:lnTo>
                  <a:pt x="3392" y="1370"/>
                </a:lnTo>
                <a:lnTo>
                  <a:pt x="3386" y="1366"/>
                </a:lnTo>
                <a:lnTo>
                  <a:pt x="3386" y="1362"/>
                </a:lnTo>
                <a:lnTo>
                  <a:pt x="3386" y="1360"/>
                </a:lnTo>
                <a:lnTo>
                  <a:pt x="3386" y="1358"/>
                </a:lnTo>
                <a:lnTo>
                  <a:pt x="3390" y="1356"/>
                </a:lnTo>
                <a:lnTo>
                  <a:pt x="3398" y="1352"/>
                </a:lnTo>
                <a:lnTo>
                  <a:pt x="3404" y="1346"/>
                </a:lnTo>
                <a:lnTo>
                  <a:pt x="3416" y="1336"/>
                </a:lnTo>
                <a:lnTo>
                  <a:pt x="3426" y="1328"/>
                </a:lnTo>
                <a:lnTo>
                  <a:pt x="3432" y="1326"/>
                </a:lnTo>
                <a:lnTo>
                  <a:pt x="3438" y="1326"/>
                </a:lnTo>
                <a:lnTo>
                  <a:pt x="3446" y="1326"/>
                </a:lnTo>
                <a:lnTo>
                  <a:pt x="3450" y="1322"/>
                </a:lnTo>
                <a:lnTo>
                  <a:pt x="3456" y="1318"/>
                </a:lnTo>
                <a:lnTo>
                  <a:pt x="3460" y="1314"/>
                </a:lnTo>
                <a:lnTo>
                  <a:pt x="3468" y="1304"/>
                </a:lnTo>
                <a:lnTo>
                  <a:pt x="3474" y="1300"/>
                </a:lnTo>
                <a:lnTo>
                  <a:pt x="3480" y="1298"/>
                </a:lnTo>
                <a:lnTo>
                  <a:pt x="3486" y="1296"/>
                </a:lnTo>
                <a:lnTo>
                  <a:pt x="3490" y="1294"/>
                </a:lnTo>
                <a:lnTo>
                  <a:pt x="3492" y="1288"/>
                </a:lnTo>
                <a:lnTo>
                  <a:pt x="3494" y="1280"/>
                </a:lnTo>
                <a:lnTo>
                  <a:pt x="3494" y="1274"/>
                </a:lnTo>
                <a:lnTo>
                  <a:pt x="3490" y="1264"/>
                </a:lnTo>
                <a:lnTo>
                  <a:pt x="3482" y="1254"/>
                </a:lnTo>
                <a:lnTo>
                  <a:pt x="3472" y="1246"/>
                </a:lnTo>
                <a:lnTo>
                  <a:pt x="3464" y="1238"/>
                </a:lnTo>
                <a:lnTo>
                  <a:pt x="3460" y="1232"/>
                </a:lnTo>
                <a:lnTo>
                  <a:pt x="3460" y="1226"/>
                </a:lnTo>
                <a:lnTo>
                  <a:pt x="3462" y="1224"/>
                </a:lnTo>
                <a:lnTo>
                  <a:pt x="3466" y="1220"/>
                </a:lnTo>
                <a:lnTo>
                  <a:pt x="3466" y="1216"/>
                </a:lnTo>
                <a:lnTo>
                  <a:pt x="3464" y="1212"/>
                </a:lnTo>
                <a:lnTo>
                  <a:pt x="3458" y="1206"/>
                </a:lnTo>
                <a:lnTo>
                  <a:pt x="3452" y="1200"/>
                </a:lnTo>
                <a:lnTo>
                  <a:pt x="3452" y="1198"/>
                </a:lnTo>
                <a:lnTo>
                  <a:pt x="3454" y="1196"/>
                </a:lnTo>
                <a:lnTo>
                  <a:pt x="3458" y="1196"/>
                </a:lnTo>
                <a:lnTo>
                  <a:pt x="3466" y="1196"/>
                </a:lnTo>
                <a:lnTo>
                  <a:pt x="3476" y="1196"/>
                </a:lnTo>
                <a:lnTo>
                  <a:pt x="3484" y="1194"/>
                </a:lnTo>
                <a:lnTo>
                  <a:pt x="3492" y="1190"/>
                </a:lnTo>
                <a:lnTo>
                  <a:pt x="3496" y="1186"/>
                </a:lnTo>
                <a:lnTo>
                  <a:pt x="3496" y="1182"/>
                </a:lnTo>
                <a:lnTo>
                  <a:pt x="3498" y="1174"/>
                </a:lnTo>
                <a:lnTo>
                  <a:pt x="3496" y="1170"/>
                </a:lnTo>
                <a:lnTo>
                  <a:pt x="3492" y="1166"/>
                </a:lnTo>
                <a:lnTo>
                  <a:pt x="3490" y="1164"/>
                </a:lnTo>
                <a:lnTo>
                  <a:pt x="3486" y="1164"/>
                </a:lnTo>
                <a:lnTo>
                  <a:pt x="3484" y="1162"/>
                </a:lnTo>
                <a:lnTo>
                  <a:pt x="3486" y="1158"/>
                </a:lnTo>
                <a:lnTo>
                  <a:pt x="3490" y="1152"/>
                </a:lnTo>
                <a:lnTo>
                  <a:pt x="3494" y="1146"/>
                </a:lnTo>
                <a:lnTo>
                  <a:pt x="3492" y="1142"/>
                </a:lnTo>
                <a:lnTo>
                  <a:pt x="3488" y="1140"/>
                </a:lnTo>
                <a:lnTo>
                  <a:pt x="3480" y="1140"/>
                </a:lnTo>
                <a:lnTo>
                  <a:pt x="3472" y="1138"/>
                </a:lnTo>
                <a:lnTo>
                  <a:pt x="3466" y="1136"/>
                </a:lnTo>
                <a:lnTo>
                  <a:pt x="3458" y="1130"/>
                </a:lnTo>
                <a:lnTo>
                  <a:pt x="3456" y="1122"/>
                </a:lnTo>
                <a:lnTo>
                  <a:pt x="3452" y="1114"/>
                </a:lnTo>
                <a:lnTo>
                  <a:pt x="3446" y="1110"/>
                </a:lnTo>
                <a:lnTo>
                  <a:pt x="3438" y="1108"/>
                </a:lnTo>
                <a:lnTo>
                  <a:pt x="3428" y="1106"/>
                </a:lnTo>
                <a:lnTo>
                  <a:pt x="3406" y="1106"/>
                </a:lnTo>
                <a:lnTo>
                  <a:pt x="3392" y="1104"/>
                </a:lnTo>
                <a:lnTo>
                  <a:pt x="3378" y="1098"/>
                </a:lnTo>
                <a:lnTo>
                  <a:pt x="3362" y="1090"/>
                </a:lnTo>
                <a:lnTo>
                  <a:pt x="3358" y="1090"/>
                </a:lnTo>
                <a:lnTo>
                  <a:pt x="3354" y="1092"/>
                </a:lnTo>
                <a:lnTo>
                  <a:pt x="3348" y="1096"/>
                </a:lnTo>
                <a:lnTo>
                  <a:pt x="3344" y="1096"/>
                </a:lnTo>
                <a:lnTo>
                  <a:pt x="3334" y="1098"/>
                </a:lnTo>
                <a:lnTo>
                  <a:pt x="3326" y="1098"/>
                </a:lnTo>
                <a:lnTo>
                  <a:pt x="3320" y="1104"/>
                </a:lnTo>
                <a:lnTo>
                  <a:pt x="3318" y="1112"/>
                </a:lnTo>
                <a:lnTo>
                  <a:pt x="3318" y="1120"/>
                </a:lnTo>
                <a:lnTo>
                  <a:pt x="3322" y="1130"/>
                </a:lnTo>
                <a:lnTo>
                  <a:pt x="3326" y="1138"/>
                </a:lnTo>
                <a:lnTo>
                  <a:pt x="3332" y="1144"/>
                </a:lnTo>
                <a:lnTo>
                  <a:pt x="3338" y="1150"/>
                </a:lnTo>
                <a:lnTo>
                  <a:pt x="3344" y="1152"/>
                </a:lnTo>
                <a:lnTo>
                  <a:pt x="3346" y="1156"/>
                </a:lnTo>
                <a:lnTo>
                  <a:pt x="3346" y="1160"/>
                </a:lnTo>
                <a:lnTo>
                  <a:pt x="3346" y="1166"/>
                </a:lnTo>
                <a:lnTo>
                  <a:pt x="3342" y="1170"/>
                </a:lnTo>
                <a:lnTo>
                  <a:pt x="3338" y="1172"/>
                </a:lnTo>
                <a:lnTo>
                  <a:pt x="3334" y="1174"/>
                </a:lnTo>
                <a:lnTo>
                  <a:pt x="3328" y="1174"/>
                </a:lnTo>
                <a:lnTo>
                  <a:pt x="3322" y="1174"/>
                </a:lnTo>
                <a:lnTo>
                  <a:pt x="3320" y="1180"/>
                </a:lnTo>
                <a:lnTo>
                  <a:pt x="3320" y="1196"/>
                </a:lnTo>
                <a:lnTo>
                  <a:pt x="3318" y="1206"/>
                </a:lnTo>
                <a:lnTo>
                  <a:pt x="3316" y="1216"/>
                </a:lnTo>
                <a:lnTo>
                  <a:pt x="3310" y="1226"/>
                </a:lnTo>
                <a:lnTo>
                  <a:pt x="3302" y="1234"/>
                </a:lnTo>
                <a:lnTo>
                  <a:pt x="3292" y="1242"/>
                </a:lnTo>
                <a:lnTo>
                  <a:pt x="3286" y="1248"/>
                </a:lnTo>
                <a:lnTo>
                  <a:pt x="3284" y="1256"/>
                </a:lnTo>
                <a:lnTo>
                  <a:pt x="3282" y="1262"/>
                </a:lnTo>
                <a:lnTo>
                  <a:pt x="3282" y="1268"/>
                </a:lnTo>
                <a:lnTo>
                  <a:pt x="3278" y="1272"/>
                </a:lnTo>
                <a:lnTo>
                  <a:pt x="3274" y="1276"/>
                </a:lnTo>
                <a:lnTo>
                  <a:pt x="3264" y="1280"/>
                </a:lnTo>
                <a:lnTo>
                  <a:pt x="3250" y="1284"/>
                </a:lnTo>
                <a:lnTo>
                  <a:pt x="3246" y="1282"/>
                </a:lnTo>
                <a:lnTo>
                  <a:pt x="3244" y="1280"/>
                </a:lnTo>
                <a:lnTo>
                  <a:pt x="3238" y="1268"/>
                </a:lnTo>
                <a:lnTo>
                  <a:pt x="3232" y="1262"/>
                </a:lnTo>
                <a:lnTo>
                  <a:pt x="3222" y="1252"/>
                </a:lnTo>
                <a:lnTo>
                  <a:pt x="3214" y="1242"/>
                </a:lnTo>
                <a:lnTo>
                  <a:pt x="3212" y="1236"/>
                </a:lnTo>
                <a:lnTo>
                  <a:pt x="3212" y="1232"/>
                </a:lnTo>
                <a:lnTo>
                  <a:pt x="3216" y="1228"/>
                </a:lnTo>
                <a:lnTo>
                  <a:pt x="3228" y="1220"/>
                </a:lnTo>
                <a:lnTo>
                  <a:pt x="3232" y="1216"/>
                </a:lnTo>
                <a:lnTo>
                  <a:pt x="3234" y="1210"/>
                </a:lnTo>
                <a:lnTo>
                  <a:pt x="3232" y="1200"/>
                </a:lnTo>
                <a:lnTo>
                  <a:pt x="3228" y="1188"/>
                </a:lnTo>
                <a:lnTo>
                  <a:pt x="3220" y="1174"/>
                </a:lnTo>
                <a:lnTo>
                  <a:pt x="3212" y="1160"/>
                </a:lnTo>
                <a:lnTo>
                  <a:pt x="3200" y="1148"/>
                </a:lnTo>
                <a:lnTo>
                  <a:pt x="3190" y="1142"/>
                </a:lnTo>
                <a:lnTo>
                  <a:pt x="3184" y="1140"/>
                </a:lnTo>
                <a:lnTo>
                  <a:pt x="3178" y="1140"/>
                </a:lnTo>
                <a:lnTo>
                  <a:pt x="3172" y="1142"/>
                </a:lnTo>
                <a:lnTo>
                  <a:pt x="3168" y="1144"/>
                </a:lnTo>
                <a:lnTo>
                  <a:pt x="3160" y="1156"/>
                </a:lnTo>
                <a:lnTo>
                  <a:pt x="3154" y="1168"/>
                </a:lnTo>
                <a:lnTo>
                  <a:pt x="3148" y="1192"/>
                </a:lnTo>
                <a:lnTo>
                  <a:pt x="3146" y="1202"/>
                </a:lnTo>
                <a:lnTo>
                  <a:pt x="3142" y="1208"/>
                </a:lnTo>
                <a:lnTo>
                  <a:pt x="3140" y="1208"/>
                </a:lnTo>
                <a:lnTo>
                  <a:pt x="3138" y="1208"/>
                </a:lnTo>
                <a:lnTo>
                  <a:pt x="3130" y="1200"/>
                </a:lnTo>
                <a:lnTo>
                  <a:pt x="3124" y="1192"/>
                </a:lnTo>
                <a:lnTo>
                  <a:pt x="3122" y="1186"/>
                </a:lnTo>
                <a:lnTo>
                  <a:pt x="3122" y="1182"/>
                </a:lnTo>
                <a:lnTo>
                  <a:pt x="3126" y="1178"/>
                </a:lnTo>
                <a:lnTo>
                  <a:pt x="3128" y="1174"/>
                </a:lnTo>
                <a:lnTo>
                  <a:pt x="3128" y="1170"/>
                </a:lnTo>
                <a:lnTo>
                  <a:pt x="3126" y="1164"/>
                </a:lnTo>
                <a:lnTo>
                  <a:pt x="3118" y="1156"/>
                </a:lnTo>
                <a:lnTo>
                  <a:pt x="3112" y="1146"/>
                </a:lnTo>
                <a:lnTo>
                  <a:pt x="3110" y="1144"/>
                </a:lnTo>
                <a:lnTo>
                  <a:pt x="3112" y="1140"/>
                </a:lnTo>
                <a:lnTo>
                  <a:pt x="3116" y="1136"/>
                </a:lnTo>
                <a:lnTo>
                  <a:pt x="3120" y="1134"/>
                </a:lnTo>
                <a:lnTo>
                  <a:pt x="3126" y="1132"/>
                </a:lnTo>
                <a:lnTo>
                  <a:pt x="3128" y="1130"/>
                </a:lnTo>
                <a:lnTo>
                  <a:pt x="3126" y="1126"/>
                </a:lnTo>
                <a:lnTo>
                  <a:pt x="3116" y="1120"/>
                </a:lnTo>
                <a:lnTo>
                  <a:pt x="3104" y="1114"/>
                </a:lnTo>
                <a:lnTo>
                  <a:pt x="3094" y="1112"/>
                </a:lnTo>
                <a:lnTo>
                  <a:pt x="3088" y="1112"/>
                </a:lnTo>
                <a:lnTo>
                  <a:pt x="3082" y="1114"/>
                </a:lnTo>
                <a:lnTo>
                  <a:pt x="3076" y="1116"/>
                </a:lnTo>
                <a:lnTo>
                  <a:pt x="3072" y="1116"/>
                </a:lnTo>
                <a:lnTo>
                  <a:pt x="3064" y="1116"/>
                </a:lnTo>
                <a:lnTo>
                  <a:pt x="3054" y="1112"/>
                </a:lnTo>
                <a:lnTo>
                  <a:pt x="3050" y="1110"/>
                </a:lnTo>
                <a:lnTo>
                  <a:pt x="3048" y="1106"/>
                </a:lnTo>
                <a:lnTo>
                  <a:pt x="3048" y="1104"/>
                </a:lnTo>
                <a:lnTo>
                  <a:pt x="3048" y="1100"/>
                </a:lnTo>
                <a:lnTo>
                  <a:pt x="3054" y="1094"/>
                </a:lnTo>
                <a:lnTo>
                  <a:pt x="3062" y="1088"/>
                </a:lnTo>
                <a:lnTo>
                  <a:pt x="3078" y="1074"/>
                </a:lnTo>
                <a:lnTo>
                  <a:pt x="3080" y="1068"/>
                </a:lnTo>
                <a:lnTo>
                  <a:pt x="3080" y="1066"/>
                </a:lnTo>
                <a:lnTo>
                  <a:pt x="3078" y="1064"/>
                </a:lnTo>
                <a:lnTo>
                  <a:pt x="3064" y="1054"/>
                </a:lnTo>
                <a:lnTo>
                  <a:pt x="3046" y="1042"/>
                </a:lnTo>
                <a:lnTo>
                  <a:pt x="3038" y="1034"/>
                </a:lnTo>
                <a:lnTo>
                  <a:pt x="3032" y="1026"/>
                </a:lnTo>
                <a:lnTo>
                  <a:pt x="3028" y="1016"/>
                </a:lnTo>
                <a:lnTo>
                  <a:pt x="3028" y="1006"/>
                </a:lnTo>
                <a:lnTo>
                  <a:pt x="3028" y="1000"/>
                </a:lnTo>
                <a:lnTo>
                  <a:pt x="3026" y="994"/>
                </a:lnTo>
                <a:lnTo>
                  <a:pt x="3020" y="984"/>
                </a:lnTo>
                <a:lnTo>
                  <a:pt x="3010" y="972"/>
                </a:lnTo>
                <a:lnTo>
                  <a:pt x="3000" y="962"/>
                </a:lnTo>
                <a:lnTo>
                  <a:pt x="2986" y="954"/>
                </a:lnTo>
                <a:lnTo>
                  <a:pt x="2972" y="948"/>
                </a:lnTo>
                <a:lnTo>
                  <a:pt x="2960" y="942"/>
                </a:lnTo>
                <a:lnTo>
                  <a:pt x="2948" y="940"/>
                </a:lnTo>
                <a:lnTo>
                  <a:pt x="2940" y="940"/>
                </a:lnTo>
                <a:lnTo>
                  <a:pt x="2936" y="942"/>
                </a:lnTo>
                <a:lnTo>
                  <a:pt x="2934" y="944"/>
                </a:lnTo>
                <a:lnTo>
                  <a:pt x="2932" y="948"/>
                </a:lnTo>
                <a:lnTo>
                  <a:pt x="2932" y="952"/>
                </a:lnTo>
                <a:lnTo>
                  <a:pt x="2930" y="956"/>
                </a:lnTo>
                <a:lnTo>
                  <a:pt x="2924" y="960"/>
                </a:lnTo>
                <a:lnTo>
                  <a:pt x="2916" y="962"/>
                </a:lnTo>
                <a:lnTo>
                  <a:pt x="2908" y="964"/>
                </a:lnTo>
                <a:lnTo>
                  <a:pt x="2904" y="968"/>
                </a:lnTo>
                <a:lnTo>
                  <a:pt x="2902" y="970"/>
                </a:lnTo>
                <a:lnTo>
                  <a:pt x="2902" y="974"/>
                </a:lnTo>
                <a:lnTo>
                  <a:pt x="2902" y="978"/>
                </a:lnTo>
                <a:lnTo>
                  <a:pt x="2900" y="980"/>
                </a:lnTo>
                <a:lnTo>
                  <a:pt x="2896" y="986"/>
                </a:lnTo>
                <a:lnTo>
                  <a:pt x="2886" y="990"/>
                </a:lnTo>
                <a:lnTo>
                  <a:pt x="2878" y="994"/>
                </a:lnTo>
                <a:lnTo>
                  <a:pt x="2876" y="1002"/>
                </a:lnTo>
                <a:lnTo>
                  <a:pt x="2876" y="1010"/>
                </a:lnTo>
                <a:lnTo>
                  <a:pt x="2878" y="1018"/>
                </a:lnTo>
                <a:lnTo>
                  <a:pt x="2886" y="1036"/>
                </a:lnTo>
                <a:lnTo>
                  <a:pt x="2888" y="1046"/>
                </a:lnTo>
                <a:lnTo>
                  <a:pt x="2888" y="1052"/>
                </a:lnTo>
                <a:lnTo>
                  <a:pt x="2884" y="1068"/>
                </a:lnTo>
                <a:lnTo>
                  <a:pt x="2884" y="1074"/>
                </a:lnTo>
                <a:lnTo>
                  <a:pt x="2886" y="1082"/>
                </a:lnTo>
                <a:lnTo>
                  <a:pt x="2890" y="1088"/>
                </a:lnTo>
                <a:lnTo>
                  <a:pt x="2898" y="1096"/>
                </a:lnTo>
                <a:lnTo>
                  <a:pt x="2910" y="1102"/>
                </a:lnTo>
                <a:lnTo>
                  <a:pt x="2926" y="1106"/>
                </a:lnTo>
                <a:lnTo>
                  <a:pt x="2942" y="1112"/>
                </a:lnTo>
                <a:lnTo>
                  <a:pt x="2954" y="1118"/>
                </a:lnTo>
                <a:lnTo>
                  <a:pt x="2964" y="1126"/>
                </a:lnTo>
                <a:lnTo>
                  <a:pt x="2972" y="1134"/>
                </a:lnTo>
                <a:lnTo>
                  <a:pt x="2974" y="1140"/>
                </a:lnTo>
                <a:lnTo>
                  <a:pt x="2976" y="1148"/>
                </a:lnTo>
                <a:lnTo>
                  <a:pt x="2972" y="1152"/>
                </a:lnTo>
                <a:lnTo>
                  <a:pt x="2966" y="1158"/>
                </a:lnTo>
                <a:lnTo>
                  <a:pt x="2958" y="1162"/>
                </a:lnTo>
                <a:lnTo>
                  <a:pt x="2956" y="1166"/>
                </a:lnTo>
                <a:lnTo>
                  <a:pt x="2954" y="1170"/>
                </a:lnTo>
                <a:lnTo>
                  <a:pt x="2956" y="1174"/>
                </a:lnTo>
                <a:lnTo>
                  <a:pt x="2960" y="1176"/>
                </a:lnTo>
                <a:lnTo>
                  <a:pt x="2966" y="1178"/>
                </a:lnTo>
                <a:lnTo>
                  <a:pt x="2972" y="1176"/>
                </a:lnTo>
                <a:lnTo>
                  <a:pt x="2980" y="1172"/>
                </a:lnTo>
                <a:lnTo>
                  <a:pt x="2988" y="1170"/>
                </a:lnTo>
                <a:lnTo>
                  <a:pt x="2992" y="1170"/>
                </a:lnTo>
                <a:lnTo>
                  <a:pt x="2996" y="1172"/>
                </a:lnTo>
                <a:lnTo>
                  <a:pt x="2996" y="1178"/>
                </a:lnTo>
                <a:lnTo>
                  <a:pt x="2994" y="1184"/>
                </a:lnTo>
                <a:lnTo>
                  <a:pt x="2990" y="1192"/>
                </a:lnTo>
                <a:lnTo>
                  <a:pt x="2980" y="1202"/>
                </a:lnTo>
                <a:lnTo>
                  <a:pt x="2968" y="1212"/>
                </a:lnTo>
                <a:lnTo>
                  <a:pt x="2956" y="1218"/>
                </a:lnTo>
                <a:lnTo>
                  <a:pt x="2946" y="1222"/>
                </a:lnTo>
                <a:lnTo>
                  <a:pt x="2940" y="1222"/>
                </a:lnTo>
                <a:lnTo>
                  <a:pt x="2934" y="1222"/>
                </a:lnTo>
                <a:lnTo>
                  <a:pt x="2932" y="1220"/>
                </a:lnTo>
                <a:lnTo>
                  <a:pt x="2928" y="1220"/>
                </a:lnTo>
                <a:lnTo>
                  <a:pt x="2926" y="1224"/>
                </a:lnTo>
                <a:lnTo>
                  <a:pt x="2922" y="1230"/>
                </a:lnTo>
                <a:lnTo>
                  <a:pt x="2922" y="1240"/>
                </a:lnTo>
                <a:lnTo>
                  <a:pt x="2924" y="1252"/>
                </a:lnTo>
                <a:lnTo>
                  <a:pt x="2932" y="1274"/>
                </a:lnTo>
                <a:lnTo>
                  <a:pt x="2934" y="1282"/>
                </a:lnTo>
                <a:lnTo>
                  <a:pt x="2934" y="1288"/>
                </a:lnTo>
                <a:lnTo>
                  <a:pt x="2932" y="1288"/>
                </a:lnTo>
                <a:lnTo>
                  <a:pt x="2922" y="1284"/>
                </a:lnTo>
                <a:lnTo>
                  <a:pt x="2902" y="1270"/>
                </a:lnTo>
                <a:lnTo>
                  <a:pt x="2896" y="1264"/>
                </a:lnTo>
                <a:lnTo>
                  <a:pt x="2892" y="1260"/>
                </a:lnTo>
                <a:lnTo>
                  <a:pt x="2892" y="1256"/>
                </a:lnTo>
                <a:lnTo>
                  <a:pt x="2892" y="1250"/>
                </a:lnTo>
                <a:lnTo>
                  <a:pt x="2896" y="1238"/>
                </a:lnTo>
                <a:lnTo>
                  <a:pt x="2902" y="1226"/>
                </a:lnTo>
                <a:lnTo>
                  <a:pt x="2902" y="1220"/>
                </a:lnTo>
                <a:lnTo>
                  <a:pt x="2900" y="1216"/>
                </a:lnTo>
                <a:lnTo>
                  <a:pt x="2898" y="1212"/>
                </a:lnTo>
                <a:lnTo>
                  <a:pt x="2894" y="1210"/>
                </a:lnTo>
                <a:lnTo>
                  <a:pt x="2886" y="1208"/>
                </a:lnTo>
                <a:lnTo>
                  <a:pt x="2876" y="1210"/>
                </a:lnTo>
                <a:lnTo>
                  <a:pt x="2866" y="1208"/>
                </a:lnTo>
                <a:lnTo>
                  <a:pt x="2858" y="1206"/>
                </a:lnTo>
                <a:lnTo>
                  <a:pt x="2844" y="1198"/>
                </a:lnTo>
                <a:lnTo>
                  <a:pt x="2838" y="1196"/>
                </a:lnTo>
                <a:lnTo>
                  <a:pt x="2830" y="1194"/>
                </a:lnTo>
                <a:lnTo>
                  <a:pt x="2822" y="1194"/>
                </a:lnTo>
                <a:lnTo>
                  <a:pt x="2810" y="1198"/>
                </a:lnTo>
                <a:lnTo>
                  <a:pt x="2800" y="1204"/>
                </a:lnTo>
                <a:lnTo>
                  <a:pt x="2796" y="1210"/>
                </a:lnTo>
                <a:lnTo>
                  <a:pt x="2796" y="1218"/>
                </a:lnTo>
                <a:lnTo>
                  <a:pt x="2796" y="1226"/>
                </a:lnTo>
                <a:lnTo>
                  <a:pt x="2798" y="1232"/>
                </a:lnTo>
                <a:lnTo>
                  <a:pt x="2798" y="1238"/>
                </a:lnTo>
                <a:lnTo>
                  <a:pt x="2794" y="1244"/>
                </a:lnTo>
                <a:lnTo>
                  <a:pt x="2788" y="1246"/>
                </a:lnTo>
                <a:lnTo>
                  <a:pt x="2778" y="1248"/>
                </a:lnTo>
                <a:lnTo>
                  <a:pt x="2772" y="1248"/>
                </a:lnTo>
                <a:lnTo>
                  <a:pt x="2760" y="1242"/>
                </a:lnTo>
                <a:lnTo>
                  <a:pt x="2752" y="1240"/>
                </a:lnTo>
                <a:lnTo>
                  <a:pt x="2742" y="1238"/>
                </a:lnTo>
                <a:lnTo>
                  <a:pt x="2728" y="1238"/>
                </a:lnTo>
                <a:lnTo>
                  <a:pt x="2708" y="1242"/>
                </a:lnTo>
                <a:lnTo>
                  <a:pt x="2680" y="1246"/>
                </a:lnTo>
                <a:lnTo>
                  <a:pt x="2658" y="1246"/>
                </a:lnTo>
                <a:lnTo>
                  <a:pt x="2640" y="1242"/>
                </a:lnTo>
                <a:lnTo>
                  <a:pt x="2628" y="1236"/>
                </a:lnTo>
                <a:lnTo>
                  <a:pt x="2606" y="1226"/>
                </a:lnTo>
                <a:lnTo>
                  <a:pt x="2598" y="1224"/>
                </a:lnTo>
                <a:lnTo>
                  <a:pt x="2590" y="1224"/>
                </a:lnTo>
                <a:lnTo>
                  <a:pt x="2582" y="1226"/>
                </a:lnTo>
                <a:lnTo>
                  <a:pt x="2572" y="1226"/>
                </a:lnTo>
                <a:lnTo>
                  <a:pt x="2564" y="1226"/>
                </a:lnTo>
                <a:lnTo>
                  <a:pt x="2556" y="1222"/>
                </a:lnTo>
                <a:lnTo>
                  <a:pt x="2544" y="1212"/>
                </a:lnTo>
                <a:lnTo>
                  <a:pt x="2532" y="1198"/>
                </a:lnTo>
                <a:lnTo>
                  <a:pt x="2520" y="1186"/>
                </a:lnTo>
                <a:lnTo>
                  <a:pt x="2510" y="1174"/>
                </a:lnTo>
                <a:lnTo>
                  <a:pt x="2504" y="1168"/>
                </a:lnTo>
                <a:lnTo>
                  <a:pt x="2498" y="1166"/>
                </a:lnTo>
                <a:lnTo>
                  <a:pt x="2494" y="1164"/>
                </a:lnTo>
                <a:lnTo>
                  <a:pt x="2486" y="1164"/>
                </a:lnTo>
                <a:lnTo>
                  <a:pt x="2456" y="1170"/>
                </a:lnTo>
                <a:lnTo>
                  <a:pt x="2438" y="1174"/>
                </a:lnTo>
                <a:lnTo>
                  <a:pt x="2422" y="1178"/>
                </a:lnTo>
                <a:lnTo>
                  <a:pt x="2408" y="1186"/>
                </a:lnTo>
                <a:lnTo>
                  <a:pt x="2398" y="1192"/>
                </a:lnTo>
                <a:lnTo>
                  <a:pt x="2394" y="1196"/>
                </a:lnTo>
                <a:lnTo>
                  <a:pt x="2392" y="1200"/>
                </a:lnTo>
                <a:lnTo>
                  <a:pt x="2392" y="1206"/>
                </a:lnTo>
                <a:lnTo>
                  <a:pt x="2394" y="1210"/>
                </a:lnTo>
                <a:lnTo>
                  <a:pt x="2398" y="1214"/>
                </a:lnTo>
                <a:lnTo>
                  <a:pt x="2402" y="1216"/>
                </a:lnTo>
                <a:lnTo>
                  <a:pt x="2406" y="1218"/>
                </a:lnTo>
                <a:lnTo>
                  <a:pt x="2410" y="1218"/>
                </a:lnTo>
                <a:lnTo>
                  <a:pt x="2422" y="1216"/>
                </a:lnTo>
                <a:lnTo>
                  <a:pt x="2432" y="1212"/>
                </a:lnTo>
                <a:lnTo>
                  <a:pt x="2456" y="1204"/>
                </a:lnTo>
                <a:lnTo>
                  <a:pt x="2466" y="1202"/>
                </a:lnTo>
                <a:lnTo>
                  <a:pt x="2470" y="1202"/>
                </a:lnTo>
                <a:lnTo>
                  <a:pt x="2472" y="1204"/>
                </a:lnTo>
                <a:lnTo>
                  <a:pt x="2474" y="1206"/>
                </a:lnTo>
                <a:lnTo>
                  <a:pt x="2476" y="1208"/>
                </a:lnTo>
                <a:lnTo>
                  <a:pt x="2472" y="1212"/>
                </a:lnTo>
                <a:lnTo>
                  <a:pt x="2456" y="1218"/>
                </a:lnTo>
                <a:lnTo>
                  <a:pt x="2436" y="1226"/>
                </a:lnTo>
                <a:lnTo>
                  <a:pt x="2428" y="1232"/>
                </a:lnTo>
                <a:lnTo>
                  <a:pt x="2422" y="1238"/>
                </a:lnTo>
                <a:lnTo>
                  <a:pt x="2422" y="1242"/>
                </a:lnTo>
                <a:lnTo>
                  <a:pt x="2424" y="1248"/>
                </a:lnTo>
                <a:lnTo>
                  <a:pt x="2428" y="1260"/>
                </a:lnTo>
                <a:lnTo>
                  <a:pt x="2442" y="1282"/>
                </a:lnTo>
                <a:lnTo>
                  <a:pt x="2446" y="1290"/>
                </a:lnTo>
                <a:lnTo>
                  <a:pt x="2446" y="1292"/>
                </a:lnTo>
                <a:lnTo>
                  <a:pt x="2444" y="1292"/>
                </a:lnTo>
                <a:lnTo>
                  <a:pt x="2436" y="1290"/>
                </a:lnTo>
                <a:lnTo>
                  <a:pt x="2418" y="1278"/>
                </a:lnTo>
                <a:lnTo>
                  <a:pt x="2398" y="1266"/>
                </a:lnTo>
                <a:lnTo>
                  <a:pt x="2382" y="1258"/>
                </a:lnTo>
                <a:lnTo>
                  <a:pt x="2364" y="1250"/>
                </a:lnTo>
                <a:lnTo>
                  <a:pt x="2354" y="1246"/>
                </a:lnTo>
                <a:lnTo>
                  <a:pt x="2348" y="1242"/>
                </a:lnTo>
                <a:lnTo>
                  <a:pt x="2340" y="1234"/>
                </a:lnTo>
                <a:lnTo>
                  <a:pt x="2334" y="1228"/>
                </a:lnTo>
                <a:lnTo>
                  <a:pt x="2330" y="1226"/>
                </a:lnTo>
                <a:lnTo>
                  <a:pt x="2326" y="1226"/>
                </a:lnTo>
                <a:lnTo>
                  <a:pt x="2322" y="1230"/>
                </a:lnTo>
                <a:lnTo>
                  <a:pt x="2314" y="1234"/>
                </a:lnTo>
                <a:lnTo>
                  <a:pt x="2304" y="1240"/>
                </a:lnTo>
                <a:lnTo>
                  <a:pt x="2286" y="1244"/>
                </a:lnTo>
                <a:lnTo>
                  <a:pt x="2264" y="1246"/>
                </a:lnTo>
                <a:lnTo>
                  <a:pt x="2206" y="1248"/>
                </a:lnTo>
                <a:lnTo>
                  <a:pt x="2180" y="1246"/>
                </a:lnTo>
                <a:lnTo>
                  <a:pt x="2158" y="1244"/>
                </a:lnTo>
                <a:lnTo>
                  <a:pt x="2140" y="1242"/>
                </a:lnTo>
                <a:lnTo>
                  <a:pt x="2128" y="1238"/>
                </a:lnTo>
                <a:lnTo>
                  <a:pt x="2126" y="1234"/>
                </a:lnTo>
                <a:lnTo>
                  <a:pt x="2124" y="1232"/>
                </a:lnTo>
                <a:lnTo>
                  <a:pt x="2126" y="1228"/>
                </a:lnTo>
                <a:lnTo>
                  <a:pt x="2132" y="1224"/>
                </a:lnTo>
                <a:lnTo>
                  <a:pt x="2144" y="1216"/>
                </a:lnTo>
                <a:lnTo>
                  <a:pt x="2154" y="1214"/>
                </a:lnTo>
                <a:lnTo>
                  <a:pt x="2172" y="1210"/>
                </a:lnTo>
                <a:lnTo>
                  <a:pt x="2178" y="1210"/>
                </a:lnTo>
                <a:lnTo>
                  <a:pt x="2180" y="1208"/>
                </a:lnTo>
                <a:lnTo>
                  <a:pt x="2178" y="1204"/>
                </a:lnTo>
                <a:lnTo>
                  <a:pt x="2172" y="1196"/>
                </a:lnTo>
                <a:lnTo>
                  <a:pt x="2154" y="1180"/>
                </a:lnTo>
                <a:lnTo>
                  <a:pt x="2144" y="1172"/>
                </a:lnTo>
                <a:lnTo>
                  <a:pt x="2134" y="1166"/>
                </a:lnTo>
                <a:lnTo>
                  <a:pt x="2124" y="1162"/>
                </a:lnTo>
                <a:lnTo>
                  <a:pt x="2112" y="1160"/>
                </a:lnTo>
                <a:lnTo>
                  <a:pt x="2098" y="1158"/>
                </a:lnTo>
                <a:lnTo>
                  <a:pt x="2080" y="1160"/>
                </a:lnTo>
                <a:lnTo>
                  <a:pt x="2064" y="1160"/>
                </a:lnTo>
                <a:lnTo>
                  <a:pt x="2046" y="1160"/>
                </a:lnTo>
                <a:lnTo>
                  <a:pt x="2030" y="1156"/>
                </a:lnTo>
                <a:lnTo>
                  <a:pt x="2014" y="1152"/>
                </a:lnTo>
                <a:lnTo>
                  <a:pt x="1982" y="1142"/>
                </a:lnTo>
                <a:lnTo>
                  <a:pt x="1950" y="1134"/>
                </a:lnTo>
                <a:lnTo>
                  <a:pt x="1934" y="1130"/>
                </a:lnTo>
                <a:lnTo>
                  <a:pt x="1918" y="1124"/>
                </a:lnTo>
                <a:lnTo>
                  <a:pt x="1890" y="1110"/>
                </a:lnTo>
                <a:lnTo>
                  <a:pt x="1876" y="1104"/>
                </a:lnTo>
                <a:lnTo>
                  <a:pt x="1862" y="1100"/>
                </a:lnTo>
                <a:lnTo>
                  <a:pt x="1848" y="1098"/>
                </a:lnTo>
                <a:lnTo>
                  <a:pt x="1832" y="1096"/>
                </a:lnTo>
                <a:lnTo>
                  <a:pt x="1820" y="1100"/>
                </a:lnTo>
                <a:lnTo>
                  <a:pt x="1812" y="1104"/>
                </a:lnTo>
                <a:lnTo>
                  <a:pt x="1808" y="1110"/>
                </a:lnTo>
                <a:lnTo>
                  <a:pt x="1806" y="1116"/>
                </a:lnTo>
                <a:lnTo>
                  <a:pt x="1804" y="1122"/>
                </a:lnTo>
                <a:lnTo>
                  <a:pt x="1800" y="1126"/>
                </a:lnTo>
                <a:lnTo>
                  <a:pt x="1794" y="1128"/>
                </a:lnTo>
                <a:lnTo>
                  <a:pt x="1780" y="1128"/>
                </a:lnTo>
                <a:lnTo>
                  <a:pt x="1774" y="1126"/>
                </a:lnTo>
                <a:lnTo>
                  <a:pt x="1768" y="1122"/>
                </a:lnTo>
                <a:lnTo>
                  <a:pt x="1764" y="1120"/>
                </a:lnTo>
                <a:lnTo>
                  <a:pt x="1762" y="1114"/>
                </a:lnTo>
                <a:lnTo>
                  <a:pt x="1760" y="1104"/>
                </a:lnTo>
                <a:lnTo>
                  <a:pt x="1762" y="1094"/>
                </a:lnTo>
                <a:lnTo>
                  <a:pt x="1762" y="1084"/>
                </a:lnTo>
                <a:lnTo>
                  <a:pt x="1758" y="1076"/>
                </a:lnTo>
                <a:lnTo>
                  <a:pt x="1756" y="1074"/>
                </a:lnTo>
                <a:lnTo>
                  <a:pt x="1752" y="1072"/>
                </a:lnTo>
                <a:lnTo>
                  <a:pt x="1746" y="1072"/>
                </a:lnTo>
                <a:lnTo>
                  <a:pt x="1738" y="1074"/>
                </a:lnTo>
                <a:lnTo>
                  <a:pt x="1732" y="1076"/>
                </a:lnTo>
                <a:lnTo>
                  <a:pt x="1730" y="1078"/>
                </a:lnTo>
                <a:lnTo>
                  <a:pt x="1726" y="1088"/>
                </a:lnTo>
                <a:lnTo>
                  <a:pt x="1724" y="1112"/>
                </a:lnTo>
                <a:lnTo>
                  <a:pt x="1722" y="1122"/>
                </a:lnTo>
                <a:lnTo>
                  <a:pt x="1720" y="1126"/>
                </a:lnTo>
                <a:lnTo>
                  <a:pt x="1716" y="1128"/>
                </a:lnTo>
                <a:lnTo>
                  <a:pt x="1712" y="1130"/>
                </a:lnTo>
                <a:lnTo>
                  <a:pt x="1706" y="1130"/>
                </a:lnTo>
                <a:lnTo>
                  <a:pt x="1698" y="1128"/>
                </a:lnTo>
                <a:lnTo>
                  <a:pt x="1690" y="1124"/>
                </a:lnTo>
                <a:lnTo>
                  <a:pt x="1684" y="1120"/>
                </a:lnTo>
                <a:lnTo>
                  <a:pt x="1678" y="1116"/>
                </a:lnTo>
                <a:lnTo>
                  <a:pt x="1668" y="1102"/>
                </a:lnTo>
                <a:lnTo>
                  <a:pt x="1650" y="1070"/>
                </a:lnTo>
                <a:lnTo>
                  <a:pt x="1640" y="1056"/>
                </a:lnTo>
                <a:lnTo>
                  <a:pt x="1630" y="1046"/>
                </a:lnTo>
                <a:lnTo>
                  <a:pt x="1626" y="1042"/>
                </a:lnTo>
                <a:lnTo>
                  <a:pt x="1620" y="1042"/>
                </a:lnTo>
                <a:lnTo>
                  <a:pt x="1614" y="1042"/>
                </a:lnTo>
                <a:lnTo>
                  <a:pt x="1610" y="1044"/>
                </a:lnTo>
                <a:lnTo>
                  <a:pt x="1600" y="1052"/>
                </a:lnTo>
                <a:lnTo>
                  <a:pt x="1600" y="1054"/>
                </a:lnTo>
                <a:lnTo>
                  <a:pt x="1600" y="1056"/>
                </a:lnTo>
                <a:lnTo>
                  <a:pt x="1604" y="1060"/>
                </a:lnTo>
                <a:lnTo>
                  <a:pt x="1610" y="1062"/>
                </a:lnTo>
                <a:lnTo>
                  <a:pt x="1616" y="1064"/>
                </a:lnTo>
                <a:lnTo>
                  <a:pt x="1618" y="1066"/>
                </a:lnTo>
                <a:lnTo>
                  <a:pt x="1618" y="1068"/>
                </a:lnTo>
                <a:lnTo>
                  <a:pt x="1610" y="1076"/>
                </a:lnTo>
                <a:lnTo>
                  <a:pt x="1592" y="1090"/>
                </a:lnTo>
                <a:lnTo>
                  <a:pt x="1574" y="1100"/>
                </a:lnTo>
                <a:lnTo>
                  <a:pt x="1572" y="1098"/>
                </a:lnTo>
                <a:lnTo>
                  <a:pt x="1568" y="1096"/>
                </a:lnTo>
                <a:lnTo>
                  <a:pt x="1560" y="1096"/>
                </a:lnTo>
                <a:lnTo>
                  <a:pt x="1546" y="1098"/>
                </a:lnTo>
                <a:lnTo>
                  <a:pt x="1522" y="1106"/>
                </a:lnTo>
                <a:lnTo>
                  <a:pt x="1482" y="1120"/>
                </a:lnTo>
                <a:lnTo>
                  <a:pt x="1476" y="1120"/>
                </a:lnTo>
                <a:lnTo>
                  <a:pt x="1476" y="1118"/>
                </a:lnTo>
                <a:lnTo>
                  <a:pt x="1494" y="1108"/>
                </a:lnTo>
                <a:lnTo>
                  <a:pt x="1526" y="1092"/>
                </a:lnTo>
                <a:lnTo>
                  <a:pt x="1552" y="1078"/>
                </a:lnTo>
                <a:lnTo>
                  <a:pt x="1558" y="1074"/>
                </a:lnTo>
                <a:lnTo>
                  <a:pt x="1560" y="1072"/>
                </a:lnTo>
                <a:lnTo>
                  <a:pt x="1560" y="1070"/>
                </a:lnTo>
                <a:lnTo>
                  <a:pt x="1556" y="1070"/>
                </a:lnTo>
                <a:lnTo>
                  <a:pt x="1538" y="1074"/>
                </a:lnTo>
                <a:lnTo>
                  <a:pt x="1530" y="1074"/>
                </a:lnTo>
                <a:lnTo>
                  <a:pt x="1522" y="1074"/>
                </a:lnTo>
                <a:lnTo>
                  <a:pt x="1512" y="1072"/>
                </a:lnTo>
                <a:lnTo>
                  <a:pt x="1506" y="1072"/>
                </a:lnTo>
                <a:lnTo>
                  <a:pt x="1498" y="1074"/>
                </a:lnTo>
                <a:lnTo>
                  <a:pt x="1488" y="1080"/>
                </a:lnTo>
                <a:lnTo>
                  <a:pt x="1476" y="1088"/>
                </a:lnTo>
                <a:lnTo>
                  <a:pt x="1462" y="1096"/>
                </a:lnTo>
                <a:lnTo>
                  <a:pt x="1454" y="1100"/>
                </a:lnTo>
                <a:lnTo>
                  <a:pt x="1448" y="1100"/>
                </a:lnTo>
                <a:lnTo>
                  <a:pt x="1444" y="1100"/>
                </a:lnTo>
                <a:lnTo>
                  <a:pt x="1438" y="1100"/>
                </a:lnTo>
                <a:lnTo>
                  <a:pt x="1432" y="1102"/>
                </a:lnTo>
                <a:lnTo>
                  <a:pt x="1422" y="1108"/>
                </a:lnTo>
                <a:lnTo>
                  <a:pt x="1408" y="1118"/>
                </a:lnTo>
                <a:lnTo>
                  <a:pt x="1378" y="1138"/>
                </a:lnTo>
                <a:lnTo>
                  <a:pt x="1358" y="1148"/>
                </a:lnTo>
                <a:lnTo>
                  <a:pt x="1352" y="1154"/>
                </a:lnTo>
                <a:lnTo>
                  <a:pt x="1350" y="1158"/>
                </a:lnTo>
                <a:lnTo>
                  <a:pt x="1350" y="1162"/>
                </a:lnTo>
                <a:lnTo>
                  <a:pt x="1352" y="1168"/>
                </a:lnTo>
                <a:lnTo>
                  <a:pt x="1354" y="1174"/>
                </a:lnTo>
                <a:lnTo>
                  <a:pt x="1352" y="1174"/>
                </a:lnTo>
                <a:lnTo>
                  <a:pt x="1342" y="1172"/>
                </a:lnTo>
                <a:lnTo>
                  <a:pt x="1334" y="1170"/>
                </a:lnTo>
                <a:lnTo>
                  <a:pt x="1324" y="1168"/>
                </a:lnTo>
                <a:lnTo>
                  <a:pt x="1316" y="1168"/>
                </a:lnTo>
                <a:lnTo>
                  <a:pt x="1308" y="1172"/>
                </a:lnTo>
                <a:lnTo>
                  <a:pt x="1302" y="1176"/>
                </a:lnTo>
                <a:lnTo>
                  <a:pt x="1298" y="1176"/>
                </a:lnTo>
                <a:lnTo>
                  <a:pt x="1294" y="1174"/>
                </a:lnTo>
                <a:lnTo>
                  <a:pt x="1290" y="1172"/>
                </a:lnTo>
                <a:lnTo>
                  <a:pt x="1286" y="1168"/>
                </a:lnTo>
                <a:lnTo>
                  <a:pt x="1280" y="1164"/>
                </a:lnTo>
                <a:lnTo>
                  <a:pt x="1272" y="1162"/>
                </a:lnTo>
                <a:lnTo>
                  <a:pt x="1258" y="1162"/>
                </a:lnTo>
                <a:lnTo>
                  <a:pt x="1236" y="1160"/>
                </a:lnTo>
                <a:lnTo>
                  <a:pt x="1218" y="1154"/>
                </a:lnTo>
                <a:lnTo>
                  <a:pt x="1198" y="1144"/>
                </a:lnTo>
                <a:lnTo>
                  <a:pt x="1180" y="1134"/>
                </a:lnTo>
                <a:lnTo>
                  <a:pt x="1160" y="1126"/>
                </a:lnTo>
                <a:lnTo>
                  <a:pt x="1138" y="1118"/>
                </a:lnTo>
                <a:lnTo>
                  <a:pt x="1116" y="1112"/>
                </a:lnTo>
                <a:lnTo>
                  <a:pt x="1102" y="1110"/>
                </a:lnTo>
                <a:lnTo>
                  <a:pt x="1090" y="1110"/>
                </a:lnTo>
                <a:lnTo>
                  <a:pt x="1074" y="1110"/>
                </a:lnTo>
                <a:lnTo>
                  <a:pt x="1062" y="1106"/>
                </a:lnTo>
                <a:lnTo>
                  <a:pt x="1054" y="1102"/>
                </a:lnTo>
                <a:lnTo>
                  <a:pt x="1044" y="1096"/>
                </a:lnTo>
                <a:lnTo>
                  <a:pt x="1036" y="1092"/>
                </a:lnTo>
                <a:lnTo>
                  <a:pt x="1026" y="1086"/>
                </a:lnTo>
                <a:lnTo>
                  <a:pt x="1014" y="1082"/>
                </a:lnTo>
                <a:lnTo>
                  <a:pt x="998" y="1078"/>
                </a:lnTo>
                <a:lnTo>
                  <a:pt x="982" y="1078"/>
                </a:lnTo>
                <a:lnTo>
                  <a:pt x="970" y="1078"/>
                </a:lnTo>
                <a:lnTo>
                  <a:pt x="950" y="1084"/>
                </a:lnTo>
                <a:lnTo>
                  <a:pt x="940" y="1084"/>
                </a:lnTo>
                <a:lnTo>
                  <a:pt x="932" y="1086"/>
                </a:lnTo>
                <a:lnTo>
                  <a:pt x="922" y="1084"/>
                </a:lnTo>
                <a:lnTo>
                  <a:pt x="912" y="1080"/>
                </a:lnTo>
                <a:lnTo>
                  <a:pt x="898" y="1076"/>
                </a:lnTo>
                <a:lnTo>
                  <a:pt x="884" y="1074"/>
                </a:lnTo>
                <a:lnTo>
                  <a:pt x="854" y="1072"/>
                </a:lnTo>
                <a:lnTo>
                  <a:pt x="816" y="1066"/>
                </a:lnTo>
                <a:lnTo>
                  <a:pt x="798" y="1062"/>
                </a:lnTo>
                <a:lnTo>
                  <a:pt x="778" y="1054"/>
                </a:lnTo>
                <a:lnTo>
                  <a:pt x="760" y="1048"/>
                </a:lnTo>
                <a:lnTo>
                  <a:pt x="744" y="1046"/>
                </a:lnTo>
                <a:lnTo>
                  <a:pt x="732" y="1048"/>
                </a:lnTo>
                <a:lnTo>
                  <a:pt x="722" y="1050"/>
                </a:lnTo>
                <a:lnTo>
                  <a:pt x="710" y="1052"/>
                </a:lnTo>
                <a:lnTo>
                  <a:pt x="698" y="1054"/>
                </a:lnTo>
                <a:lnTo>
                  <a:pt x="682" y="1054"/>
                </a:lnTo>
                <a:lnTo>
                  <a:pt x="664" y="1050"/>
                </a:lnTo>
                <a:lnTo>
                  <a:pt x="648" y="1044"/>
                </a:lnTo>
                <a:lnTo>
                  <a:pt x="640" y="1038"/>
                </a:lnTo>
                <a:lnTo>
                  <a:pt x="636" y="1034"/>
                </a:lnTo>
                <a:lnTo>
                  <a:pt x="636" y="1028"/>
                </a:lnTo>
                <a:lnTo>
                  <a:pt x="634" y="1024"/>
                </a:lnTo>
                <a:lnTo>
                  <a:pt x="632" y="1022"/>
                </a:lnTo>
                <a:lnTo>
                  <a:pt x="622" y="1020"/>
                </a:lnTo>
                <a:lnTo>
                  <a:pt x="606" y="1020"/>
                </a:lnTo>
                <a:lnTo>
                  <a:pt x="572" y="1020"/>
                </a:lnTo>
                <a:lnTo>
                  <a:pt x="558" y="1022"/>
                </a:lnTo>
                <a:lnTo>
                  <a:pt x="552" y="1020"/>
                </a:lnTo>
                <a:lnTo>
                  <a:pt x="550" y="1018"/>
                </a:lnTo>
                <a:lnTo>
                  <a:pt x="540" y="1010"/>
                </a:lnTo>
                <a:lnTo>
                  <a:pt x="534" y="1006"/>
                </a:lnTo>
                <a:lnTo>
                  <a:pt x="528" y="1004"/>
                </a:lnTo>
                <a:lnTo>
                  <a:pt x="524" y="1006"/>
                </a:lnTo>
                <a:lnTo>
                  <a:pt x="520" y="1006"/>
                </a:lnTo>
                <a:lnTo>
                  <a:pt x="510" y="1010"/>
                </a:lnTo>
                <a:lnTo>
                  <a:pt x="506" y="1010"/>
                </a:lnTo>
                <a:lnTo>
                  <a:pt x="500" y="1006"/>
                </a:lnTo>
                <a:lnTo>
                  <a:pt x="488" y="996"/>
                </a:lnTo>
                <a:lnTo>
                  <a:pt x="482" y="992"/>
                </a:lnTo>
                <a:lnTo>
                  <a:pt x="474" y="990"/>
                </a:lnTo>
                <a:lnTo>
                  <a:pt x="466" y="988"/>
                </a:lnTo>
                <a:lnTo>
                  <a:pt x="456" y="990"/>
                </a:lnTo>
                <a:lnTo>
                  <a:pt x="446" y="996"/>
                </a:lnTo>
                <a:lnTo>
                  <a:pt x="432" y="1008"/>
                </a:lnTo>
                <a:lnTo>
                  <a:pt x="418" y="1018"/>
                </a:lnTo>
                <a:lnTo>
                  <a:pt x="404" y="1022"/>
                </a:lnTo>
                <a:lnTo>
                  <a:pt x="392" y="1022"/>
                </a:lnTo>
                <a:lnTo>
                  <a:pt x="378" y="1022"/>
                </a:lnTo>
                <a:lnTo>
                  <a:pt x="364" y="1024"/>
                </a:lnTo>
                <a:lnTo>
                  <a:pt x="348" y="1026"/>
                </a:lnTo>
                <a:lnTo>
                  <a:pt x="332" y="1032"/>
                </a:lnTo>
                <a:lnTo>
                  <a:pt x="310" y="1046"/>
                </a:lnTo>
                <a:lnTo>
                  <a:pt x="300" y="1054"/>
                </a:lnTo>
                <a:lnTo>
                  <a:pt x="290" y="1058"/>
                </a:lnTo>
                <a:lnTo>
                  <a:pt x="282" y="1062"/>
                </a:lnTo>
                <a:lnTo>
                  <a:pt x="274" y="1064"/>
                </a:lnTo>
                <a:lnTo>
                  <a:pt x="262" y="1064"/>
                </a:lnTo>
                <a:lnTo>
                  <a:pt x="250" y="1064"/>
                </a:lnTo>
                <a:lnTo>
                  <a:pt x="240" y="1062"/>
                </a:lnTo>
                <a:lnTo>
                  <a:pt x="236" y="1064"/>
                </a:lnTo>
                <a:lnTo>
                  <a:pt x="232" y="1066"/>
                </a:lnTo>
                <a:lnTo>
                  <a:pt x="226" y="1068"/>
                </a:lnTo>
                <a:lnTo>
                  <a:pt x="222" y="1074"/>
                </a:lnTo>
                <a:lnTo>
                  <a:pt x="212" y="1090"/>
                </a:lnTo>
                <a:lnTo>
                  <a:pt x="202" y="1110"/>
                </a:lnTo>
                <a:lnTo>
                  <a:pt x="192" y="1128"/>
                </a:lnTo>
                <a:lnTo>
                  <a:pt x="182" y="1140"/>
                </a:lnTo>
                <a:lnTo>
                  <a:pt x="172" y="1152"/>
                </a:lnTo>
                <a:lnTo>
                  <a:pt x="158" y="1158"/>
                </a:lnTo>
                <a:lnTo>
                  <a:pt x="142" y="1164"/>
                </a:lnTo>
                <a:lnTo>
                  <a:pt x="122" y="1166"/>
                </a:lnTo>
                <a:lnTo>
                  <a:pt x="96" y="1168"/>
                </a:lnTo>
                <a:lnTo>
                  <a:pt x="84" y="1168"/>
                </a:lnTo>
                <a:lnTo>
                  <a:pt x="78" y="1170"/>
                </a:lnTo>
                <a:lnTo>
                  <a:pt x="76" y="1174"/>
                </a:lnTo>
                <a:lnTo>
                  <a:pt x="74" y="1178"/>
                </a:lnTo>
                <a:lnTo>
                  <a:pt x="74" y="1184"/>
                </a:lnTo>
                <a:lnTo>
                  <a:pt x="72" y="1188"/>
                </a:lnTo>
                <a:lnTo>
                  <a:pt x="68" y="1194"/>
                </a:lnTo>
                <a:lnTo>
                  <a:pt x="58" y="1198"/>
                </a:lnTo>
                <a:lnTo>
                  <a:pt x="54" y="1200"/>
                </a:lnTo>
                <a:lnTo>
                  <a:pt x="54" y="1202"/>
                </a:lnTo>
                <a:lnTo>
                  <a:pt x="54" y="1204"/>
                </a:lnTo>
                <a:lnTo>
                  <a:pt x="58" y="1208"/>
                </a:lnTo>
                <a:lnTo>
                  <a:pt x="74" y="1214"/>
                </a:lnTo>
                <a:lnTo>
                  <a:pt x="94" y="1222"/>
                </a:lnTo>
                <a:lnTo>
                  <a:pt x="116" y="1232"/>
                </a:lnTo>
                <a:lnTo>
                  <a:pt x="138" y="1244"/>
                </a:lnTo>
                <a:lnTo>
                  <a:pt x="156" y="1258"/>
                </a:lnTo>
                <a:lnTo>
                  <a:pt x="164" y="1264"/>
                </a:lnTo>
                <a:lnTo>
                  <a:pt x="168" y="1272"/>
                </a:lnTo>
                <a:lnTo>
                  <a:pt x="172" y="1280"/>
                </a:lnTo>
                <a:lnTo>
                  <a:pt x="178" y="1286"/>
                </a:lnTo>
                <a:lnTo>
                  <a:pt x="186" y="1294"/>
                </a:lnTo>
                <a:lnTo>
                  <a:pt x="196" y="1296"/>
                </a:lnTo>
                <a:lnTo>
                  <a:pt x="206" y="1296"/>
                </a:lnTo>
                <a:lnTo>
                  <a:pt x="214" y="1294"/>
                </a:lnTo>
                <a:lnTo>
                  <a:pt x="218" y="1294"/>
                </a:lnTo>
                <a:lnTo>
                  <a:pt x="220" y="1296"/>
                </a:lnTo>
                <a:lnTo>
                  <a:pt x="222" y="1296"/>
                </a:lnTo>
                <a:lnTo>
                  <a:pt x="222" y="1304"/>
                </a:lnTo>
                <a:lnTo>
                  <a:pt x="220" y="1312"/>
                </a:lnTo>
                <a:lnTo>
                  <a:pt x="222" y="1316"/>
                </a:lnTo>
                <a:lnTo>
                  <a:pt x="224" y="1318"/>
                </a:lnTo>
                <a:lnTo>
                  <a:pt x="228" y="1318"/>
                </a:lnTo>
                <a:lnTo>
                  <a:pt x="232" y="1320"/>
                </a:lnTo>
                <a:lnTo>
                  <a:pt x="236" y="1322"/>
                </a:lnTo>
                <a:lnTo>
                  <a:pt x="240" y="1326"/>
                </a:lnTo>
                <a:lnTo>
                  <a:pt x="242" y="1332"/>
                </a:lnTo>
                <a:lnTo>
                  <a:pt x="244" y="1338"/>
                </a:lnTo>
                <a:lnTo>
                  <a:pt x="248" y="1342"/>
                </a:lnTo>
                <a:lnTo>
                  <a:pt x="254" y="1342"/>
                </a:lnTo>
                <a:lnTo>
                  <a:pt x="260" y="1342"/>
                </a:lnTo>
                <a:lnTo>
                  <a:pt x="266" y="1342"/>
                </a:lnTo>
                <a:lnTo>
                  <a:pt x="272" y="1342"/>
                </a:lnTo>
                <a:lnTo>
                  <a:pt x="274" y="1344"/>
                </a:lnTo>
                <a:lnTo>
                  <a:pt x="276" y="1350"/>
                </a:lnTo>
                <a:lnTo>
                  <a:pt x="274" y="1358"/>
                </a:lnTo>
                <a:lnTo>
                  <a:pt x="272" y="1358"/>
                </a:lnTo>
                <a:lnTo>
                  <a:pt x="270" y="1356"/>
                </a:lnTo>
                <a:lnTo>
                  <a:pt x="268" y="1356"/>
                </a:lnTo>
                <a:lnTo>
                  <a:pt x="264" y="1356"/>
                </a:lnTo>
                <a:lnTo>
                  <a:pt x="258" y="1358"/>
                </a:lnTo>
                <a:lnTo>
                  <a:pt x="252" y="1362"/>
                </a:lnTo>
                <a:lnTo>
                  <a:pt x="250" y="1364"/>
                </a:lnTo>
                <a:lnTo>
                  <a:pt x="248" y="1364"/>
                </a:lnTo>
                <a:lnTo>
                  <a:pt x="240" y="1362"/>
                </a:lnTo>
                <a:lnTo>
                  <a:pt x="234" y="1360"/>
                </a:lnTo>
                <a:lnTo>
                  <a:pt x="224" y="1358"/>
                </a:lnTo>
                <a:lnTo>
                  <a:pt x="212" y="1358"/>
                </a:lnTo>
                <a:lnTo>
                  <a:pt x="194" y="1360"/>
                </a:lnTo>
                <a:lnTo>
                  <a:pt x="186" y="1362"/>
                </a:lnTo>
                <a:lnTo>
                  <a:pt x="180" y="1360"/>
                </a:lnTo>
                <a:lnTo>
                  <a:pt x="176" y="1358"/>
                </a:lnTo>
                <a:lnTo>
                  <a:pt x="174" y="1356"/>
                </a:lnTo>
                <a:lnTo>
                  <a:pt x="174" y="1348"/>
                </a:lnTo>
                <a:lnTo>
                  <a:pt x="176" y="1338"/>
                </a:lnTo>
                <a:lnTo>
                  <a:pt x="176" y="1330"/>
                </a:lnTo>
                <a:lnTo>
                  <a:pt x="176" y="1326"/>
                </a:lnTo>
                <a:lnTo>
                  <a:pt x="172" y="1324"/>
                </a:lnTo>
                <a:lnTo>
                  <a:pt x="168" y="1322"/>
                </a:lnTo>
                <a:lnTo>
                  <a:pt x="162" y="1322"/>
                </a:lnTo>
                <a:lnTo>
                  <a:pt x="142" y="1328"/>
                </a:lnTo>
                <a:lnTo>
                  <a:pt x="116" y="1336"/>
                </a:lnTo>
                <a:lnTo>
                  <a:pt x="94" y="1346"/>
                </a:lnTo>
                <a:lnTo>
                  <a:pt x="56" y="1364"/>
                </a:lnTo>
                <a:lnTo>
                  <a:pt x="30" y="1378"/>
                </a:lnTo>
                <a:lnTo>
                  <a:pt x="18" y="1384"/>
                </a:lnTo>
                <a:lnTo>
                  <a:pt x="10" y="1386"/>
                </a:lnTo>
                <a:lnTo>
                  <a:pt x="4" y="1388"/>
                </a:lnTo>
                <a:lnTo>
                  <a:pt x="0" y="1392"/>
                </a:lnTo>
                <a:lnTo>
                  <a:pt x="0" y="1396"/>
                </a:lnTo>
                <a:lnTo>
                  <a:pt x="2" y="1400"/>
                </a:lnTo>
                <a:lnTo>
                  <a:pt x="8" y="1404"/>
                </a:lnTo>
                <a:lnTo>
                  <a:pt x="18" y="1408"/>
                </a:lnTo>
                <a:lnTo>
                  <a:pt x="28" y="1412"/>
                </a:lnTo>
                <a:lnTo>
                  <a:pt x="44" y="1414"/>
                </a:lnTo>
                <a:lnTo>
                  <a:pt x="54" y="1414"/>
                </a:lnTo>
                <a:lnTo>
                  <a:pt x="60" y="1416"/>
                </a:lnTo>
                <a:lnTo>
                  <a:pt x="60" y="1420"/>
                </a:lnTo>
                <a:lnTo>
                  <a:pt x="56" y="1424"/>
                </a:lnTo>
                <a:lnTo>
                  <a:pt x="52" y="1428"/>
                </a:lnTo>
                <a:lnTo>
                  <a:pt x="50" y="1432"/>
                </a:lnTo>
                <a:lnTo>
                  <a:pt x="50" y="1436"/>
                </a:lnTo>
                <a:lnTo>
                  <a:pt x="56" y="1442"/>
                </a:lnTo>
                <a:lnTo>
                  <a:pt x="64" y="1446"/>
                </a:lnTo>
                <a:lnTo>
                  <a:pt x="68" y="1450"/>
                </a:lnTo>
                <a:lnTo>
                  <a:pt x="68" y="1460"/>
                </a:lnTo>
                <a:lnTo>
                  <a:pt x="70" y="1464"/>
                </a:lnTo>
                <a:lnTo>
                  <a:pt x="74" y="1468"/>
                </a:lnTo>
                <a:lnTo>
                  <a:pt x="82" y="1470"/>
                </a:lnTo>
                <a:lnTo>
                  <a:pt x="94" y="1474"/>
                </a:lnTo>
                <a:lnTo>
                  <a:pt x="110" y="1474"/>
                </a:lnTo>
                <a:lnTo>
                  <a:pt x="122" y="1472"/>
                </a:lnTo>
                <a:lnTo>
                  <a:pt x="144" y="1466"/>
                </a:lnTo>
                <a:lnTo>
                  <a:pt x="156" y="1464"/>
                </a:lnTo>
                <a:lnTo>
                  <a:pt x="166" y="1464"/>
                </a:lnTo>
                <a:lnTo>
                  <a:pt x="178" y="1466"/>
                </a:lnTo>
                <a:lnTo>
                  <a:pt x="190" y="1474"/>
                </a:lnTo>
                <a:lnTo>
                  <a:pt x="198" y="1476"/>
                </a:lnTo>
                <a:lnTo>
                  <a:pt x="204" y="1478"/>
                </a:lnTo>
                <a:lnTo>
                  <a:pt x="212" y="1478"/>
                </a:lnTo>
                <a:lnTo>
                  <a:pt x="218" y="1476"/>
                </a:lnTo>
                <a:lnTo>
                  <a:pt x="230" y="1470"/>
                </a:lnTo>
                <a:lnTo>
                  <a:pt x="242" y="1460"/>
                </a:lnTo>
                <a:lnTo>
                  <a:pt x="254" y="1452"/>
                </a:lnTo>
                <a:lnTo>
                  <a:pt x="266" y="1446"/>
                </a:lnTo>
                <a:lnTo>
                  <a:pt x="272" y="1444"/>
                </a:lnTo>
                <a:lnTo>
                  <a:pt x="276" y="1444"/>
                </a:lnTo>
                <a:lnTo>
                  <a:pt x="282" y="1446"/>
                </a:lnTo>
                <a:lnTo>
                  <a:pt x="286" y="1450"/>
                </a:lnTo>
                <a:lnTo>
                  <a:pt x="290" y="1454"/>
                </a:lnTo>
                <a:lnTo>
                  <a:pt x="292" y="1458"/>
                </a:lnTo>
                <a:lnTo>
                  <a:pt x="290" y="1460"/>
                </a:lnTo>
                <a:lnTo>
                  <a:pt x="288" y="1464"/>
                </a:lnTo>
                <a:lnTo>
                  <a:pt x="282" y="1466"/>
                </a:lnTo>
                <a:lnTo>
                  <a:pt x="274" y="1468"/>
                </a:lnTo>
                <a:lnTo>
                  <a:pt x="266" y="1470"/>
                </a:lnTo>
                <a:lnTo>
                  <a:pt x="262" y="1472"/>
                </a:lnTo>
                <a:lnTo>
                  <a:pt x="262" y="1474"/>
                </a:lnTo>
                <a:lnTo>
                  <a:pt x="262" y="1478"/>
                </a:lnTo>
                <a:lnTo>
                  <a:pt x="274" y="1484"/>
                </a:lnTo>
                <a:lnTo>
                  <a:pt x="282" y="1488"/>
                </a:lnTo>
                <a:lnTo>
                  <a:pt x="286" y="1494"/>
                </a:lnTo>
                <a:lnTo>
                  <a:pt x="290" y="1498"/>
                </a:lnTo>
                <a:lnTo>
                  <a:pt x="292" y="1504"/>
                </a:lnTo>
                <a:lnTo>
                  <a:pt x="294" y="1508"/>
                </a:lnTo>
                <a:lnTo>
                  <a:pt x="292" y="1514"/>
                </a:lnTo>
                <a:lnTo>
                  <a:pt x="288" y="1522"/>
                </a:lnTo>
                <a:lnTo>
                  <a:pt x="280" y="1530"/>
                </a:lnTo>
                <a:lnTo>
                  <a:pt x="270" y="1536"/>
                </a:lnTo>
                <a:lnTo>
                  <a:pt x="258" y="1540"/>
                </a:lnTo>
                <a:lnTo>
                  <a:pt x="246" y="1538"/>
                </a:lnTo>
                <a:lnTo>
                  <a:pt x="240" y="1538"/>
                </a:lnTo>
                <a:lnTo>
                  <a:pt x="234" y="1538"/>
                </a:lnTo>
                <a:lnTo>
                  <a:pt x="226" y="1542"/>
                </a:lnTo>
                <a:lnTo>
                  <a:pt x="220" y="1548"/>
                </a:lnTo>
                <a:lnTo>
                  <a:pt x="216" y="1556"/>
                </a:lnTo>
                <a:lnTo>
                  <a:pt x="210" y="1564"/>
                </a:lnTo>
                <a:lnTo>
                  <a:pt x="202" y="1568"/>
                </a:lnTo>
                <a:lnTo>
                  <a:pt x="198" y="1570"/>
                </a:lnTo>
                <a:lnTo>
                  <a:pt x="192" y="1568"/>
                </a:lnTo>
                <a:lnTo>
                  <a:pt x="186" y="1566"/>
                </a:lnTo>
                <a:lnTo>
                  <a:pt x="180" y="1562"/>
                </a:lnTo>
                <a:lnTo>
                  <a:pt x="172" y="1558"/>
                </a:lnTo>
                <a:lnTo>
                  <a:pt x="166" y="1558"/>
                </a:lnTo>
                <a:lnTo>
                  <a:pt x="160" y="1558"/>
                </a:lnTo>
                <a:lnTo>
                  <a:pt x="154" y="1558"/>
                </a:lnTo>
                <a:lnTo>
                  <a:pt x="144" y="1564"/>
                </a:lnTo>
                <a:lnTo>
                  <a:pt x="138" y="1574"/>
                </a:lnTo>
                <a:lnTo>
                  <a:pt x="124" y="1596"/>
                </a:lnTo>
                <a:lnTo>
                  <a:pt x="118" y="1606"/>
                </a:lnTo>
                <a:lnTo>
                  <a:pt x="112" y="1610"/>
                </a:lnTo>
                <a:lnTo>
                  <a:pt x="106" y="1614"/>
                </a:lnTo>
                <a:lnTo>
                  <a:pt x="102" y="1618"/>
                </a:lnTo>
                <a:lnTo>
                  <a:pt x="96" y="1628"/>
                </a:lnTo>
                <a:lnTo>
                  <a:pt x="92" y="1640"/>
                </a:lnTo>
                <a:lnTo>
                  <a:pt x="88" y="1646"/>
                </a:lnTo>
                <a:lnTo>
                  <a:pt x="82" y="1652"/>
                </a:lnTo>
                <a:lnTo>
                  <a:pt x="76" y="1656"/>
                </a:lnTo>
                <a:lnTo>
                  <a:pt x="74" y="1660"/>
                </a:lnTo>
                <a:lnTo>
                  <a:pt x="74" y="1664"/>
                </a:lnTo>
                <a:lnTo>
                  <a:pt x="76" y="1670"/>
                </a:lnTo>
                <a:lnTo>
                  <a:pt x="88" y="1680"/>
                </a:lnTo>
                <a:lnTo>
                  <a:pt x="108" y="1696"/>
                </a:lnTo>
                <a:lnTo>
                  <a:pt x="116" y="1704"/>
                </a:lnTo>
                <a:lnTo>
                  <a:pt x="120" y="1712"/>
                </a:lnTo>
                <a:lnTo>
                  <a:pt x="118" y="1718"/>
                </a:lnTo>
                <a:lnTo>
                  <a:pt x="116" y="1724"/>
                </a:lnTo>
                <a:lnTo>
                  <a:pt x="114" y="1728"/>
                </a:lnTo>
                <a:lnTo>
                  <a:pt x="112" y="1734"/>
                </a:lnTo>
                <a:lnTo>
                  <a:pt x="112" y="1738"/>
                </a:lnTo>
                <a:lnTo>
                  <a:pt x="118" y="1744"/>
                </a:lnTo>
                <a:lnTo>
                  <a:pt x="132" y="1758"/>
                </a:lnTo>
                <a:lnTo>
                  <a:pt x="148" y="1772"/>
                </a:lnTo>
                <a:lnTo>
                  <a:pt x="158" y="1778"/>
                </a:lnTo>
                <a:lnTo>
                  <a:pt x="168" y="1782"/>
                </a:lnTo>
                <a:lnTo>
                  <a:pt x="180" y="1784"/>
                </a:lnTo>
                <a:lnTo>
                  <a:pt x="194" y="1780"/>
                </a:lnTo>
                <a:lnTo>
                  <a:pt x="208" y="1776"/>
                </a:lnTo>
                <a:lnTo>
                  <a:pt x="220" y="1774"/>
                </a:lnTo>
                <a:lnTo>
                  <a:pt x="228" y="1774"/>
                </a:lnTo>
                <a:lnTo>
                  <a:pt x="236" y="1776"/>
                </a:lnTo>
                <a:lnTo>
                  <a:pt x="240" y="1782"/>
                </a:lnTo>
                <a:lnTo>
                  <a:pt x="242" y="1788"/>
                </a:lnTo>
                <a:lnTo>
                  <a:pt x="242" y="1798"/>
                </a:lnTo>
                <a:lnTo>
                  <a:pt x="240" y="1808"/>
                </a:lnTo>
                <a:lnTo>
                  <a:pt x="236" y="1818"/>
                </a:lnTo>
                <a:lnTo>
                  <a:pt x="236" y="1824"/>
                </a:lnTo>
                <a:lnTo>
                  <a:pt x="238" y="1828"/>
                </a:lnTo>
                <a:lnTo>
                  <a:pt x="242" y="1830"/>
                </a:lnTo>
                <a:lnTo>
                  <a:pt x="244" y="1832"/>
                </a:lnTo>
                <a:lnTo>
                  <a:pt x="246" y="1834"/>
                </a:lnTo>
                <a:lnTo>
                  <a:pt x="246" y="1840"/>
                </a:lnTo>
                <a:lnTo>
                  <a:pt x="244" y="1848"/>
                </a:lnTo>
                <a:lnTo>
                  <a:pt x="242" y="1856"/>
                </a:lnTo>
                <a:lnTo>
                  <a:pt x="244" y="1862"/>
                </a:lnTo>
                <a:lnTo>
                  <a:pt x="248" y="1864"/>
                </a:lnTo>
                <a:lnTo>
                  <a:pt x="254" y="1862"/>
                </a:lnTo>
                <a:lnTo>
                  <a:pt x="262" y="1860"/>
                </a:lnTo>
                <a:lnTo>
                  <a:pt x="270" y="1856"/>
                </a:lnTo>
                <a:lnTo>
                  <a:pt x="284" y="1844"/>
                </a:lnTo>
                <a:lnTo>
                  <a:pt x="292" y="1840"/>
                </a:lnTo>
                <a:lnTo>
                  <a:pt x="300" y="1838"/>
                </a:lnTo>
                <a:lnTo>
                  <a:pt x="308" y="1838"/>
                </a:lnTo>
                <a:lnTo>
                  <a:pt x="318" y="1842"/>
                </a:lnTo>
                <a:lnTo>
                  <a:pt x="326" y="1846"/>
                </a:lnTo>
                <a:lnTo>
                  <a:pt x="336" y="1852"/>
                </a:lnTo>
                <a:lnTo>
                  <a:pt x="352" y="1866"/>
                </a:lnTo>
                <a:lnTo>
                  <a:pt x="358" y="1870"/>
                </a:lnTo>
                <a:lnTo>
                  <a:pt x="364" y="1870"/>
                </a:lnTo>
                <a:lnTo>
                  <a:pt x="368" y="1868"/>
                </a:lnTo>
                <a:lnTo>
                  <a:pt x="370" y="1864"/>
                </a:lnTo>
                <a:lnTo>
                  <a:pt x="376" y="1858"/>
                </a:lnTo>
                <a:lnTo>
                  <a:pt x="380" y="1856"/>
                </a:lnTo>
                <a:lnTo>
                  <a:pt x="386" y="1858"/>
                </a:lnTo>
                <a:lnTo>
                  <a:pt x="392" y="1860"/>
                </a:lnTo>
                <a:lnTo>
                  <a:pt x="402" y="1858"/>
                </a:lnTo>
                <a:lnTo>
                  <a:pt x="420" y="1852"/>
                </a:lnTo>
                <a:lnTo>
                  <a:pt x="432" y="1846"/>
                </a:lnTo>
                <a:lnTo>
                  <a:pt x="434" y="1848"/>
                </a:lnTo>
                <a:lnTo>
                  <a:pt x="430" y="1854"/>
                </a:lnTo>
                <a:lnTo>
                  <a:pt x="420" y="1872"/>
                </a:lnTo>
                <a:lnTo>
                  <a:pt x="414" y="1886"/>
                </a:lnTo>
                <a:lnTo>
                  <a:pt x="410" y="1900"/>
                </a:lnTo>
                <a:lnTo>
                  <a:pt x="410" y="1918"/>
                </a:lnTo>
                <a:lnTo>
                  <a:pt x="410" y="1924"/>
                </a:lnTo>
                <a:lnTo>
                  <a:pt x="406" y="1930"/>
                </a:lnTo>
                <a:lnTo>
                  <a:pt x="402" y="1932"/>
                </a:lnTo>
                <a:lnTo>
                  <a:pt x="398" y="1934"/>
                </a:lnTo>
                <a:lnTo>
                  <a:pt x="392" y="1936"/>
                </a:lnTo>
                <a:lnTo>
                  <a:pt x="386" y="1940"/>
                </a:lnTo>
                <a:lnTo>
                  <a:pt x="380" y="1946"/>
                </a:lnTo>
                <a:lnTo>
                  <a:pt x="374" y="1958"/>
                </a:lnTo>
                <a:lnTo>
                  <a:pt x="368" y="1968"/>
                </a:lnTo>
                <a:lnTo>
                  <a:pt x="360" y="1974"/>
                </a:lnTo>
                <a:lnTo>
                  <a:pt x="352" y="1980"/>
                </a:lnTo>
                <a:lnTo>
                  <a:pt x="342" y="1984"/>
                </a:lnTo>
                <a:lnTo>
                  <a:pt x="334" y="1988"/>
                </a:lnTo>
                <a:lnTo>
                  <a:pt x="324" y="1992"/>
                </a:lnTo>
                <a:lnTo>
                  <a:pt x="314" y="2000"/>
                </a:lnTo>
                <a:lnTo>
                  <a:pt x="306" y="2012"/>
                </a:lnTo>
                <a:lnTo>
                  <a:pt x="300" y="2022"/>
                </a:lnTo>
                <a:lnTo>
                  <a:pt x="296" y="2026"/>
                </a:lnTo>
                <a:lnTo>
                  <a:pt x="292" y="2028"/>
                </a:lnTo>
                <a:lnTo>
                  <a:pt x="288" y="2028"/>
                </a:lnTo>
                <a:lnTo>
                  <a:pt x="276" y="2026"/>
                </a:lnTo>
                <a:lnTo>
                  <a:pt x="268" y="2026"/>
                </a:lnTo>
                <a:lnTo>
                  <a:pt x="256" y="2030"/>
                </a:lnTo>
                <a:lnTo>
                  <a:pt x="244" y="2034"/>
                </a:lnTo>
                <a:lnTo>
                  <a:pt x="236" y="2040"/>
                </a:lnTo>
                <a:lnTo>
                  <a:pt x="232" y="2044"/>
                </a:lnTo>
                <a:lnTo>
                  <a:pt x="228" y="2048"/>
                </a:lnTo>
                <a:lnTo>
                  <a:pt x="224" y="2058"/>
                </a:lnTo>
                <a:lnTo>
                  <a:pt x="218" y="2062"/>
                </a:lnTo>
                <a:lnTo>
                  <a:pt x="210" y="2066"/>
                </a:lnTo>
                <a:lnTo>
                  <a:pt x="200" y="2072"/>
                </a:lnTo>
                <a:lnTo>
                  <a:pt x="194" y="2078"/>
                </a:lnTo>
                <a:lnTo>
                  <a:pt x="190" y="2082"/>
                </a:lnTo>
                <a:lnTo>
                  <a:pt x="188" y="2088"/>
                </a:lnTo>
                <a:lnTo>
                  <a:pt x="188" y="2092"/>
                </a:lnTo>
                <a:lnTo>
                  <a:pt x="192" y="2092"/>
                </a:lnTo>
                <a:lnTo>
                  <a:pt x="200" y="2092"/>
                </a:lnTo>
                <a:lnTo>
                  <a:pt x="212" y="2088"/>
                </a:lnTo>
                <a:lnTo>
                  <a:pt x="226" y="2084"/>
                </a:lnTo>
                <a:lnTo>
                  <a:pt x="236" y="2076"/>
                </a:lnTo>
                <a:lnTo>
                  <a:pt x="248" y="2064"/>
                </a:lnTo>
                <a:lnTo>
                  <a:pt x="256" y="2056"/>
                </a:lnTo>
                <a:lnTo>
                  <a:pt x="258" y="2056"/>
                </a:lnTo>
                <a:lnTo>
                  <a:pt x="262" y="2060"/>
                </a:lnTo>
                <a:lnTo>
                  <a:pt x="266" y="2064"/>
                </a:lnTo>
                <a:lnTo>
                  <a:pt x="270" y="2064"/>
                </a:lnTo>
                <a:lnTo>
                  <a:pt x="278" y="2062"/>
                </a:lnTo>
                <a:lnTo>
                  <a:pt x="282" y="2060"/>
                </a:lnTo>
                <a:lnTo>
                  <a:pt x="286" y="2060"/>
                </a:lnTo>
                <a:lnTo>
                  <a:pt x="288" y="2062"/>
                </a:lnTo>
                <a:lnTo>
                  <a:pt x="290" y="2068"/>
                </a:lnTo>
                <a:lnTo>
                  <a:pt x="292" y="2074"/>
                </a:lnTo>
                <a:lnTo>
                  <a:pt x="296" y="2078"/>
                </a:lnTo>
                <a:lnTo>
                  <a:pt x="300" y="2078"/>
                </a:lnTo>
                <a:lnTo>
                  <a:pt x="302" y="2078"/>
                </a:lnTo>
                <a:lnTo>
                  <a:pt x="306" y="2074"/>
                </a:lnTo>
                <a:lnTo>
                  <a:pt x="308" y="2070"/>
                </a:lnTo>
                <a:lnTo>
                  <a:pt x="308" y="2066"/>
                </a:lnTo>
                <a:lnTo>
                  <a:pt x="308" y="2060"/>
                </a:lnTo>
                <a:lnTo>
                  <a:pt x="306" y="2054"/>
                </a:lnTo>
                <a:lnTo>
                  <a:pt x="308" y="2050"/>
                </a:lnTo>
                <a:lnTo>
                  <a:pt x="312" y="2044"/>
                </a:lnTo>
                <a:lnTo>
                  <a:pt x="318" y="2042"/>
                </a:lnTo>
                <a:lnTo>
                  <a:pt x="322" y="2040"/>
                </a:lnTo>
                <a:lnTo>
                  <a:pt x="328" y="2040"/>
                </a:lnTo>
                <a:lnTo>
                  <a:pt x="332" y="2042"/>
                </a:lnTo>
                <a:lnTo>
                  <a:pt x="334" y="2046"/>
                </a:lnTo>
                <a:lnTo>
                  <a:pt x="334" y="2048"/>
                </a:lnTo>
                <a:lnTo>
                  <a:pt x="336" y="2050"/>
                </a:lnTo>
                <a:lnTo>
                  <a:pt x="340" y="2048"/>
                </a:lnTo>
                <a:lnTo>
                  <a:pt x="354" y="2040"/>
                </a:lnTo>
                <a:lnTo>
                  <a:pt x="372" y="2028"/>
                </a:lnTo>
                <a:lnTo>
                  <a:pt x="380" y="2022"/>
                </a:lnTo>
                <a:lnTo>
                  <a:pt x="390" y="2022"/>
                </a:lnTo>
                <a:lnTo>
                  <a:pt x="394" y="2020"/>
                </a:lnTo>
                <a:lnTo>
                  <a:pt x="396" y="2020"/>
                </a:lnTo>
                <a:lnTo>
                  <a:pt x="394" y="2012"/>
                </a:lnTo>
                <a:lnTo>
                  <a:pt x="396" y="2008"/>
                </a:lnTo>
                <a:lnTo>
                  <a:pt x="400" y="2000"/>
                </a:lnTo>
                <a:lnTo>
                  <a:pt x="408" y="1992"/>
                </a:lnTo>
                <a:lnTo>
                  <a:pt x="424" y="1982"/>
                </a:lnTo>
                <a:lnTo>
                  <a:pt x="440" y="1972"/>
                </a:lnTo>
                <a:lnTo>
                  <a:pt x="454" y="1964"/>
                </a:lnTo>
                <a:lnTo>
                  <a:pt x="462" y="1956"/>
                </a:lnTo>
                <a:lnTo>
                  <a:pt x="468" y="1950"/>
                </a:lnTo>
                <a:lnTo>
                  <a:pt x="478" y="1938"/>
                </a:lnTo>
                <a:lnTo>
                  <a:pt x="484" y="1932"/>
                </a:lnTo>
                <a:lnTo>
                  <a:pt x="494" y="1926"/>
                </a:lnTo>
                <a:lnTo>
                  <a:pt x="516" y="1916"/>
                </a:lnTo>
                <a:lnTo>
                  <a:pt x="538" y="1902"/>
                </a:lnTo>
                <a:lnTo>
                  <a:pt x="548" y="1896"/>
                </a:lnTo>
                <a:lnTo>
                  <a:pt x="556" y="1888"/>
                </a:lnTo>
                <a:lnTo>
                  <a:pt x="562" y="1882"/>
                </a:lnTo>
                <a:lnTo>
                  <a:pt x="566" y="1874"/>
                </a:lnTo>
                <a:lnTo>
                  <a:pt x="568" y="1866"/>
                </a:lnTo>
                <a:lnTo>
                  <a:pt x="572" y="1862"/>
                </a:lnTo>
                <a:lnTo>
                  <a:pt x="580" y="1856"/>
                </a:lnTo>
                <a:lnTo>
                  <a:pt x="588" y="1850"/>
                </a:lnTo>
                <a:lnTo>
                  <a:pt x="592" y="1846"/>
                </a:lnTo>
                <a:lnTo>
                  <a:pt x="592" y="1840"/>
                </a:lnTo>
                <a:lnTo>
                  <a:pt x="592" y="1836"/>
                </a:lnTo>
                <a:lnTo>
                  <a:pt x="590" y="1834"/>
                </a:lnTo>
                <a:lnTo>
                  <a:pt x="584" y="1832"/>
                </a:lnTo>
                <a:lnTo>
                  <a:pt x="564" y="1832"/>
                </a:lnTo>
                <a:lnTo>
                  <a:pt x="556" y="1830"/>
                </a:lnTo>
                <a:lnTo>
                  <a:pt x="554" y="1828"/>
                </a:lnTo>
                <a:lnTo>
                  <a:pt x="554" y="1824"/>
                </a:lnTo>
                <a:lnTo>
                  <a:pt x="558" y="1820"/>
                </a:lnTo>
                <a:lnTo>
                  <a:pt x="570" y="1810"/>
                </a:lnTo>
                <a:lnTo>
                  <a:pt x="598" y="1786"/>
                </a:lnTo>
                <a:lnTo>
                  <a:pt x="618" y="1766"/>
                </a:lnTo>
                <a:lnTo>
                  <a:pt x="632" y="1748"/>
                </a:lnTo>
                <a:lnTo>
                  <a:pt x="646" y="1726"/>
                </a:lnTo>
                <a:lnTo>
                  <a:pt x="654" y="1714"/>
                </a:lnTo>
                <a:lnTo>
                  <a:pt x="666" y="1704"/>
                </a:lnTo>
                <a:lnTo>
                  <a:pt x="680" y="1696"/>
                </a:lnTo>
                <a:lnTo>
                  <a:pt x="694" y="1690"/>
                </a:lnTo>
                <a:lnTo>
                  <a:pt x="710" y="1688"/>
                </a:lnTo>
                <a:lnTo>
                  <a:pt x="726" y="1692"/>
                </a:lnTo>
                <a:lnTo>
                  <a:pt x="744" y="1698"/>
                </a:lnTo>
                <a:lnTo>
                  <a:pt x="752" y="1704"/>
                </a:lnTo>
                <a:lnTo>
                  <a:pt x="758" y="1710"/>
                </a:lnTo>
                <a:lnTo>
                  <a:pt x="770" y="1720"/>
                </a:lnTo>
                <a:lnTo>
                  <a:pt x="770" y="1722"/>
                </a:lnTo>
                <a:lnTo>
                  <a:pt x="770" y="1724"/>
                </a:lnTo>
                <a:lnTo>
                  <a:pt x="752" y="1714"/>
                </a:lnTo>
                <a:lnTo>
                  <a:pt x="738" y="1708"/>
                </a:lnTo>
                <a:lnTo>
                  <a:pt x="722" y="1702"/>
                </a:lnTo>
                <a:lnTo>
                  <a:pt x="712" y="1702"/>
                </a:lnTo>
                <a:lnTo>
                  <a:pt x="704" y="1702"/>
                </a:lnTo>
                <a:lnTo>
                  <a:pt x="696" y="1704"/>
                </a:lnTo>
                <a:lnTo>
                  <a:pt x="690" y="1706"/>
                </a:lnTo>
                <a:lnTo>
                  <a:pt x="680" y="1716"/>
                </a:lnTo>
                <a:lnTo>
                  <a:pt x="674" y="1722"/>
                </a:lnTo>
                <a:lnTo>
                  <a:pt x="672" y="1728"/>
                </a:lnTo>
                <a:lnTo>
                  <a:pt x="672" y="1734"/>
                </a:lnTo>
                <a:lnTo>
                  <a:pt x="672" y="1742"/>
                </a:lnTo>
                <a:lnTo>
                  <a:pt x="670" y="1748"/>
                </a:lnTo>
                <a:lnTo>
                  <a:pt x="668" y="1756"/>
                </a:lnTo>
                <a:lnTo>
                  <a:pt x="658" y="1766"/>
                </a:lnTo>
                <a:lnTo>
                  <a:pt x="652" y="1776"/>
                </a:lnTo>
                <a:lnTo>
                  <a:pt x="650" y="1782"/>
                </a:lnTo>
                <a:lnTo>
                  <a:pt x="652" y="1788"/>
                </a:lnTo>
                <a:lnTo>
                  <a:pt x="656" y="1792"/>
                </a:lnTo>
                <a:lnTo>
                  <a:pt x="660" y="1794"/>
                </a:lnTo>
                <a:lnTo>
                  <a:pt x="662" y="1798"/>
                </a:lnTo>
                <a:lnTo>
                  <a:pt x="662" y="1800"/>
                </a:lnTo>
                <a:lnTo>
                  <a:pt x="656" y="1806"/>
                </a:lnTo>
                <a:lnTo>
                  <a:pt x="646" y="1812"/>
                </a:lnTo>
                <a:lnTo>
                  <a:pt x="644" y="1816"/>
                </a:lnTo>
                <a:lnTo>
                  <a:pt x="644" y="1818"/>
                </a:lnTo>
                <a:lnTo>
                  <a:pt x="646" y="1820"/>
                </a:lnTo>
                <a:lnTo>
                  <a:pt x="650" y="1822"/>
                </a:lnTo>
                <a:lnTo>
                  <a:pt x="658" y="1824"/>
                </a:lnTo>
                <a:lnTo>
                  <a:pt x="670" y="1824"/>
                </a:lnTo>
                <a:lnTo>
                  <a:pt x="684" y="1820"/>
                </a:lnTo>
                <a:lnTo>
                  <a:pt x="700" y="1814"/>
                </a:lnTo>
                <a:lnTo>
                  <a:pt x="712" y="1806"/>
                </a:lnTo>
                <a:lnTo>
                  <a:pt x="732" y="1788"/>
                </a:lnTo>
                <a:lnTo>
                  <a:pt x="748" y="1778"/>
                </a:lnTo>
                <a:lnTo>
                  <a:pt x="762" y="1774"/>
                </a:lnTo>
                <a:lnTo>
                  <a:pt x="778" y="1772"/>
                </a:lnTo>
                <a:lnTo>
                  <a:pt x="786" y="1772"/>
                </a:lnTo>
                <a:lnTo>
                  <a:pt x="790" y="1770"/>
                </a:lnTo>
                <a:lnTo>
                  <a:pt x="790" y="1768"/>
                </a:lnTo>
                <a:lnTo>
                  <a:pt x="790" y="1764"/>
                </a:lnTo>
                <a:lnTo>
                  <a:pt x="790" y="1760"/>
                </a:lnTo>
                <a:lnTo>
                  <a:pt x="790" y="1756"/>
                </a:lnTo>
                <a:lnTo>
                  <a:pt x="794" y="1754"/>
                </a:lnTo>
                <a:lnTo>
                  <a:pt x="800" y="1750"/>
                </a:lnTo>
                <a:lnTo>
                  <a:pt x="806" y="1746"/>
                </a:lnTo>
                <a:lnTo>
                  <a:pt x="806" y="1742"/>
                </a:lnTo>
                <a:lnTo>
                  <a:pt x="804" y="1736"/>
                </a:lnTo>
                <a:lnTo>
                  <a:pt x="802" y="1730"/>
                </a:lnTo>
                <a:lnTo>
                  <a:pt x="800" y="1724"/>
                </a:lnTo>
                <a:lnTo>
                  <a:pt x="800" y="1720"/>
                </a:lnTo>
                <a:lnTo>
                  <a:pt x="804" y="1716"/>
                </a:lnTo>
                <a:lnTo>
                  <a:pt x="812" y="1714"/>
                </a:lnTo>
                <a:lnTo>
                  <a:pt x="824" y="1712"/>
                </a:lnTo>
                <a:lnTo>
                  <a:pt x="834" y="1710"/>
                </a:lnTo>
                <a:lnTo>
                  <a:pt x="850" y="1704"/>
                </a:lnTo>
                <a:lnTo>
                  <a:pt x="856" y="1702"/>
                </a:lnTo>
                <a:lnTo>
                  <a:pt x="860" y="1704"/>
                </a:lnTo>
                <a:lnTo>
                  <a:pt x="862" y="1706"/>
                </a:lnTo>
                <a:lnTo>
                  <a:pt x="862" y="1712"/>
                </a:lnTo>
                <a:lnTo>
                  <a:pt x="864" y="1720"/>
                </a:lnTo>
                <a:lnTo>
                  <a:pt x="866" y="1724"/>
                </a:lnTo>
                <a:lnTo>
                  <a:pt x="870" y="1728"/>
                </a:lnTo>
                <a:lnTo>
                  <a:pt x="874" y="1730"/>
                </a:lnTo>
                <a:lnTo>
                  <a:pt x="888" y="1734"/>
                </a:lnTo>
                <a:lnTo>
                  <a:pt x="896" y="1738"/>
                </a:lnTo>
                <a:lnTo>
                  <a:pt x="906" y="1742"/>
                </a:lnTo>
                <a:lnTo>
                  <a:pt x="914" y="1746"/>
                </a:lnTo>
                <a:lnTo>
                  <a:pt x="918" y="1746"/>
                </a:lnTo>
                <a:lnTo>
                  <a:pt x="922" y="1744"/>
                </a:lnTo>
                <a:lnTo>
                  <a:pt x="924" y="1742"/>
                </a:lnTo>
                <a:lnTo>
                  <a:pt x="928" y="1740"/>
                </a:lnTo>
                <a:lnTo>
                  <a:pt x="930" y="1740"/>
                </a:lnTo>
                <a:lnTo>
                  <a:pt x="934" y="1742"/>
                </a:lnTo>
                <a:lnTo>
                  <a:pt x="940" y="1750"/>
                </a:lnTo>
                <a:lnTo>
                  <a:pt x="948" y="1758"/>
                </a:lnTo>
                <a:lnTo>
                  <a:pt x="958" y="1764"/>
                </a:lnTo>
                <a:lnTo>
                  <a:pt x="968" y="1766"/>
                </a:lnTo>
                <a:lnTo>
                  <a:pt x="978" y="1768"/>
                </a:lnTo>
                <a:lnTo>
                  <a:pt x="1002" y="1766"/>
                </a:lnTo>
                <a:lnTo>
                  <a:pt x="1026" y="1764"/>
                </a:lnTo>
                <a:lnTo>
                  <a:pt x="1036" y="1764"/>
                </a:lnTo>
                <a:lnTo>
                  <a:pt x="1050" y="1768"/>
                </a:lnTo>
                <a:lnTo>
                  <a:pt x="1078" y="1780"/>
                </a:lnTo>
                <a:lnTo>
                  <a:pt x="1090" y="1786"/>
                </a:lnTo>
                <a:lnTo>
                  <a:pt x="1104" y="1788"/>
                </a:lnTo>
                <a:lnTo>
                  <a:pt x="1116" y="1788"/>
                </a:lnTo>
                <a:lnTo>
                  <a:pt x="1122" y="1788"/>
                </a:lnTo>
                <a:lnTo>
                  <a:pt x="1126" y="1786"/>
                </a:lnTo>
                <a:lnTo>
                  <a:pt x="1136" y="1780"/>
                </a:lnTo>
                <a:lnTo>
                  <a:pt x="1142" y="1778"/>
                </a:lnTo>
                <a:lnTo>
                  <a:pt x="1148" y="1780"/>
                </a:lnTo>
                <a:lnTo>
                  <a:pt x="1150" y="1782"/>
                </a:lnTo>
                <a:lnTo>
                  <a:pt x="1150" y="1786"/>
                </a:lnTo>
                <a:lnTo>
                  <a:pt x="1150" y="1790"/>
                </a:lnTo>
                <a:lnTo>
                  <a:pt x="1146" y="1794"/>
                </a:lnTo>
                <a:lnTo>
                  <a:pt x="1142" y="1796"/>
                </a:lnTo>
                <a:lnTo>
                  <a:pt x="1138" y="1800"/>
                </a:lnTo>
                <a:lnTo>
                  <a:pt x="1140" y="1804"/>
                </a:lnTo>
                <a:lnTo>
                  <a:pt x="1146" y="1808"/>
                </a:lnTo>
                <a:lnTo>
                  <a:pt x="1154" y="1812"/>
                </a:lnTo>
                <a:lnTo>
                  <a:pt x="1174" y="1822"/>
                </a:lnTo>
                <a:lnTo>
                  <a:pt x="1192" y="1830"/>
                </a:lnTo>
                <a:lnTo>
                  <a:pt x="1206" y="1840"/>
                </a:lnTo>
                <a:lnTo>
                  <a:pt x="1216" y="1852"/>
                </a:lnTo>
                <a:lnTo>
                  <a:pt x="1228" y="1862"/>
                </a:lnTo>
                <a:lnTo>
                  <a:pt x="1246" y="1874"/>
                </a:lnTo>
                <a:lnTo>
                  <a:pt x="1254" y="1878"/>
                </a:lnTo>
                <a:lnTo>
                  <a:pt x="1264" y="1880"/>
                </a:lnTo>
                <a:lnTo>
                  <a:pt x="1272" y="1880"/>
                </a:lnTo>
                <a:lnTo>
                  <a:pt x="1278" y="1880"/>
                </a:lnTo>
                <a:lnTo>
                  <a:pt x="1282" y="1878"/>
                </a:lnTo>
                <a:lnTo>
                  <a:pt x="1284" y="1874"/>
                </a:lnTo>
                <a:lnTo>
                  <a:pt x="1284" y="1868"/>
                </a:lnTo>
                <a:lnTo>
                  <a:pt x="1280" y="1864"/>
                </a:lnTo>
                <a:lnTo>
                  <a:pt x="1272" y="1852"/>
                </a:lnTo>
                <a:lnTo>
                  <a:pt x="1268" y="1844"/>
                </a:lnTo>
                <a:lnTo>
                  <a:pt x="1268" y="1842"/>
                </a:lnTo>
                <a:lnTo>
                  <a:pt x="1270" y="1842"/>
                </a:lnTo>
                <a:lnTo>
                  <a:pt x="1282" y="1852"/>
                </a:lnTo>
                <a:lnTo>
                  <a:pt x="1298" y="1866"/>
                </a:lnTo>
                <a:lnTo>
                  <a:pt x="1314" y="1878"/>
                </a:lnTo>
                <a:lnTo>
                  <a:pt x="1320" y="1880"/>
                </a:lnTo>
                <a:lnTo>
                  <a:pt x="1324" y="1880"/>
                </a:lnTo>
                <a:lnTo>
                  <a:pt x="1326" y="1876"/>
                </a:lnTo>
                <a:lnTo>
                  <a:pt x="1326" y="1870"/>
                </a:lnTo>
                <a:lnTo>
                  <a:pt x="1322" y="1854"/>
                </a:lnTo>
                <a:lnTo>
                  <a:pt x="1322" y="1846"/>
                </a:lnTo>
                <a:lnTo>
                  <a:pt x="1324" y="1848"/>
                </a:lnTo>
                <a:lnTo>
                  <a:pt x="1334" y="1862"/>
                </a:lnTo>
                <a:lnTo>
                  <a:pt x="1338" y="1870"/>
                </a:lnTo>
                <a:lnTo>
                  <a:pt x="1344" y="1874"/>
                </a:lnTo>
                <a:lnTo>
                  <a:pt x="1350" y="1876"/>
                </a:lnTo>
                <a:lnTo>
                  <a:pt x="1354" y="1876"/>
                </a:lnTo>
                <a:lnTo>
                  <a:pt x="1358" y="1878"/>
                </a:lnTo>
                <a:lnTo>
                  <a:pt x="1364" y="1878"/>
                </a:lnTo>
                <a:lnTo>
                  <a:pt x="1368" y="1882"/>
                </a:lnTo>
                <a:lnTo>
                  <a:pt x="1372" y="1890"/>
                </a:lnTo>
                <a:lnTo>
                  <a:pt x="1378" y="1904"/>
                </a:lnTo>
                <a:lnTo>
                  <a:pt x="1382" y="1914"/>
                </a:lnTo>
                <a:lnTo>
                  <a:pt x="1386" y="1922"/>
                </a:lnTo>
                <a:lnTo>
                  <a:pt x="1392" y="1928"/>
                </a:lnTo>
                <a:lnTo>
                  <a:pt x="1394" y="1932"/>
                </a:lnTo>
                <a:lnTo>
                  <a:pt x="1394" y="1934"/>
                </a:lnTo>
                <a:lnTo>
                  <a:pt x="1390" y="1942"/>
                </a:lnTo>
                <a:lnTo>
                  <a:pt x="1388" y="1944"/>
                </a:lnTo>
                <a:lnTo>
                  <a:pt x="1390" y="1948"/>
                </a:lnTo>
                <a:lnTo>
                  <a:pt x="1392" y="1950"/>
                </a:lnTo>
                <a:lnTo>
                  <a:pt x="1400" y="1954"/>
                </a:lnTo>
                <a:lnTo>
                  <a:pt x="1412" y="1960"/>
                </a:lnTo>
                <a:lnTo>
                  <a:pt x="1414" y="1962"/>
                </a:lnTo>
                <a:lnTo>
                  <a:pt x="1416" y="1966"/>
                </a:lnTo>
                <a:lnTo>
                  <a:pt x="1422" y="1976"/>
                </a:lnTo>
                <a:lnTo>
                  <a:pt x="1426" y="1982"/>
                </a:lnTo>
                <a:lnTo>
                  <a:pt x="1434" y="1990"/>
                </a:lnTo>
                <a:lnTo>
                  <a:pt x="1452" y="2004"/>
                </a:lnTo>
                <a:lnTo>
                  <a:pt x="1464" y="2010"/>
                </a:lnTo>
                <a:lnTo>
                  <a:pt x="1468" y="2012"/>
                </a:lnTo>
                <a:lnTo>
                  <a:pt x="1460" y="2016"/>
                </a:lnTo>
                <a:lnTo>
                  <a:pt x="1452" y="2020"/>
                </a:lnTo>
                <a:lnTo>
                  <a:pt x="1450" y="2026"/>
                </a:lnTo>
                <a:lnTo>
                  <a:pt x="1448" y="2032"/>
                </a:lnTo>
                <a:lnTo>
                  <a:pt x="1442" y="2038"/>
                </a:lnTo>
                <a:lnTo>
                  <a:pt x="1440" y="2042"/>
                </a:lnTo>
                <a:lnTo>
                  <a:pt x="1440" y="2046"/>
                </a:lnTo>
                <a:lnTo>
                  <a:pt x="1440" y="2050"/>
                </a:lnTo>
                <a:lnTo>
                  <a:pt x="1444" y="2054"/>
                </a:lnTo>
                <a:lnTo>
                  <a:pt x="1446" y="2054"/>
                </a:lnTo>
                <a:lnTo>
                  <a:pt x="1450" y="2054"/>
                </a:lnTo>
                <a:lnTo>
                  <a:pt x="1452" y="2050"/>
                </a:lnTo>
                <a:lnTo>
                  <a:pt x="1456" y="2044"/>
                </a:lnTo>
                <a:lnTo>
                  <a:pt x="1462" y="2032"/>
                </a:lnTo>
                <a:lnTo>
                  <a:pt x="1466" y="2026"/>
                </a:lnTo>
                <a:lnTo>
                  <a:pt x="1470" y="2024"/>
                </a:lnTo>
                <a:lnTo>
                  <a:pt x="1474" y="2022"/>
                </a:lnTo>
                <a:lnTo>
                  <a:pt x="1480" y="2024"/>
                </a:lnTo>
                <a:lnTo>
                  <a:pt x="1484" y="2028"/>
                </a:lnTo>
                <a:lnTo>
                  <a:pt x="1488" y="2034"/>
                </a:lnTo>
                <a:lnTo>
                  <a:pt x="1492" y="2044"/>
                </a:lnTo>
                <a:lnTo>
                  <a:pt x="1494" y="2052"/>
                </a:lnTo>
                <a:lnTo>
                  <a:pt x="1494" y="2058"/>
                </a:lnTo>
                <a:lnTo>
                  <a:pt x="1492" y="2064"/>
                </a:lnTo>
                <a:lnTo>
                  <a:pt x="1488" y="2074"/>
                </a:lnTo>
                <a:lnTo>
                  <a:pt x="1488" y="2078"/>
                </a:lnTo>
                <a:lnTo>
                  <a:pt x="1488" y="2082"/>
                </a:lnTo>
                <a:lnTo>
                  <a:pt x="1492" y="2092"/>
                </a:lnTo>
                <a:lnTo>
                  <a:pt x="1494" y="2100"/>
                </a:lnTo>
                <a:lnTo>
                  <a:pt x="1496" y="2102"/>
                </a:lnTo>
                <a:lnTo>
                  <a:pt x="1500" y="2104"/>
                </a:lnTo>
                <a:lnTo>
                  <a:pt x="1504" y="2102"/>
                </a:lnTo>
                <a:lnTo>
                  <a:pt x="1508" y="2098"/>
                </a:lnTo>
                <a:lnTo>
                  <a:pt x="1518" y="2088"/>
                </a:lnTo>
                <a:lnTo>
                  <a:pt x="1524" y="2080"/>
                </a:lnTo>
                <a:lnTo>
                  <a:pt x="1526" y="2076"/>
                </a:lnTo>
                <a:lnTo>
                  <a:pt x="1526" y="2072"/>
                </a:lnTo>
                <a:lnTo>
                  <a:pt x="1524" y="2058"/>
                </a:lnTo>
                <a:lnTo>
                  <a:pt x="1522" y="2044"/>
                </a:lnTo>
                <a:lnTo>
                  <a:pt x="1524" y="2038"/>
                </a:lnTo>
                <a:lnTo>
                  <a:pt x="1528" y="2034"/>
                </a:lnTo>
                <a:lnTo>
                  <a:pt x="1530" y="2030"/>
                </a:lnTo>
                <a:lnTo>
                  <a:pt x="1530" y="2038"/>
                </a:lnTo>
                <a:lnTo>
                  <a:pt x="1530" y="2044"/>
                </a:lnTo>
                <a:lnTo>
                  <a:pt x="1532" y="2058"/>
                </a:lnTo>
                <a:lnTo>
                  <a:pt x="1534" y="2070"/>
                </a:lnTo>
                <a:lnTo>
                  <a:pt x="1534" y="2074"/>
                </a:lnTo>
                <a:lnTo>
                  <a:pt x="1530" y="2078"/>
                </a:lnTo>
                <a:lnTo>
                  <a:pt x="1526" y="2082"/>
                </a:lnTo>
                <a:lnTo>
                  <a:pt x="1526" y="2084"/>
                </a:lnTo>
                <a:lnTo>
                  <a:pt x="1526" y="2092"/>
                </a:lnTo>
                <a:lnTo>
                  <a:pt x="1526" y="2098"/>
                </a:lnTo>
                <a:lnTo>
                  <a:pt x="1524" y="2102"/>
                </a:lnTo>
                <a:lnTo>
                  <a:pt x="1522" y="2106"/>
                </a:lnTo>
                <a:lnTo>
                  <a:pt x="1516" y="2112"/>
                </a:lnTo>
                <a:lnTo>
                  <a:pt x="1512" y="2118"/>
                </a:lnTo>
                <a:lnTo>
                  <a:pt x="1512" y="2122"/>
                </a:lnTo>
                <a:lnTo>
                  <a:pt x="1514" y="2124"/>
                </a:lnTo>
                <a:lnTo>
                  <a:pt x="1518" y="2130"/>
                </a:lnTo>
                <a:lnTo>
                  <a:pt x="1522" y="2134"/>
                </a:lnTo>
                <a:lnTo>
                  <a:pt x="1524" y="2138"/>
                </a:lnTo>
                <a:lnTo>
                  <a:pt x="1528" y="2148"/>
                </a:lnTo>
                <a:lnTo>
                  <a:pt x="1534" y="2160"/>
                </a:lnTo>
                <a:lnTo>
                  <a:pt x="1544" y="2172"/>
                </a:lnTo>
                <a:lnTo>
                  <a:pt x="1554" y="2182"/>
                </a:lnTo>
                <a:lnTo>
                  <a:pt x="1558" y="2186"/>
                </a:lnTo>
                <a:lnTo>
                  <a:pt x="1560" y="2184"/>
                </a:lnTo>
                <a:lnTo>
                  <a:pt x="1562" y="2176"/>
                </a:lnTo>
                <a:lnTo>
                  <a:pt x="1564" y="2168"/>
                </a:lnTo>
                <a:lnTo>
                  <a:pt x="1568" y="2162"/>
                </a:lnTo>
                <a:lnTo>
                  <a:pt x="1574" y="2158"/>
                </a:lnTo>
                <a:lnTo>
                  <a:pt x="1584" y="2156"/>
                </a:lnTo>
                <a:lnTo>
                  <a:pt x="1592" y="2154"/>
                </a:lnTo>
                <a:lnTo>
                  <a:pt x="1594" y="2156"/>
                </a:lnTo>
                <a:lnTo>
                  <a:pt x="1588" y="2162"/>
                </a:lnTo>
                <a:lnTo>
                  <a:pt x="1582" y="2166"/>
                </a:lnTo>
                <a:lnTo>
                  <a:pt x="1578" y="2172"/>
                </a:lnTo>
                <a:lnTo>
                  <a:pt x="1576" y="2180"/>
                </a:lnTo>
                <a:lnTo>
                  <a:pt x="1576" y="2188"/>
                </a:lnTo>
                <a:lnTo>
                  <a:pt x="1582" y="2196"/>
                </a:lnTo>
                <a:lnTo>
                  <a:pt x="1586" y="2200"/>
                </a:lnTo>
                <a:lnTo>
                  <a:pt x="1588" y="2202"/>
                </a:lnTo>
                <a:lnTo>
                  <a:pt x="1590" y="2212"/>
                </a:lnTo>
                <a:lnTo>
                  <a:pt x="1592" y="2218"/>
                </a:lnTo>
                <a:lnTo>
                  <a:pt x="1596" y="2220"/>
                </a:lnTo>
                <a:lnTo>
                  <a:pt x="1600" y="2220"/>
                </a:lnTo>
                <a:lnTo>
                  <a:pt x="1604" y="2218"/>
                </a:lnTo>
                <a:lnTo>
                  <a:pt x="1608" y="2216"/>
                </a:lnTo>
                <a:lnTo>
                  <a:pt x="1610" y="2216"/>
                </a:lnTo>
                <a:lnTo>
                  <a:pt x="1610" y="2220"/>
                </a:lnTo>
                <a:lnTo>
                  <a:pt x="1606" y="2228"/>
                </a:lnTo>
                <a:lnTo>
                  <a:pt x="1600" y="2246"/>
                </a:lnTo>
                <a:lnTo>
                  <a:pt x="1596" y="2256"/>
                </a:lnTo>
                <a:lnTo>
                  <a:pt x="1598" y="2262"/>
                </a:lnTo>
                <a:lnTo>
                  <a:pt x="1600" y="2262"/>
                </a:lnTo>
                <a:lnTo>
                  <a:pt x="1602" y="2262"/>
                </a:lnTo>
                <a:lnTo>
                  <a:pt x="1602" y="2268"/>
                </a:lnTo>
                <a:lnTo>
                  <a:pt x="1604" y="2276"/>
                </a:lnTo>
                <a:lnTo>
                  <a:pt x="1606" y="2278"/>
                </a:lnTo>
                <a:lnTo>
                  <a:pt x="1608" y="2280"/>
                </a:lnTo>
                <a:lnTo>
                  <a:pt x="1612" y="2280"/>
                </a:lnTo>
                <a:lnTo>
                  <a:pt x="1614" y="2278"/>
                </a:lnTo>
                <a:lnTo>
                  <a:pt x="1614" y="2270"/>
                </a:lnTo>
                <a:lnTo>
                  <a:pt x="1616" y="2260"/>
                </a:lnTo>
                <a:lnTo>
                  <a:pt x="1618" y="2256"/>
                </a:lnTo>
                <a:lnTo>
                  <a:pt x="1622" y="2254"/>
                </a:lnTo>
                <a:lnTo>
                  <a:pt x="1632" y="2248"/>
                </a:lnTo>
                <a:lnTo>
                  <a:pt x="1638" y="2242"/>
                </a:lnTo>
                <a:lnTo>
                  <a:pt x="1642" y="2240"/>
                </a:lnTo>
                <a:lnTo>
                  <a:pt x="1644" y="2240"/>
                </a:lnTo>
                <a:lnTo>
                  <a:pt x="1644" y="2242"/>
                </a:lnTo>
                <a:lnTo>
                  <a:pt x="1646" y="2246"/>
                </a:lnTo>
                <a:lnTo>
                  <a:pt x="1648" y="2246"/>
                </a:lnTo>
                <a:lnTo>
                  <a:pt x="1654" y="2246"/>
                </a:lnTo>
                <a:lnTo>
                  <a:pt x="1660" y="2248"/>
                </a:lnTo>
                <a:lnTo>
                  <a:pt x="1660" y="2250"/>
                </a:lnTo>
                <a:lnTo>
                  <a:pt x="1660" y="2254"/>
                </a:lnTo>
                <a:lnTo>
                  <a:pt x="1660" y="2258"/>
                </a:lnTo>
                <a:lnTo>
                  <a:pt x="1656" y="2254"/>
                </a:lnTo>
                <a:lnTo>
                  <a:pt x="1652" y="2252"/>
                </a:lnTo>
                <a:lnTo>
                  <a:pt x="1648" y="2252"/>
                </a:lnTo>
                <a:lnTo>
                  <a:pt x="1642" y="2254"/>
                </a:lnTo>
                <a:lnTo>
                  <a:pt x="1636" y="2258"/>
                </a:lnTo>
                <a:lnTo>
                  <a:pt x="1624" y="2268"/>
                </a:lnTo>
                <a:lnTo>
                  <a:pt x="1618" y="2276"/>
                </a:lnTo>
                <a:lnTo>
                  <a:pt x="1618" y="2282"/>
                </a:lnTo>
                <a:lnTo>
                  <a:pt x="1618" y="2290"/>
                </a:lnTo>
                <a:lnTo>
                  <a:pt x="1620" y="2294"/>
                </a:lnTo>
                <a:lnTo>
                  <a:pt x="1622" y="2298"/>
                </a:lnTo>
                <a:lnTo>
                  <a:pt x="1626" y="2300"/>
                </a:lnTo>
                <a:lnTo>
                  <a:pt x="1628" y="2302"/>
                </a:lnTo>
                <a:lnTo>
                  <a:pt x="1626" y="2306"/>
                </a:lnTo>
                <a:lnTo>
                  <a:pt x="1622" y="2308"/>
                </a:lnTo>
                <a:lnTo>
                  <a:pt x="1622" y="2310"/>
                </a:lnTo>
                <a:lnTo>
                  <a:pt x="1624" y="2312"/>
                </a:lnTo>
                <a:lnTo>
                  <a:pt x="1626" y="2312"/>
                </a:lnTo>
                <a:lnTo>
                  <a:pt x="1624" y="2316"/>
                </a:lnTo>
                <a:lnTo>
                  <a:pt x="1620" y="2318"/>
                </a:lnTo>
                <a:lnTo>
                  <a:pt x="1620" y="2320"/>
                </a:lnTo>
                <a:lnTo>
                  <a:pt x="1622" y="2324"/>
                </a:lnTo>
                <a:lnTo>
                  <a:pt x="1624" y="2326"/>
                </a:lnTo>
                <a:lnTo>
                  <a:pt x="1632" y="2332"/>
                </a:lnTo>
                <a:lnTo>
                  <a:pt x="1642" y="2336"/>
                </a:lnTo>
                <a:lnTo>
                  <a:pt x="1650" y="2338"/>
                </a:lnTo>
                <a:lnTo>
                  <a:pt x="1656" y="2336"/>
                </a:lnTo>
                <a:lnTo>
                  <a:pt x="1662" y="2334"/>
                </a:lnTo>
                <a:lnTo>
                  <a:pt x="1670" y="2332"/>
                </a:lnTo>
                <a:lnTo>
                  <a:pt x="1676" y="2334"/>
                </a:lnTo>
                <a:lnTo>
                  <a:pt x="1676" y="2338"/>
                </a:lnTo>
                <a:lnTo>
                  <a:pt x="1676" y="2340"/>
                </a:lnTo>
                <a:lnTo>
                  <a:pt x="1682" y="2340"/>
                </a:lnTo>
                <a:lnTo>
                  <a:pt x="1688" y="2340"/>
                </a:lnTo>
                <a:lnTo>
                  <a:pt x="1688" y="2344"/>
                </a:lnTo>
                <a:lnTo>
                  <a:pt x="1686" y="2352"/>
                </a:lnTo>
                <a:lnTo>
                  <a:pt x="1686" y="2356"/>
                </a:lnTo>
                <a:lnTo>
                  <a:pt x="1686" y="2358"/>
                </a:lnTo>
                <a:lnTo>
                  <a:pt x="1688" y="2360"/>
                </a:lnTo>
                <a:lnTo>
                  <a:pt x="1694" y="2360"/>
                </a:lnTo>
                <a:lnTo>
                  <a:pt x="1700" y="2360"/>
                </a:lnTo>
                <a:lnTo>
                  <a:pt x="1704" y="2362"/>
                </a:lnTo>
                <a:lnTo>
                  <a:pt x="1706" y="2364"/>
                </a:lnTo>
                <a:lnTo>
                  <a:pt x="1714" y="2362"/>
                </a:lnTo>
                <a:lnTo>
                  <a:pt x="1718" y="2360"/>
                </a:lnTo>
                <a:lnTo>
                  <a:pt x="1724" y="2362"/>
                </a:lnTo>
                <a:lnTo>
                  <a:pt x="1730" y="2364"/>
                </a:lnTo>
                <a:lnTo>
                  <a:pt x="1736" y="2368"/>
                </a:lnTo>
                <a:lnTo>
                  <a:pt x="1738" y="2370"/>
                </a:lnTo>
                <a:lnTo>
                  <a:pt x="1742" y="2368"/>
                </a:lnTo>
                <a:lnTo>
                  <a:pt x="1746" y="2368"/>
                </a:lnTo>
                <a:lnTo>
                  <a:pt x="1748" y="2368"/>
                </a:lnTo>
                <a:lnTo>
                  <a:pt x="1750" y="2374"/>
                </a:lnTo>
                <a:lnTo>
                  <a:pt x="1750" y="2382"/>
                </a:lnTo>
                <a:lnTo>
                  <a:pt x="1748" y="2384"/>
                </a:lnTo>
                <a:lnTo>
                  <a:pt x="1744" y="2386"/>
                </a:lnTo>
                <a:lnTo>
                  <a:pt x="1742" y="2388"/>
                </a:lnTo>
                <a:lnTo>
                  <a:pt x="1742" y="2390"/>
                </a:lnTo>
                <a:lnTo>
                  <a:pt x="1748" y="2398"/>
                </a:lnTo>
                <a:lnTo>
                  <a:pt x="1758" y="2402"/>
                </a:lnTo>
                <a:lnTo>
                  <a:pt x="1764" y="2404"/>
                </a:lnTo>
                <a:lnTo>
                  <a:pt x="1768" y="2402"/>
                </a:lnTo>
                <a:lnTo>
                  <a:pt x="1776" y="2398"/>
                </a:lnTo>
                <a:lnTo>
                  <a:pt x="1778" y="2392"/>
                </a:lnTo>
                <a:lnTo>
                  <a:pt x="1780" y="2392"/>
                </a:lnTo>
                <a:lnTo>
                  <a:pt x="1780" y="2398"/>
                </a:lnTo>
                <a:lnTo>
                  <a:pt x="1780" y="2406"/>
                </a:lnTo>
                <a:lnTo>
                  <a:pt x="1784" y="2408"/>
                </a:lnTo>
                <a:lnTo>
                  <a:pt x="1786" y="2410"/>
                </a:lnTo>
                <a:lnTo>
                  <a:pt x="1786" y="2414"/>
                </a:lnTo>
                <a:lnTo>
                  <a:pt x="1784" y="2416"/>
                </a:lnTo>
                <a:lnTo>
                  <a:pt x="1780" y="2412"/>
                </a:lnTo>
                <a:lnTo>
                  <a:pt x="1776" y="2408"/>
                </a:lnTo>
                <a:lnTo>
                  <a:pt x="1774" y="2408"/>
                </a:lnTo>
                <a:lnTo>
                  <a:pt x="1772" y="2408"/>
                </a:lnTo>
                <a:lnTo>
                  <a:pt x="1772" y="2412"/>
                </a:lnTo>
                <a:lnTo>
                  <a:pt x="1774" y="2416"/>
                </a:lnTo>
                <a:lnTo>
                  <a:pt x="1782" y="2422"/>
                </a:lnTo>
                <a:lnTo>
                  <a:pt x="1790" y="2426"/>
                </a:lnTo>
                <a:lnTo>
                  <a:pt x="1794" y="2426"/>
                </a:lnTo>
                <a:lnTo>
                  <a:pt x="1796" y="2424"/>
                </a:lnTo>
                <a:lnTo>
                  <a:pt x="1798" y="2418"/>
                </a:lnTo>
                <a:lnTo>
                  <a:pt x="1800" y="2414"/>
                </a:lnTo>
                <a:lnTo>
                  <a:pt x="1804" y="2414"/>
                </a:lnTo>
                <a:lnTo>
                  <a:pt x="1804" y="2418"/>
                </a:lnTo>
                <a:lnTo>
                  <a:pt x="1804" y="2424"/>
                </a:lnTo>
                <a:lnTo>
                  <a:pt x="1806" y="2432"/>
                </a:lnTo>
                <a:lnTo>
                  <a:pt x="1810" y="2438"/>
                </a:lnTo>
                <a:lnTo>
                  <a:pt x="1810" y="2444"/>
                </a:lnTo>
                <a:lnTo>
                  <a:pt x="1808" y="2450"/>
                </a:lnTo>
                <a:lnTo>
                  <a:pt x="1810" y="2450"/>
                </a:lnTo>
                <a:lnTo>
                  <a:pt x="1814" y="2450"/>
                </a:lnTo>
                <a:lnTo>
                  <a:pt x="1816" y="2446"/>
                </a:lnTo>
                <a:lnTo>
                  <a:pt x="1818" y="2444"/>
                </a:lnTo>
                <a:lnTo>
                  <a:pt x="1820" y="2444"/>
                </a:lnTo>
                <a:lnTo>
                  <a:pt x="1824" y="2448"/>
                </a:lnTo>
                <a:lnTo>
                  <a:pt x="1824" y="2454"/>
                </a:lnTo>
                <a:lnTo>
                  <a:pt x="1824" y="2460"/>
                </a:lnTo>
                <a:lnTo>
                  <a:pt x="1828" y="2464"/>
                </a:lnTo>
                <a:lnTo>
                  <a:pt x="1832" y="2468"/>
                </a:lnTo>
                <a:lnTo>
                  <a:pt x="1832" y="2470"/>
                </a:lnTo>
                <a:lnTo>
                  <a:pt x="1834" y="2474"/>
                </a:lnTo>
                <a:lnTo>
                  <a:pt x="1832" y="2476"/>
                </a:lnTo>
                <a:lnTo>
                  <a:pt x="1830" y="2478"/>
                </a:lnTo>
                <a:lnTo>
                  <a:pt x="1826" y="2478"/>
                </a:lnTo>
                <a:lnTo>
                  <a:pt x="1826" y="2480"/>
                </a:lnTo>
                <a:lnTo>
                  <a:pt x="1830" y="2490"/>
                </a:lnTo>
                <a:lnTo>
                  <a:pt x="1838" y="2500"/>
                </a:lnTo>
                <a:lnTo>
                  <a:pt x="1840" y="2510"/>
                </a:lnTo>
                <a:lnTo>
                  <a:pt x="1842" y="2520"/>
                </a:lnTo>
                <a:lnTo>
                  <a:pt x="1840" y="2538"/>
                </a:lnTo>
                <a:lnTo>
                  <a:pt x="1838" y="2546"/>
                </a:lnTo>
                <a:lnTo>
                  <a:pt x="1836" y="2550"/>
                </a:lnTo>
                <a:lnTo>
                  <a:pt x="1836" y="2548"/>
                </a:lnTo>
                <a:lnTo>
                  <a:pt x="1834" y="2544"/>
                </a:lnTo>
                <a:lnTo>
                  <a:pt x="1828" y="2510"/>
                </a:lnTo>
                <a:lnTo>
                  <a:pt x="1824" y="2504"/>
                </a:lnTo>
                <a:lnTo>
                  <a:pt x="1818" y="2500"/>
                </a:lnTo>
                <a:lnTo>
                  <a:pt x="1808" y="2496"/>
                </a:lnTo>
                <a:lnTo>
                  <a:pt x="1798" y="2496"/>
                </a:lnTo>
                <a:lnTo>
                  <a:pt x="1776" y="2494"/>
                </a:lnTo>
                <a:lnTo>
                  <a:pt x="1766" y="2492"/>
                </a:lnTo>
                <a:lnTo>
                  <a:pt x="1758" y="2488"/>
                </a:lnTo>
                <a:lnTo>
                  <a:pt x="1752" y="2484"/>
                </a:lnTo>
                <a:lnTo>
                  <a:pt x="1748" y="2484"/>
                </a:lnTo>
                <a:lnTo>
                  <a:pt x="1744" y="2486"/>
                </a:lnTo>
                <a:lnTo>
                  <a:pt x="1744" y="2490"/>
                </a:lnTo>
                <a:lnTo>
                  <a:pt x="1744" y="2496"/>
                </a:lnTo>
                <a:lnTo>
                  <a:pt x="1746" y="2502"/>
                </a:lnTo>
                <a:lnTo>
                  <a:pt x="1754" y="2516"/>
                </a:lnTo>
                <a:lnTo>
                  <a:pt x="1760" y="2526"/>
                </a:lnTo>
                <a:lnTo>
                  <a:pt x="1764" y="2536"/>
                </a:lnTo>
                <a:lnTo>
                  <a:pt x="1770" y="2564"/>
                </a:lnTo>
                <a:lnTo>
                  <a:pt x="1774" y="2596"/>
                </a:lnTo>
                <a:lnTo>
                  <a:pt x="1774" y="2628"/>
                </a:lnTo>
                <a:lnTo>
                  <a:pt x="1774" y="2666"/>
                </a:lnTo>
                <a:lnTo>
                  <a:pt x="1770" y="2708"/>
                </a:lnTo>
                <a:lnTo>
                  <a:pt x="1766" y="2750"/>
                </a:lnTo>
                <a:lnTo>
                  <a:pt x="1762" y="2766"/>
                </a:lnTo>
                <a:lnTo>
                  <a:pt x="1758" y="2780"/>
                </a:lnTo>
                <a:lnTo>
                  <a:pt x="1754" y="2794"/>
                </a:lnTo>
                <a:lnTo>
                  <a:pt x="1754" y="2810"/>
                </a:lnTo>
                <a:lnTo>
                  <a:pt x="1756" y="2826"/>
                </a:lnTo>
                <a:lnTo>
                  <a:pt x="1760" y="2842"/>
                </a:lnTo>
                <a:lnTo>
                  <a:pt x="1764" y="2860"/>
                </a:lnTo>
                <a:lnTo>
                  <a:pt x="1766" y="2878"/>
                </a:lnTo>
                <a:lnTo>
                  <a:pt x="1766" y="2894"/>
                </a:lnTo>
                <a:lnTo>
                  <a:pt x="1764" y="2912"/>
                </a:lnTo>
                <a:lnTo>
                  <a:pt x="1760" y="2924"/>
                </a:lnTo>
                <a:lnTo>
                  <a:pt x="1760" y="2936"/>
                </a:lnTo>
                <a:lnTo>
                  <a:pt x="1762" y="2944"/>
                </a:lnTo>
                <a:lnTo>
                  <a:pt x="1766" y="2952"/>
                </a:lnTo>
                <a:lnTo>
                  <a:pt x="1774" y="2970"/>
                </a:lnTo>
                <a:lnTo>
                  <a:pt x="1778" y="2980"/>
                </a:lnTo>
                <a:lnTo>
                  <a:pt x="1782" y="2996"/>
                </a:lnTo>
                <a:lnTo>
                  <a:pt x="1784" y="3010"/>
                </a:lnTo>
                <a:lnTo>
                  <a:pt x="1788" y="3022"/>
                </a:lnTo>
                <a:lnTo>
                  <a:pt x="1792" y="3028"/>
                </a:lnTo>
                <a:lnTo>
                  <a:pt x="1798" y="3034"/>
                </a:lnTo>
                <a:lnTo>
                  <a:pt x="1808" y="3044"/>
                </a:lnTo>
                <a:lnTo>
                  <a:pt x="1812" y="3050"/>
                </a:lnTo>
                <a:lnTo>
                  <a:pt x="1814" y="3056"/>
                </a:lnTo>
                <a:lnTo>
                  <a:pt x="1816" y="3064"/>
                </a:lnTo>
                <a:lnTo>
                  <a:pt x="1818" y="3068"/>
                </a:lnTo>
                <a:lnTo>
                  <a:pt x="1826" y="3072"/>
                </a:lnTo>
                <a:lnTo>
                  <a:pt x="1828" y="3074"/>
                </a:lnTo>
                <a:lnTo>
                  <a:pt x="1832" y="3078"/>
                </a:lnTo>
                <a:lnTo>
                  <a:pt x="1834" y="3086"/>
                </a:lnTo>
                <a:lnTo>
                  <a:pt x="1836" y="3098"/>
                </a:lnTo>
                <a:lnTo>
                  <a:pt x="1838" y="3110"/>
                </a:lnTo>
                <a:lnTo>
                  <a:pt x="1842" y="3118"/>
                </a:lnTo>
                <a:lnTo>
                  <a:pt x="1848" y="3122"/>
                </a:lnTo>
                <a:lnTo>
                  <a:pt x="1852" y="3124"/>
                </a:lnTo>
                <a:lnTo>
                  <a:pt x="1856" y="3128"/>
                </a:lnTo>
                <a:lnTo>
                  <a:pt x="1860" y="3130"/>
                </a:lnTo>
                <a:lnTo>
                  <a:pt x="1862" y="3134"/>
                </a:lnTo>
                <a:lnTo>
                  <a:pt x="1860" y="3140"/>
                </a:lnTo>
                <a:lnTo>
                  <a:pt x="1858" y="3146"/>
                </a:lnTo>
                <a:lnTo>
                  <a:pt x="1858" y="3152"/>
                </a:lnTo>
                <a:lnTo>
                  <a:pt x="1860" y="3158"/>
                </a:lnTo>
                <a:lnTo>
                  <a:pt x="1862" y="3164"/>
                </a:lnTo>
                <a:lnTo>
                  <a:pt x="1874" y="3178"/>
                </a:lnTo>
                <a:lnTo>
                  <a:pt x="1890" y="3200"/>
                </a:lnTo>
                <a:lnTo>
                  <a:pt x="1900" y="3212"/>
                </a:lnTo>
                <a:lnTo>
                  <a:pt x="1904" y="3222"/>
                </a:lnTo>
                <a:lnTo>
                  <a:pt x="1908" y="3230"/>
                </a:lnTo>
                <a:lnTo>
                  <a:pt x="1910" y="3238"/>
                </a:lnTo>
                <a:lnTo>
                  <a:pt x="1910" y="3250"/>
                </a:lnTo>
                <a:lnTo>
                  <a:pt x="1912" y="3254"/>
                </a:lnTo>
                <a:lnTo>
                  <a:pt x="1916" y="3258"/>
                </a:lnTo>
                <a:lnTo>
                  <a:pt x="1920" y="3260"/>
                </a:lnTo>
                <a:lnTo>
                  <a:pt x="1926" y="3262"/>
                </a:lnTo>
                <a:lnTo>
                  <a:pt x="1940" y="3264"/>
                </a:lnTo>
                <a:lnTo>
                  <a:pt x="1950" y="3266"/>
                </a:lnTo>
                <a:lnTo>
                  <a:pt x="1958" y="3270"/>
                </a:lnTo>
                <a:lnTo>
                  <a:pt x="1968" y="3276"/>
                </a:lnTo>
                <a:lnTo>
                  <a:pt x="1978" y="3284"/>
                </a:lnTo>
                <a:lnTo>
                  <a:pt x="1988" y="3292"/>
                </a:lnTo>
                <a:lnTo>
                  <a:pt x="1994" y="3296"/>
                </a:lnTo>
                <a:lnTo>
                  <a:pt x="2006" y="3300"/>
                </a:lnTo>
                <a:lnTo>
                  <a:pt x="2016" y="3302"/>
                </a:lnTo>
                <a:lnTo>
                  <a:pt x="2022" y="3306"/>
                </a:lnTo>
                <a:lnTo>
                  <a:pt x="2030" y="3312"/>
                </a:lnTo>
                <a:lnTo>
                  <a:pt x="2036" y="3320"/>
                </a:lnTo>
                <a:lnTo>
                  <a:pt x="2042" y="3326"/>
                </a:lnTo>
                <a:lnTo>
                  <a:pt x="2046" y="3338"/>
                </a:lnTo>
                <a:lnTo>
                  <a:pt x="2048" y="3350"/>
                </a:lnTo>
                <a:lnTo>
                  <a:pt x="2052" y="3362"/>
                </a:lnTo>
                <a:lnTo>
                  <a:pt x="2068" y="3394"/>
                </a:lnTo>
                <a:lnTo>
                  <a:pt x="2078" y="3420"/>
                </a:lnTo>
                <a:lnTo>
                  <a:pt x="2092" y="3460"/>
                </a:lnTo>
                <a:lnTo>
                  <a:pt x="2100" y="3488"/>
                </a:lnTo>
                <a:lnTo>
                  <a:pt x="2106" y="3498"/>
                </a:lnTo>
                <a:lnTo>
                  <a:pt x="2112" y="3508"/>
                </a:lnTo>
                <a:lnTo>
                  <a:pt x="2120" y="3518"/>
                </a:lnTo>
                <a:lnTo>
                  <a:pt x="2130" y="3526"/>
                </a:lnTo>
                <a:lnTo>
                  <a:pt x="2150" y="3544"/>
                </a:lnTo>
                <a:lnTo>
                  <a:pt x="2160" y="3552"/>
                </a:lnTo>
                <a:lnTo>
                  <a:pt x="2166" y="3564"/>
                </a:lnTo>
                <a:lnTo>
                  <a:pt x="2170" y="3576"/>
                </a:lnTo>
                <a:lnTo>
                  <a:pt x="2170" y="3590"/>
                </a:lnTo>
                <a:lnTo>
                  <a:pt x="2170" y="3596"/>
                </a:lnTo>
                <a:lnTo>
                  <a:pt x="2168" y="3600"/>
                </a:lnTo>
                <a:lnTo>
                  <a:pt x="2164" y="3604"/>
                </a:lnTo>
                <a:lnTo>
                  <a:pt x="2162" y="3606"/>
                </a:lnTo>
                <a:lnTo>
                  <a:pt x="2154" y="3608"/>
                </a:lnTo>
                <a:lnTo>
                  <a:pt x="2148" y="3608"/>
                </a:lnTo>
                <a:lnTo>
                  <a:pt x="2142" y="3608"/>
                </a:lnTo>
                <a:lnTo>
                  <a:pt x="2140" y="3608"/>
                </a:lnTo>
                <a:lnTo>
                  <a:pt x="2140" y="3612"/>
                </a:lnTo>
                <a:lnTo>
                  <a:pt x="2146" y="3620"/>
                </a:lnTo>
                <a:lnTo>
                  <a:pt x="2156" y="3632"/>
                </a:lnTo>
                <a:lnTo>
                  <a:pt x="2166" y="3640"/>
                </a:lnTo>
                <a:lnTo>
                  <a:pt x="2188" y="3654"/>
                </a:lnTo>
                <a:lnTo>
                  <a:pt x="2214" y="3668"/>
                </a:lnTo>
                <a:lnTo>
                  <a:pt x="2226" y="3676"/>
                </a:lnTo>
                <a:lnTo>
                  <a:pt x="2240" y="3686"/>
                </a:lnTo>
                <a:lnTo>
                  <a:pt x="2244" y="3692"/>
                </a:lnTo>
                <a:lnTo>
                  <a:pt x="2248" y="3698"/>
                </a:lnTo>
                <a:lnTo>
                  <a:pt x="2250" y="3704"/>
                </a:lnTo>
                <a:lnTo>
                  <a:pt x="2252" y="3710"/>
                </a:lnTo>
                <a:lnTo>
                  <a:pt x="2252" y="3722"/>
                </a:lnTo>
                <a:lnTo>
                  <a:pt x="2250" y="3734"/>
                </a:lnTo>
                <a:lnTo>
                  <a:pt x="2248" y="3746"/>
                </a:lnTo>
                <a:lnTo>
                  <a:pt x="2250" y="3754"/>
                </a:lnTo>
                <a:lnTo>
                  <a:pt x="2252" y="3760"/>
                </a:lnTo>
                <a:lnTo>
                  <a:pt x="2256" y="3768"/>
                </a:lnTo>
                <a:lnTo>
                  <a:pt x="2262" y="3774"/>
                </a:lnTo>
                <a:lnTo>
                  <a:pt x="2270" y="3782"/>
                </a:lnTo>
                <a:lnTo>
                  <a:pt x="2280" y="3790"/>
                </a:lnTo>
                <a:lnTo>
                  <a:pt x="2302" y="3806"/>
                </a:lnTo>
                <a:lnTo>
                  <a:pt x="2316" y="3820"/>
                </a:lnTo>
                <a:lnTo>
                  <a:pt x="2326" y="3834"/>
                </a:lnTo>
                <a:lnTo>
                  <a:pt x="2332" y="3844"/>
                </a:lnTo>
                <a:lnTo>
                  <a:pt x="2336" y="3852"/>
                </a:lnTo>
                <a:lnTo>
                  <a:pt x="2340" y="3858"/>
                </a:lnTo>
                <a:lnTo>
                  <a:pt x="2344" y="3858"/>
                </a:lnTo>
                <a:lnTo>
                  <a:pt x="2352" y="3856"/>
                </a:lnTo>
                <a:lnTo>
                  <a:pt x="2358" y="3850"/>
                </a:lnTo>
                <a:lnTo>
                  <a:pt x="2362" y="3844"/>
                </a:lnTo>
                <a:lnTo>
                  <a:pt x="2364" y="3840"/>
                </a:lnTo>
                <a:lnTo>
                  <a:pt x="2364" y="3836"/>
                </a:lnTo>
                <a:lnTo>
                  <a:pt x="2358" y="3822"/>
                </a:lnTo>
                <a:lnTo>
                  <a:pt x="2346" y="3804"/>
                </a:lnTo>
                <a:lnTo>
                  <a:pt x="2342" y="3794"/>
                </a:lnTo>
                <a:lnTo>
                  <a:pt x="2336" y="3790"/>
                </a:lnTo>
                <a:lnTo>
                  <a:pt x="2332" y="3788"/>
                </a:lnTo>
                <a:lnTo>
                  <a:pt x="2330" y="3790"/>
                </a:lnTo>
                <a:lnTo>
                  <a:pt x="2324" y="3792"/>
                </a:lnTo>
                <a:lnTo>
                  <a:pt x="2320" y="3792"/>
                </a:lnTo>
                <a:lnTo>
                  <a:pt x="2316" y="3790"/>
                </a:lnTo>
                <a:lnTo>
                  <a:pt x="2312" y="3784"/>
                </a:lnTo>
                <a:lnTo>
                  <a:pt x="2312" y="3780"/>
                </a:lnTo>
                <a:lnTo>
                  <a:pt x="2312" y="3772"/>
                </a:lnTo>
                <a:lnTo>
                  <a:pt x="2310" y="3766"/>
                </a:lnTo>
                <a:lnTo>
                  <a:pt x="2310" y="3758"/>
                </a:lnTo>
                <a:lnTo>
                  <a:pt x="2306" y="3750"/>
                </a:lnTo>
                <a:lnTo>
                  <a:pt x="2300" y="3736"/>
                </a:lnTo>
                <a:lnTo>
                  <a:pt x="2290" y="3716"/>
                </a:lnTo>
                <a:lnTo>
                  <a:pt x="2286" y="3702"/>
                </a:lnTo>
                <a:lnTo>
                  <a:pt x="2282" y="3688"/>
                </a:lnTo>
                <a:lnTo>
                  <a:pt x="2276" y="3668"/>
                </a:lnTo>
                <a:lnTo>
                  <a:pt x="2270" y="3656"/>
                </a:lnTo>
                <a:lnTo>
                  <a:pt x="2264" y="3646"/>
                </a:lnTo>
                <a:lnTo>
                  <a:pt x="2250" y="3630"/>
                </a:lnTo>
                <a:lnTo>
                  <a:pt x="2236" y="3612"/>
                </a:lnTo>
                <a:lnTo>
                  <a:pt x="2230" y="3600"/>
                </a:lnTo>
                <a:lnTo>
                  <a:pt x="2226" y="3588"/>
                </a:lnTo>
                <a:lnTo>
                  <a:pt x="2220" y="3576"/>
                </a:lnTo>
                <a:lnTo>
                  <a:pt x="2214" y="3564"/>
                </a:lnTo>
                <a:lnTo>
                  <a:pt x="2200" y="3544"/>
                </a:lnTo>
                <a:lnTo>
                  <a:pt x="2182" y="3524"/>
                </a:lnTo>
                <a:lnTo>
                  <a:pt x="2168" y="3504"/>
                </a:lnTo>
                <a:lnTo>
                  <a:pt x="2160" y="3490"/>
                </a:lnTo>
                <a:lnTo>
                  <a:pt x="2154" y="3474"/>
                </a:lnTo>
                <a:lnTo>
                  <a:pt x="2148" y="3456"/>
                </a:lnTo>
                <a:lnTo>
                  <a:pt x="2144" y="3438"/>
                </a:lnTo>
                <a:lnTo>
                  <a:pt x="2142" y="3422"/>
                </a:lnTo>
                <a:lnTo>
                  <a:pt x="2142" y="3410"/>
                </a:lnTo>
                <a:lnTo>
                  <a:pt x="2144" y="3406"/>
                </a:lnTo>
                <a:lnTo>
                  <a:pt x="2146" y="3404"/>
                </a:lnTo>
                <a:lnTo>
                  <a:pt x="2150" y="3404"/>
                </a:lnTo>
                <a:lnTo>
                  <a:pt x="2154" y="3406"/>
                </a:lnTo>
                <a:lnTo>
                  <a:pt x="2168" y="3414"/>
                </a:lnTo>
                <a:lnTo>
                  <a:pt x="2174" y="3414"/>
                </a:lnTo>
                <a:lnTo>
                  <a:pt x="2178" y="3414"/>
                </a:lnTo>
                <a:lnTo>
                  <a:pt x="2188" y="3418"/>
                </a:lnTo>
                <a:lnTo>
                  <a:pt x="2198" y="3424"/>
                </a:lnTo>
                <a:lnTo>
                  <a:pt x="2204" y="3426"/>
                </a:lnTo>
                <a:lnTo>
                  <a:pt x="2208" y="3432"/>
                </a:lnTo>
                <a:lnTo>
                  <a:pt x="2214" y="3448"/>
                </a:lnTo>
                <a:lnTo>
                  <a:pt x="2224" y="3476"/>
                </a:lnTo>
                <a:lnTo>
                  <a:pt x="2230" y="3494"/>
                </a:lnTo>
                <a:lnTo>
                  <a:pt x="2236" y="3514"/>
                </a:lnTo>
                <a:lnTo>
                  <a:pt x="2246" y="3532"/>
                </a:lnTo>
                <a:lnTo>
                  <a:pt x="2254" y="3550"/>
                </a:lnTo>
                <a:lnTo>
                  <a:pt x="2266" y="3568"/>
                </a:lnTo>
                <a:lnTo>
                  <a:pt x="2276" y="3582"/>
                </a:lnTo>
                <a:lnTo>
                  <a:pt x="2288" y="3594"/>
                </a:lnTo>
                <a:lnTo>
                  <a:pt x="2300" y="3604"/>
                </a:lnTo>
                <a:lnTo>
                  <a:pt x="2310" y="3612"/>
                </a:lnTo>
                <a:lnTo>
                  <a:pt x="2314" y="3618"/>
                </a:lnTo>
                <a:lnTo>
                  <a:pt x="2320" y="3632"/>
                </a:lnTo>
                <a:lnTo>
                  <a:pt x="2324" y="3640"/>
                </a:lnTo>
                <a:lnTo>
                  <a:pt x="2328" y="3646"/>
                </a:lnTo>
                <a:lnTo>
                  <a:pt x="2338" y="3654"/>
                </a:lnTo>
                <a:lnTo>
                  <a:pt x="2352" y="3660"/>
                </a:lnTo>
                <a:lnTo>
                  <a:pt x="2360" y="3664"/>
                </a:lnTo>
                <a:lnTo>
                  <a:pt x="2364" y="3668"/>
                </a:lnTo>
                <a:lnTo>
                  <a:pt x="2368" y="3672"/>
                </a:lnTo>
                <a:lnTo>
                  <a:pt x="2370" y="3676"/>
                </a:lnTo>
                <a:lnTo>
                  <a:pt x="2370" y="3684"/>
                </a:lnTo>
                <a:lnTo>
                  <a:pt x="2366" y="3694"/>
                </a:lnTo>
                <a:lnTo>
                  <a:pt x="2364" y="3702"/>
                </a:lnTo>
                <a:lnTo>
                  <a:pt x="2364" y="3712"/>
                </a:lnTo>
                <a:lnTo>
                  <a:pt x="2364" y="3716"/>
                </a:lnTo>
                <a:lnTo>
                  <a:pt x="2368" y="3720"/>
                </a:lnTo>
                <a:lnTo>
                  <a:pt x="2372" y="3726"/>
                </a:lnTo>
                <a:lnTo>
                  <a:pt x="2380" y="3730"/>
                </a:lnTo>
                <a:lnTo>
                  <a:pt x="2394" y="3738"/>
                </a:lnTo>
                <a:lnTo>
                  <a:pt x="2402" y="3744"/>
                </a:lnTo>
                <a:lnTo>
                  <a:pt x="2408" y="3750"/>
                </a:lnTo>
                <a:lnTo>
                  <a:pt x="2412" y="3756"/>
                </a:lnTo>
                <a:lnTo>
                  <a:pt x="2422" y="3774"/>
                </a:lnTo>
                <a:lnTo>
                  <a:pt x="2434" y="3786"/>
                </a:lnTo>
                <a:lnTo>
                  <a:pt x="2450" y="3804"/>
                </a:lnTo>
                <a:lnTo>
                  <a:pt x="2476" y="3830"/>
                </a:lnTo>
                <a:lnTo>
                  <a:pt x="2494" y="3850"/>
                </a:lnTo>
                <a:lnTo>
                  <a:pt x="2506" y="3868"/>
                </a:lnTo>
                <a:lnTo>
                  <a:pt x="2512" y="3882"/>
                </a:lnTo>
                <a:lnTo>
                  <a:pt x="2516" y="3894"/>
                </a:lnTo>
                <a:lnTo>
                  <a:pt x="2518" y="3904"/>
                </a:lnTo>
                <a:lnTo>
                  <a:pt x="2522" y="3914"/>
                </a:lnTo>
                <a:lnTo>
                  <a:pt x="2526" y="3926"/>
                </a:lnTo>
                <a:lnTo>
                  <a:pt x="2532" y="3938"/>
                </a:lnTo>
                <a:lnTo>
                  <a:pt x="2532" y="3948"/>
                </a:lnTo>
                <a:lnTo>
                  <a:pt x="2528" y="3958"/>
                </a:lnTo>
                <a:lnTo>
                  <a:pt x="2524" y="3968"/>
                </a:lnTo>
                <a:lnTo>
                  <a:pt x="2520" y="3978"/>
                </a:lnTo>
                <a:lnTo>
                  <a:pt x="2516" y="3988"/>
                </a:lnTo>
                <a:lnTo>
                  <a:pt x="2516" y="4000"/>
                </a:lnTo>
                <a:lnTo>
                  <a:pt x="2520" y="4012"/>
                </a:lnTo>
                <a:lnTo>
                  <a:pt x="2528" y="4024"/>
                </a:lnTo>
                <a:lnTo>
                  <a:pt x="2536" y="4032"/>
                </a:lnTo>
                <a:lnTo>
                  <a:pt x="2552" y="4046"/>
                </a:lnTo>
                <a:lnTo>
                  <a:pt x="2570" y="4060"/>
                </a:lnTo>
                <a:lnTo>
                  <a:pt x="2582" y="4068"/>
                </a:lnTo>
                <a:lnTo>
                  <a:pt x="2594" y="4080"/>
                </a:lnTo>
                <a:lnTo>
                  <a:pt x="2606" y="4090"/>
                </a:lnTo>
                <a:lnTo>
                  <a:pt x="2618" y="4098"/>
                </a:lnTo>
                <a:lnTo>
                  <a:pt x="2628" y="4102"/>
                </a:lnTo>
                <a:lnTo>
                  <a:pt x="2638" y="4104"/>
                </a:lnTo>
                <a:lnTo>
                  <a:pt x="2648" y="4106"/>
                </a:lnTo>
                <a:lnTo>
                  <a:pt x="2658" y="4110"/>
                </a:lnTo>
                <a:lnTo>
                  <a:pt x="2668" y="4116"/>
                </a:lnTo>
                <a:lnTo>
                  <a:pt x="2680" y="4126"/>
                </a:lnTo>
                <a:lnTo>
                  <a:pt x="2694" y="4138"/>
                </a:lnTo>
                <a:lnTo>
                  <a:pt x="2714" y="4150"/>
                </a:lnTo>
                <a:lnTo>
                  <a:pt x="2736" y="4162"/>
                </a:lnTo>
                <a:lnTo>
                  <a:pt x="2762" y="4176"/>
                </a:lnTo>
                <a:lnTo>
                  <a:pt x="2814" y="4198"/>
                </a:lnTo>
                <a:lnTo>
                  <a:pt x="2862" y="4218"/>
                </a:lnTo>
                <a:lnTo>
                  <a:pt x="2880" y="4222"/>
                </a:lnTo>
                <a:lnTo>
                  <a:pt x="2894" y="4222"/>
                </a:lnTo>
                <a:lnTo>
                  <a:pt x="2906" y="4218"/>
                </a:lnTo>
                <a:lnTo>
                  <a:pt x="2916" y="4212"/>
                </a:lnTo>
                <a:lnTo>
                  <a:pt x="2926" y="4206"/>
                </a:lnTo>
                <a:lnTo>
                  <a:pt x="2938" y="4200"/>
                </a:lnTo>
                <a:lnTo>
                  <a:pt x="2952" y="4198"/>
                </a:lnTo>
                <a:lnTo>
                  <a:pt x="2968" y="4198"/>
                </a:lnTo>
                <a:lnTo>
                  <a:pt x="2984" y="4204"/>
                </a:lnTo>
                <a:lnTo>
                  <a:pt x="2996" y="4210"/>
                </a:lnTo>
                <a:lnTo>
                  <a:pt x="3006" y="4220"/>
                </a:lnTo>
                <a:lnTo>
                  <a:pt x="3016" y="4230"/>
                </a:lnTo>
                <a:lnTo>
                  <a:pt x="3032" y="4252"/>
                </a:lnTo>
                <a:lnTo>
                  <a:pt x="3042" y="4264"/>
                </a:lnTo>
                <a:lnTo>
                  <a:pt x="3054" y="4278"/>
                </a:lnTo>
                <a:lnTo>
                  <a:pt x="3074" y="4294"/>
                </a:lnTo>
                <a:lnTo>
                  <a:pt x="3086" y="4304"/>
                </a:lnTo>
                <a:lnTo>
                  <a:pt x="3096" y="4306"/>
                </a:lnTo>
                <a:lnTo>
                  <a:pt x="3104" y="4306"/>
                </a:lnTo>
                <a:lnTo>
                  <a:pt x="3116" y="4306"/>
                </a:lnTo>
                <a:lnTo>
                  <a:pt x="3124" y="4310"/>
                </a:lnTo>
                <a:lnTo>
                  <a:pt x="3140" y="4316"/>
                </a:lnTo>
                <a:lnTo>
                  <a:pt x="3146" y="4322"/>
                </a:lnTo>
                <a:lnTo>
                  <a:pt x="3150" y="4326"/>
                </a:lnTo>
                <a:lnTo>
                  <a:pt x="3154" y="4328"/>
                </a:lnTo>
                <a:lnTo>
                  <a:pt x="3162" y="4328"/>
                </a:lnTo>
                <a:lnTo>
                  <a:pt x="3174" y="4332"/>
                </a:lnTo>
                <a:lnTo>
                  <a:pt x="3186" y="4338"/>
                </a:lnTo>
                <a:lnTo>
                  <a:pt x="3196" y="4342"/>
                </a:lnTo>
                <a:lnTo>
                  <a:pt x="3204" y="4346"/>
                </a:lnTo>
                <a:lnTo>
                  <a:pt x="3206" y="4346"/>
                </a:lnTo>
                <a:lnTo>
                  <a:pt x="3206" y="4344"/>
                </a:lnTo>
                <a:lnTo>
                  <a:pt x="3204" y="4342"/>
                </a:lnTo>
                <a:lnTo>
                  <a:pt x="3202" y="4340"/>
                </a:lnTo>
                <a:lnTo>
                  <a:pt x="3210" y="4344"/>
                </a:lnTo>
                <a:lnTo>
                  <a:pt x="3214" y="4346"/>
                </a:lnTo>
                <a:lnTo>
                  <a:pt x="3218" y="4346"/>
                </a:lnTo>
                <a:lnTo>
                  <a:pt x="3228" y="4344"/>
                </a:lnTo>
                <a:lnTo>
                  <a:pt x="3234" y="4342"/>
                </a:lnTo>
                <a:lnTo>
                  <a:pt x="3236" y="4340"/>
                </a:lnTo>
                <a:lnTo>
                  <a:pt x="3234" y="4340"/>
                </a:lnTo>
                <a:lnTo>
                  <a:pt x="3232" y="4338"/>
                </a:lnTo>
                <a:lnTo>
                  <a:pt x="3230" y="4336"/>
                </a:lnTo>
                <a:lnTo>
                  <a:pt x="3230" y="4334"/>
                </a:lnTo>
                <a:lnTo>
                  <a:pt x="3234" y="4334"/>
                </a:lnTo>
                <a:lnTo>
                  <a:pt x="3236" y="4334"/>
                </a:lnTo>
                <a:lnTo>
                  <a:pt x="3238" y="4334"/>
                </a:lnTo>
                <a:lnTo>
                  <a:pt x="3240" y="4332"/>
                </a:lnTo>
                <a:lnTo>
                  <a:pt x="3240" y="4330"/>
                </a:lnTo>
                <a:lnTo>
                  <a:pt x="3244" y="4336"/>
                </a:lnTo>
                <a:lnTo>
                  <a:pt x="3248" y="4344"/>
                </a:lnTo>
                <a:lnTo>
                  <a:pt x="3252" y="4348"/>
                </a:lnTo>
                <a:lnTo>
                  <a:pt x="3254" y="4352"/>
                </a:lnTo>
                <a:lnTo>
                  <a:pt x="3252" y="4354"/>
                </a:lnTo>
                <a:lnTo>
                  <a:pt x="3252" y="4358"/>
                </a:lnTo>
                <a:lnTo>
                  <a:pt x="3250" y="4358"/>
                </a:lnTo>
                <a:lnTo>
                  <a:pt x="3246" y="4354"/>
                </a:lnTo>
                <a:lnTo>
                  <a:pt x="3244" y="4352"/>
                </a:lnTo>
                <a:lnTo>
                  <a:pt x="3242" y="4352"/>
                </a:lnTo>
                <a:lnTo>
                  <a:pt x="3240" y="4354"/>
                </a:lnTo>
                <a:lnTo>
                  <a:pt x="3238" y="4358"/>
                </a:lnTo>
                <a:lnTo>
                  <a:pt x="3242" y="4362"/>
                </a:lnTo>
                <a:lnTo>
                  <a:pt x="3248" y="4366"/>
                </a:lnTo>
                <a:lnTo>
                  <a:pt x="3252" y="4374"/>
                </a:lnTo>
                <a:lnTo>
                  <a:pt x="3260" y="4382"/>
                </a:lnTo>
                <a:lnTo>
                  <a:pt x="3266" y="4388"/>
                </a:lnTo>
                <a:lnTo>
                  <a:pt x="3274" y="4394"/>
                </a:lnTo>
                <a:lnTo>
                  <a:pt x="3278" y="4398"/>
                </a:lnTo>
                <a:lnTo>
                  <a:pt x="3282" y="4406"/>
                </a:lnTo>
                <a:lnTo>
                  <a:pt x="3288" y="4418"/>
                </a:lnTo>
                <a:lnTo>
                  <a:pt x="3296" y="4426"/>
                </a:lnTo>
                <a:lnTo>
                  <a:pt x="3304" y="4434"/>
                </a:lnTo>
                <a:lnTo>
                  <a:pt x="3316" y="4446"/>
                </a:lnTo>
                <a:lnTo>
                  <a:pt x="3318" y="4450"/>
                </a:lnTo>
                <a:lnTo>
                  <a:pt x="3318" y="4452"/>
                </a:lnTo>
                <a:lnTo>
                  <a:pt x="3314" y="4454"/>
                </a:lnTo>
                <a:lnTo>
                  <a:pt x="3310" y="4456"/>
                </a:lnTo>
                <a:lnTo>
                  <a:pt x="3310" y="4458"/>
                </a:lnTo>
                <a:lnTo>
                  <a:pt x="3316" y="4460"/>
                </a:lnTo>
                <a:lnTo>
                  <a:pt x="3318" y="4460"/>
                </a:lnTo>
                <a:lnTo>
                  <a:pt x="3320" y="4462"/>
                </a:lnTo>
                <a:lnTo>
                  <a:pt x="3320" y="4468"/>
                </a:lnTo>
                <a:lnTo>
                  <a:pt x="3318" y="4474"/>
                </a:lnTo>
                <a:lnTo>
                  <a:pt x="3316" y="4474"/>
                </a:lnTo>
                <a:lnTo>
                  <a:pt x="3314" y="4474"/>
                </a:lnTo>
                <a:lnTo>
                  <a:pt x="3312" y="4480"/>
                </a:lnTo>
                <a:lnTo>
                  <a:pt x="3312" y="4490"/>
                </a:lnTo>
                <a:lnTo>
                  <a:pt x="3314" y="4498"/>
                </a:lnTo>
                <a:lnTo>
                  <a:pt x="3318" y="4504"/>
                </a:lnTo>
                <a:lnTo>
                  <a:pt x="3322" y="4506"/>
                </a:lnTo>
                <a:lnTo>
                  <a:pt x="3330" y="4510"/>
                </a:lnTo>
                <a:lnTo>
                  <a:pt x="3336" y="4514"/>
                </a:lnTo>
                <a:lnTo>
                  <a:pt x="3338" y="4518"/>
                </a:lnTo>
                <a:lnTo>
                  <a:pt x="3340" y="4520"/>
                </a:lnTo>
                <a:lnTo>
                  <a:pt x="3342" y="4520"/>
                </a:lnTo>
                <a:lnTo>
                  <a:pt x="3348" y="4512"/>
                </a:lnTo>
                <a:lnTo>
                  <a:pt x="3350" y="4510"/>
                </a:lnTo>
                <a:lnTo>
                  <a:pt x="3352" y="4508"/>
                </a:lnTo>
                <a:lnTo>
                  <a:pt x="3348" y="4506"/>
                </a:lnTo>
                <a:lnTo>
                  <a:pt x="3338" y="4498"/>
                </a:lnTo>
                <a:lnTo>
                  <a:pt x="3336" y="4494"/>
                </a:lnTo>
                <a:lnTo>
                  <a:pt x="3336" y="4492"/>
                </a:lnTo>
                <a:lnTo>
                  <a:pt x="3336" y="4490"/>
                </a:lnTo>
                <a:lnTo>
                  <a:pt x="3338" y="4492"/>
                </a:lnTo>
                <a:lnTo>
                  <a:pt x="3342" y="4494"/>
                </a:lnTo>
                <a:lnTo>
                  <a:pt x="3348" y="4496"/>
                </a:lnTo>
                <a:lnTo>
                  <a:pt x="3354" y="4500"/>
                </a:lnTo>
                <a:lnTo>
                  <a:pt x="3358" y="4506"/>
                </a:lnTo>
                <a:lnTo>
                  <a:pt x="3360" y="4514"/>
                </a:lnTo>
                <a:lnTo>
                  <a:pt x="3360" y="4518"/>
                </a:lnTo>
                <a:lnTo>
                  <a:pt x="3362" y="4522"/>
                </a:lnTo>
                <a:lnTo>
                  <a:pt x="3366" y="4524"/>
                </a:lnTo>
                <a:lnTo>
                  <a:pt x="3370" y="4524"/>
                </a:lnTo>
                <a:lnTo>
                  <a:pt x="3374" y="4526"/>
                </a:lnTo>
                <a:lnTo>
                  <a:pt x="3384" y="4532"/>
                </a:lnTo>
                <a:lnTo>
                  <a:pt x="3400" y="4544"/>
                </a:lnTo>
                <a:lnTo>
                  <a:pt x="3402" y="4548"/>
                </a:lnTo>
                <a:lnTo>
                  <a:pt x="3402" y="4552"/>
                </a:lnTo>
                <a:lnTo>
                  <a:pt x="3402" y="4558"/>
                </a:lnTo>
                <a:lnTo>
                  <a:pt x="3402" y="4562"/>
                </a:lnTo>
                <a:lnTo>
                  <a:pt x="3398" y="4566"/>
                </a:lnTo>
                <a:lnTo>
                  <a:pt x="3398" y="4568"/>
                </a:lnTo>
                <a:lnTo>
                  <a:pt x="3400" y="4572"/>
                </a:lnTo>
                <a:lnTo>
                  <a:pt x="3404" y="4576"/>
                </a:lnTo>
                <a:lnTo>
                  <a:pt x="3408" y="4578"/>
                </a:lnTo>
                <a:lnTo>
                  <a:pt x="3412" y="4578"/>
                </a:lnTo>
                <a:lnTo>
                  <a:pt x="3414" y="4580"/>
                </a:lnTo>
                <a:lnTo>
                  <a:pt x="3416" y="4580"/>
                </a:lnTo>
                <a:lnTo>
                  <a:pt x="3416" y="4576"/>
                </a:lnTo>
                <a:lnTo>
                  <a:pt x="3414" y="4574"/>
                </a:lnTo>
                <a:lnTo>
                  <a:pt x="3410" y="4570"/>
                </a:lnTo>
                <a:lnTo>
                  <a:pt x="3408" y="4566"/>
                </a:lnTo>
                <a:lnTo>
                  <a:pt x="3408" y="4564"/>
                </a:lnTo>
                <a:lnTo>
                  <a:pt x="3410" y="4562"/>
                </a:lnTo>
                <a:lnTo>
                  <a:pt x="3414" y="4562"/>
                </a:lnTo>
                <a:lnTo>
                  <a:pt x="3414" y="4564"/>
                </a:lnTo>
                <a:lnTo>
                  <a:pt x="3416" y="4566"/>
                </a:lnTo>
                <a:lnTo>
                  <a:pt x="3418" y="4568"/>
                </a:lnTo>
                <a:lnTo>
                  <a:pt x="3420" y="4570"/>
                </a:lnTo>
                <a:lnTo>
                  <a:pt x="3422" y="4572"/>
                </a:lnTo>
                <a:lnTo>
                  <a:pt x="3422" y="4576"/>
                </a:lnTo>
                <a:lnTo>
                  <a:pt x="3422" y="4582"/>
                </a:lnTo>
                <a:lnTo>
                  <a:pt x="3422" y="4586"/>
                </a:lnTo>
                <a:lnTo>
                  <a:pt x="3428" y="4592"/>
                </a:lnTo>
                <a:lnTo>
                  <a:pt x="3430" y="4596"/>
                </a:lnTo>
                <a:lnTo>
                  <a:pt x="3432" y="4594"/>
                </a:lnTo>
                <a:lnTo>
                  <a:pt x="3434" y="4588"/>
                </a:lnTo>
                <a:lnTo>
                  <a:pt x="3436" y="4584"/>
                </a:lnTo>
                <a:lnTo>
                  <a:pt x="3440" y="4584"/>
                </a:lnTo>
                <a:lnTo>
                  <a:pt x="3454" y="4586"/>
                </a:lnTo>
                <a:lnTo>
                  <a:pt x="3464" y="4590"/>
                </a:lnTo>
                <a:lnTo>
                  <a:pt x="3472" y="4592"/>
                </a:lnTo>
                <a:lnTo>
                  <a:pt x="3478" y="4592"/>
                </a:lnTo>
                <a:lnTo>
                  <a:pt x="3480" y="4594"/>
                </a:lnTo>
                <a:lnTo>
                  <a:pt x="3482" y="4602"/>
                </a:lnTo>
                <a:lnTo>
                  <a:pt x="3484" y="4606"/>
                </a:lnTo>
                <a:lnTo>
                  <a:pt x="3484" y="4608"/>
                </a:lnTo>
                <a:lnTo>
                  <a:pt x="3486" y="4612"/>
                </a:lnTo>
                <a:lnTo>
                  <a:pt x="3490" y="4614"/>
                </a:lnTo>
                <a:lnTo>
                  <a:pt x="3498" y="4618"/>
                </a:lnTo>
                <a:lnTo>
                  <a:pt x="3498" y="4616"/>
                </a:lnTo>
                <a:lnTo>
                  <a:pt x="3498" y="4612"/>
                </a:lnTo>
                <a:lnTo>
                  <a:pt x="3500" y="4608"/>
                </a:lnTo>
                <a:lnTo>
                  <a:pt x="3502" y="4606"/>
                </a:lnTo>
                <a:lnTo>
                  <a:pt x="3504" y="4606"/>
                </a:lnTo>
                <a:lnTo>
                  <a:pt x="3506" y="4608"/>
                </a:lnTo>
                <a:lnTo>
                  <a:pt x="3506" y="4612"/>
                </a:lnTo>
                <a:lnTo>
                  <a:pt x="3508" y="4618"/>
                </a:lnTo>
                <a:lnTo>
                  <a:pt x="3510" y="4626"/>
                </a:lnTo>
                <a:lnTo>
                  <a:pt x="3510" y="4634"/>
                </a:lnTo>
                <a:lnTo>
                  <a:pt x="3510" y="4636"/>
                </a:lnTo>
                <a:lnTo>
                  <a:pt x="3512" y="4638"/>
                </a:lnTo>
                <a:lnTo>
                  <a:pt x="3516" y="4638"/>
                </a:lnTo>
                <a:lnTo>
                  <a:pt x="3528" y="4636"/>
                </a:lnTo>
                <a:lnTo>
                  <a:pt x="3530" y="4636"/>
                </a:lnTo>
                <a:lnTo>
                  <a:pt x="3532" y="4634"/>
                </a:lnTo>
                <a:lnTo>
                  <a:pt x="3532" y="4632"/>
                </a:lnTo>
                <a:lnTo>
                  <a:pt x="3534" y="4628"/>
                </a:lnTo>
                <a:lnTo>
                  <a:pt x="3538" y="4628"/>
                </a:lnTo>
                <a:lnTo>
                  <a:pt x="3544" y="4626"/>
                </a:lnTo>
                <a:lnTo>
                  <a:pt x="3548" y="4624"/>
                </a:lnTo>
                <a:lnTo>
                  <a:pt x="3548" y="4622"/>
                </a:lnTo>
                <a:lnTo>
                  <a:pt x="3548" y="4620"/>
                </a:lnTo>
                <a:lnTo>
                  <a:pt x="3542" y="4612"/>
                </a:lnTo>
                <a:lnTo>
                  <a:pt x="3536" y="4604"/>
                </a:lnTo>
                <a:lnTo>
                  <a:pt x="3534" y="4600"/>
                </a:lnTo>
                <a:lnTo>
                  <a:pt x="3534" y="4598"/>
                </a:lnTo>
                <a:lnTo>
                  <a:pt x="3532" y="4598"/>
                </a:lnTo>
                <a:lnTo>
                  <a:pt x="3530" y="4598"/>
                </a:lnTo>
                <a:lnTo>
                  <a:pt x="3528" y="4596"/>
                </a:lnTo>
                <a:lnTo>
                  <a:pt x="3526" y="4592"/>
                </a:lnTo>
                <a:lnTo>
                  <a:pt x="3528" y="4586"/>
                </a:lnTo>
                <a:lnTo>
                  <a:pt x="3530" y="4586"/>
                </a:lnTo>
                <a:lnTo>
                  <a:pt x="3534" y="4584"/>
                </a:lnTo>
                <a:lnTo>
                  <a:pt x="3538" y="4584"/>
                </a:lnTo>
                <a:lnTo>
                  <a:pt x="3544" y="4582"/>
                </a:lnTo>
                <a:lnTo>
                  <a:pt x="3550" y="4576"/>
                </a:lnTo>
                <a:lnTo>
                  <a:pt x="3558" y="4566"/>
                </a:lnTo>
                <a:lnTo>
                  <a:pt x="3558" y="4564"/>
                </a:lnTo>
                <a:lnTo>
                  <a:pt x="3558" y="4562"/>
                </a:lnTo>
                <a:lnTo>
                  <a:pt x="3558" y="4558"/>
                </a:lnTo>
                <a:lnTo>
                  <a:pt x="3562" y="4556"/>
                </a:lnTo>
                <a:lnTo>
                  <a:pt x="3568" y="4554"/>
                </a:lnTo>
                <a:lnTo>
                  <a:pt x="3568" y="4552"/>
                </a:lnTo>
                <a:lnTo>
                  <a:pt x="3572" y="4550"/>
                </a:lnTo>
                <a:lnTo>
                  <a:pt x="3578" y="4548"/>
                </a:lnTo>
                <a:lnTo>
                  <a:pt x="3588" y="4552"/>
                </a:lnTo>
                <a:lnTo>
                  <a:pt x="3598" y="4558"/>
                </a:lnTo>
                <a:lnTo>
                  <a:pt x="3606" y="4566"/>
                </a:lnTo>
                <a:lnTo>
                  <a:pt x="3608" y="4568"/>
                </a:lnTo>
                <a:lnTo>
                  <a:pt x="3608" y="4570"/>
                </a:lnTo>
                <a:lnTo>
                  <a:pt x="3608" y="4574"/>
                </a:lnTo>
                <a:lnTo>
                  <a:pt x="3608" y="4578"/>
                </a:lnTo>
                <a:lnTo>
                  <a:pt x="3610" y="4580"/>
                </a:lnTo>
                <a:lnTo>
                  <a:pt x="3612" y="4580"/>
                </a:lnTo>
                <a:lnTo>
                  <a:pt x="3616" y="4576"/>
                </a:lnTo>
                <a:lnTo>
                  <a:pt x="3616" y="4578"/>
                </a:lnTo>
                <a:lnTo>
                  <a:pt x="3618" y="4578"/>
                </a:lnTo>
                <a:lnTo>
                  <a:pt x="3620" y="4578"/>
                </a:lnTo>
                <a:lnTo>
                  <a:pt x="3622" y="4576"/>
                </a:lnTo>
                <a:lnTo>
                  <a:pt x="3620" y="4578"/>
                </a:lnTo>
                <a:lnTo>
                  <a:pt x="3618" y="4586"/>
                </a:lnTo>
                <a:lnTo>
                  <a:pt x="3614" y="4596"/>
                </a:lnTo>
                <a:lnTo>
                  <a:pt x="3614" y="4600"/>
                </a:lnTo>
                <a:lnTo>
                  <a:pt x="3614" y="4604"/>
                </a:lnTo>
                <a:lnTo>
                  <a:pt x="3622" y="4620"/>
                </a:lnTo>
                <a:lnTo>
                  <a:pt x="3628" y="4628"/>
                </a:lnTo>
                <a:lnTo>
                  <a:pt x="3634" y="4636"/>
                </a:lnTo>
                <a:lnTo>
                  <a:pt x="3636" y="4640"/>
                </a:lnTo>
                <a:lnTo>
                  <a:pt x="3638" y="4642"/>
                </a:lnTo>
                <a:lnTo>
                  <a:pt x="3640" y="4644"/>
                </a:lnTo>
                <a:lnTo>
                  <a:pt x="3642" y="4648"/>
                </a:lnTo>
                <a:lnTo>
                  <a:pt x="3642" y="4658"/>
                </a:lnTo>
                <a:lnTo>
                  <a:pt x="3644" y="4660"/>
                </a:lnTo>
                <a:lnTo>
                  <a:pt x="3648" y="4664"/>
                </a:lnTo>
                <a:lnTo>
                  <a:pt x="3652" y="4666"/>
                </a:lnTo>
                <a:lnTo>
                  <a:pt x="3654" y="4670"/>
                </a:lnTo>
                <a:lnTo>
                  <a:pt x="3654" y="4674"/>
                </a:lnTo>
                <a:lnTo>
                  <a:pt x="3652" y="4678"/>
                </a:lnTo>
                <a:lnTo>
                  <a:pt x="3650" y="4688"/>
                </a:lnTo>
                <a:lnTo>
                  <a:pt x="3650" y="4692"/>
                </a:lnTo>
                <a:lnTo>
                  <a:pt x="3652" y="4698"/>
                </a:lnTo>
                <a:lnTo>
                  <a:pt x="3658" y="4704"/>
                </a:lnTo>
                <a:lnTo>
                  <a:pt x="3658" y="4708"/>
                </a:lnTo>
                <a:lnTo>
                  <a:pt x="3656" y="4710"/>
                </a:lnTo>
                <a:lnTo>
                  <a:pt x="3654" y="4714"/>
                </a:lnTo>
                <a:lnTo>
                  <a:pt x="3650" y="4716"/>
                </a:lnTo>
                <a:lnTo>
                  <a:pt x="3648" y="4722"/>
                </a:lnTo>
                <a:lnTo>
                  <a:pt x="3646" y="4730"/>
                </a:lnTo>
                <a:lnTo>
                  <a:pt x="3648" y="4744"/>
                </a:lnTo>
                <a:lnTo>
                  <a:pt x="3650" y="4758"/>
                </a:lnTo>
                <a:lnTo>
                  <a:pt x="3650" y="4770"/>
                </a:lnTo>
                <a:lnTo>
                  <a:pt x="3648" y="4790"/>
                </a:lnTo>
                <a:lnTo>
                  <a:pt x="3648" y="4802"/>
                </a:lnTo>
                <a:lnTo>
                  <a:pt x="3650" y="4806"/>
                </a:lnTo>
                <a:lnTo>
                  <a:pt x="3652" y="4808"/>
                </a:lnTo>
                <a:lnTo>
                  <a:pt x="3654" y="4812"/>
                </a:lnTo>
                <a:lnTo>
                  <a:pt x="3656" y="4818"/>
                </a:lnTo>
                <a:lnTo>
                  <a:pt x="3654" y="4826"/>
                </a:lnTo>
                <a:lnTo>
                  <a:pt x="3650" y="4836"/>
                </a:lnTo>
                <a:lnTo>
                  <a:pt x="3646" y="4846"/>
                </a:lnTo>
                <a:lnTo>
                  <a:pt x="3640" y="4856"/>
                </a:lnTo>
                <a:lnTo>
                  <a:pt x="3634" y="4862"/>
                </a:lnTo>
                <a:lnTo>
                  <a:pt x="3628" y="4864"/>
                </a:lnTo>
                <a:lnTo>
                  <a:pt x="3616" y="4866"/>
                </a:lnTo>
                <a:lnTo>
                  <a:pt x="3606" y="4870"/>
                </a:lnTo>
                <a:lnTo>
                  <a:pt x="3602" y="4872"/>
                </a:lnTo>
                <a:lnTo>
                  <a:pt x="3600" y="4876"/>
                </a:lnTo>
                <a:lnTo>
                  <a:pt x="3600" y="4882"/>
                </a:lnTo>
                <a:lnTo>
                  <a:pt x="3600" y="4888"/>
                </a:lnTo>
                <a:lnTo>
                  <a:pt x="3602" y="4892"/>
                </a:lnTo>
                <a:lnTo>
                  <a:pt x="3600" y="4896"/>
                </a:lnTo>
                <a:lnTo>
                  <a:pt x="3592" y="4898"/>
                </a:lnTo>
                <a:lnTo>
                  <a:pt x="3590" y="4900"/>
                </a:lnTo>
                <a:lnTo>
                  <a:pt x="3588" y="4904"/>
                </a:lnTo>
                <a:lnTo>
                  <a:pt x="3590" y="4910"/>
                </a:lnTo>
                <a:lnTo>
                  <a:pt x="3594" y="4918"/>
                </a:lnTo>
                <a:lnTo>
                  <a:pt x="3594" y="4922"/>
                </a:lnTo>
                <a:lnTo>
                  <a:pt x="3594" y="4926"/>
                </a:lnTo>
                <a:lnTo>
                  <a:pt x="3588" y="4932"/>
                </a:lnTo>
                <a:lnTo>
                  <a:pt x="3580" y="4934"/>
                </a:lnTo>
                <a:lnTo>
                  <a:pt x="3570" y="4938"/>
                </a:lnTo>
                <a:lnTo>
                  <a:pt x="3560" y="4942"/>
                </a:lnTo>
                <a:lnTo>
                  <a:pt x="3552" y="4946"/>
                </a:lnTo>
                <a:lnTo>
                  <a:pt x="3546" y="4952"/>
                </a:lnTo>
                <a:lnTo>
                  <a:pt x="3546" y="4956"/>
                </a:lnTo>
                <a:lnTo>
                  <a:pt x="3546" y="4962"/>
                </a:lnTo>
                <a:lnTo>
                  <a:pt x="3546" y="4974"/>
                </a:lnTo>
                <a:lnTo>
                  <a:pt x="3546" y="4984"/>
                </a:lnTo>
                <a:lnTo>
                  <a:pt x="3542" y="4990"/>
                </a:lnTo>
                <a:lnTo>
                  <a:pt x="3540" y="4994"/>
                </a:lnTo>
                <a:lnTo>
                  <a:pt x="3532" y="5002"/>
                </a:lnTo>
                <a:lnTo>
                  <a:pt x="3530" y="5008"/>
                </a:lnTo>
                <a:lnTo>
                  <a:pt x="3530" y="5016"/>
                </a:lnTo>
                <a:lnTo>
                  <a:pt x="3530" y="5024"/>
                </a:lnTo>
                <a:lnTo>
                  <a:pt x="3528" y="5030"/>
                </a:lnTo>
                <a:lnTo>
                  <a:pt x="3524" y="5032"/>
                </a:lnTo>
                <a:lnTo>
                  <a:pt x="3520" y="5032"/>
                </a:lnTo>
                <a:lnTo>
                  <a:pt x="3516" y="5034"/>
                </a:lnTo>
                <a:lnTo>
                  <a:pt x="3512" y="5038"/>
                </a:lnTo>
                <a:lnTo>
                  <a:pt x="3510" y="5044"/>
                </a:lnTo>
                <a:lnTo>
                  <a:pt x="3512" y="5054"/>
                </a:lnTo>
                <a:lnTo>
                  <a:pt x="3516" y="5070"/>
                </a:lnTo>
                <a:lnTo>
                  <a:pt x="3516" y="5082"/>
                </a:lnTo>
                <a:lnTo>
                  <a:pt x="3516" y="5090"/>
                </a:lnTo>
                <a:lnTo>
                  <a:pt x="3514" y="5094"/>
                </a:lnTo>
                <a:lnTo>
                  <a:pt x="3514" y="5098"/>
                </a:lnTo>
                <a:lnTo>
                  <a:pt x="3514" y="5100"/>
                </a:lnTo>
                <a:lnTo>
                  <a:pt x="3524" y="5112"/>
                </a:lnTo>
                <a:lnTo>
                  <a:pt x="3532" y="5118"/>
                </a:lnTo>
                <a:lnTo>
                  <a:pt x="3538" y="5120"/>
                </a:lnTo>
                <a:lnTo>
                  <a:pt x="3542" y="5118"/>
                </a:lnTo>
                <a:lnTo>
                  <a:pt x="3546" y="5116"/>
                </a:lnTo>
                <a:lnTo>
                  <a:pt x="3550" y="5110"/>
                </a:lnTo>
                <a:lnTo>
                  <a:pt x="3552" y="5110"/>
                </a:lnTo>
                <a:lnTo>
                  <a:pt x="3552" y="5114"/>
                </a:lnTo>
                <a:lnTo>
                  <a:pt x="3552" y="5128"/>
                </a:lnTo>
                <a:lnTo>
                  <a:pt x="3550" y="5140"/>
                </a:lnTo>
                <a:lnTo>
                  <a:pt x="3548" y="5144"/>
                </a:lnTo>
                <a:lnTo>
                  <a:pt x="3544" y="5148"/>
                </a:lnTo>
                <a:lnTo>
                  <a:pt x="3540" y="5152"/>
                </a:lnTo>
                <a:lnTo>
                  <a:pt x="3534" y="5154"/>
                </a:lnTo>
                <a:lnTo>
                  <a:pt x="3520" y="5170"/>
                </a:lnTo>
                <a:lnTo>
                  <a:pt x="3508" y="5184"/>
                </a:lnTo>
                <a:lnTo>
                  <a:pt x="3502" y="5196"/>
                </a:lnTo>
                <a:lnTo>
                  <a:pt x="3498" y="5208"/>
                </a:lnTo>
                <a:lnTo>
                  <a:pt x="3496" y="5218"/>
                </a:lnTo>
                <a:lnTo>
                  <a:pt x="3496" y="5228"/>
                </a:lnTo>
                <a:lnTo>
                  <a:pt x="3498" y="5244"/>
                </a:lnTo>
                <a:lnTo>
                  <a:pt x="3502" y="5250"/>
                </a:lnTo>
                <a:lnTo>
                  <a:pt x="3504" y="5254"/>
                </a:lnTo>
                <a:lnTo>
                  <a:pt x="3512" y="5260"/>
                </a:lnTo>
                <a:lnTo>
                  <a:pt x="3514" y="5262"/>
                </a:lnTo>
                <a:lnTo>
                  <a:pt x="3516" y="5264"/>
                </a:lnTo>
                <a:lnTo>
                  <a:pt x="3514" y="5268"/>
                </a:lnTo>
                <a:lnTo>
                  <a:pt x="3508" y="5272"/>
                </a:lnTo>
                <a:lnTo>
                  <a:pt x="3504" y="5276"/>
                </a:lnTo>
                <a:lnTo>
                  <a:pt x="3502" y="5280"/>
                </a:lnTo>
                <a:lnTo>
                  <a:pt x="3502" y="5282"/>
                </a:lnTo>
                <a:lnTo>
                  <a:pt x="3504" y="5286"/>
                </a:lnTo>
                <a:lnTo>
                  <a:pt x="3510" y="5292"/>
                </a:lnTo>
                <a:lnTo>
                  <a:pt x="3518" y="5298"/>
                </a:lnTo>
                <a:lnTo>
                  <a:pt x="3540" y="5310"/>
                </a:lnTo>
                <a:lnTo>
                  <a:pt x="3550" y="5318"/>
                </a:lnTo>
                <a:lnTo>
                  <a:pt x="3552" y="5322"/>
                </a:lnTo>
                <a:lnTo>
                  <a:pt x="3554" y="5328"/>
                </a:lnTo>
                <a:lnTo>
                  <a:pt x="3558" y="5342"/>
                </a:lnTo>
                <a:lnTo>
                  <a:pt x="3564" y="5354"/>
                </a:lnTo>
                <a:lnTo>
                  <a:pt x="3570" y="5364"/>
                </a:lnTo>
                <a:lnTo>
                  <a:pt x="3576" y="5372"/>
                </a:lnTo>
                <a:lnTo>
                  <a:pt x="3588" y="5388"/>
                </a:lnTo>
                <a:lnTo>
                  <a:pt x="3592" y="5398"/>
                </a:lnTo>
                <a:lnTo>
                  <a:pt x="3596" y="5410"/>
                </a:lnTo>
                <a:lnTo>
                  <a:pt x="3600" y="5424"/>
                </a:lnTo>
                <a:lnTo>
                  <a:pt x="3606" y="5438"/>
                </a:lnTo>
                <a:lnTo>
                  <a:pt x="3618" y="5468"/>
                </a:lnTo>
                <a:lnTo>
                  <a:pt x="3632" y="5498"/>
                </a:lnTo>
                <a:lnTo>
                  <a:pt x="3638" y="5512"/>
                </a:lnTo>
                <a:lnTo>
                  <a:pt x="3642" y="5526"/>
                </a:lnTo>
                <a:lnTo>
                  <a:pt x="3644" y="5536"/>
                </a:lnTo>
                <a:lnTo>
                  <a:pt x="3648" y="5544"/>
                </a:lnTo>
                <a:lnTo>
                  <a:pt x="3654" y="5554"/>
                </a:lnTo>
                <a:lnTo>
                  <a:pt x="3660" y="5564"/>
                </a:lnTo>
                <a:lnTo>
                  <a:pt x="3660" y="5570"/>
                </a:lnTo>
                <a:lnTo>
                  <a:pt x="3662" y="5576"/>
                </a:lnTo>
                <a:lnTo>
                  <a:pt x="3664" y="5584"/>
                </a:lnTo>
                <a:lnTo>
                  <a:pt x="3668" y="5594"/>
                </a:lnTo>
                <a:lnTo>
                  <a:pt x="3682" y="5612"/>
                </a:lnTo>
                <a:lnTo>
                  <a:pt x="3688" y="5622"/>
                </a:lnTo>
                <a:lnTo>
                  <a:pt x="3694" y="5632"/>
                </a:lnTo>
                <a:lnTo>
                  <a:pt x="3698" y="5644"/>
                </a:lnTo>
                <a:lnTo>
                  <a:pt x="3698" y="5656"/>
                </a:lnTo>
                <a:lnTo>
                  <a:pt x="3698" y="5670"/>
                </a:lnTo>
                <a:lnTo>
                  <a:pt x="3700" y="5680"/>
                </a:lnTo>
                <a:lnTo>
                  <a:pt x="3704" y="5690"/>
                </a:lnTo>
                <a:lnTo>
                  <a:pt x="3712" y="5700"/>
                </a:lnTo>
                <a:lnTo>
                  <a:pt x="3724" y="5714"/>
                </a:lnTo>
                <a:lnTo>
                  <a:pt x="3730" y="5720"/>
                </a:lnTo>
                <a:lnTo>
                  <a:pt x="3734" y="5728"/>
                </a:lnTo>
                <a:lnTo>
                  <a:pt x="3742" y="5738"/>
                </a:lnTo>
                <a:lnTo>
                  <a:pt x="3752" y="5750"/>
                </a:lnTo>
                <a:lnTo>
                  <a:pt x="3776" y="5766"/>
                </a:lnTo>
                <a:lnTo>
                  <a:pt x="3814" y="5790"/>
                </a:lnTo>
                <a:lnTo>
                  <a:pt x="3854" y="5812"/>
                </a:lnTo>
                <a:lnTo>
                  <a:pt x="3878" y="5826"/>
                </a:lnTo>
                <a:lnTo>
                  <a:pt x="3884" y="5832"/>
                </a:lnTo>
                <a:lnTo>
                  <a:pt x="3888" y="5836"/>
                </a:lnTo>
                <a:lnTo>
                  <a:pt x="3892" y="5844"/>
                </a:lnTo>
                <a:lnTo>
                  <a:pt x="3894" y="5850"/>
                </a:lnTo>
                <a:lnTo>
                  <a:pt x="3896" y="5858"/>
                </a:lnTo>
                <a:lnTo>
                  <a:pt x="3900" y="5864"/>
                </a:lnTo>
                <a:lnTo>
                  <a:pt x="3906" y="5868"/>
                </a:lnTo>
                <a:lnTo>
                  <a:pt x="3910" y="5872"/>
                </a:lnTo>
                <a:lnTo>
                  <a:pt x="3924" y="5880"/>
                </a:lnTo>
                <a:lnTo>
                  <a:pt x="3930" y="5884"/>
                </a:lnTo>
                <a:lnTo>
                  <a:pt x="3936" y="5890"/>
                </a:lnTo>
                <a:lnTo>
                  <a:pt x="3936" y="5916"/>
                </a:lnTo>
                <a:lnTo>
                  <a:pt x="3938" y="5926"/>
                </a:lnTo>
                <a:lnTo>
                  <a:pt x="3940" y="5928"/>
                </a:lnTo>
                <a:lnTo>
                  <a:pt x="3940" y="5936"/>
                </a:lnTo>
                <a:lnTo>
                  <a:pt x="3940" y="5948"/>
                </a:lnTo>
                <a:lnTo>
                  <a:pt x="3942" y="5956"/>
                </a:lnTo>
                <a:lnTo>
                  <a:pt x="3944" y="5968"/>
                </a:lnTo>
                <a:lnTo>
                  <a:pt x="3944" y="5976"/>
                </a:lnTo>
                <a:lnTo>
                  <a:pt x="3944" y="5988"/>
                </a:lnTo>
                <a:lnTo>
                  <a:pt x="3942" y="5998"/>
                </a:lnTo>
                <a:lnTo>
                  <a:pt x="3942" y="6006"/>
                </a:lnTo>
                <a:lnTo>
                  <a:pt x="3946" y="6022"/>
                </a:lnTo>
                <a:lnTo>
                  <a:pt x="3948" y="6042"/>
                </a:lnTo>
                <a:lnTo>
                  <a:pt x="3948" y="6054"/>
                </a:lnTo>
                <a:lnTo>
                  <a:pt x="3946" y="6070"/>
                </a:lnTo>
                <a:lnTo>
                  <a:pt x="3940" y="6098"/>
                </a:lnTo>
                <a:lnTo>
                  <a:pt x="3938" y="6116"/>
                </a:lnTo>
                <a:lnTo>
                  <a:pt x="3936" y="6126"/>
                </a:lnTo>
                <a:lnTo>
                  <a:pt x="3934" y="6126"/>
                </a:lnTo>
                <a:lnTo>
                  <a:pt x="3932" y="6126"/>
                </a:lnTo>
                <a:lnTo>
                  <a:pt x="3930" y="6128"/>
                </a:lnTo>
                <a:lnTo>
                  <a:pt x="3926" y="6136"/>
                </a:lnTo>
                <a:lnTo>
                  <a:pt x="3926" y="6142"/>
                </a:lnTo>
                <a:lnTo>
                  <a:pt x="3926" y="6146"/>
                </a:lnTo>
                <a:lnTo>
                  <a:pt x="3930" y="6148"/>
                </a:lnTo>
                <a:lnTo>
                  <a:pt x="3932" y="6150"/>
                </a:lnTo>
                <a:lnTo>
                  <a:pt x="3932" y="6156"/>
                </a:lnTo>
                <a:lnTo>
                  <a:pt x="3930" y="6170"/>
                </a:lnTo>
                <a:lnTo>
                  <a:pt x="3928" y="6192"/>
                </a:lnTo>
                <a:lnTo>
                  <a:pt x="3928" y="6204"/>
                </a:lnTo>
                <a:lnTo>
                  <a:pt x="3930" y="6216"/>
                </a:lnTo>
                <a:lnTo>
                  <a:pt x="3932" y="6228"/>
                </a:lnTo>
                <a:lnTo>
                  <a:pt x="3932" y="6238"/>
                </a:lnTo>
                <a:lnTo>
                  <a:pt x="3932" y="6246"/>
                </a:lnTo>
                <a:lnTo>
                  <a:pt x="3928" y="6254"/>
                </a:lnTo>
                <a:lnTo>
                  <a:pt x="3924" y="6266"/>
                </a:lnTo>
                <a:lnTo>
                  <a:pt x="3924" y="6270"/>
                </a:lnTo>
                <a:lnTo>
                  <a:pt x="3926" y="6276"/>
                </a:lnTo>
                <a:lnTo>
                  <a:pt x="3928" y="6284"/>
                </a:lnTo>
                <a:lnTo>
                  <a:pt x="3926" y="6292"/>
                </a:lnTo>
                <a:lnTo>
                  <a:pt x="3922" y="6310"/>
                </a:lnTo>
                <a:lnTo>
                  <a:pt x="3914" y="6330"/>
                </a:lnTo>
                <a:lnTo>
                  <a:pt x="3912" y="6340"/>
                </a:lnTo>
                <a:lnTo>
                  <a:pt x="3912" y="6348"/>
                </a:lnTo>
                <a:lnTo>
                  <a:pt x="3914" y="6358"/>
                </a:lnTo>
                <a:lnTo>
                  <a:pt x="3910" y="6362"/>
                </a:lnTo>
                <a:lnTo>
                  <a:pt x="3908" y="6368"/>
                </a:lnTo>
                <a:lnTo>
                  <a:pt x="3904" y="6388"/>
                </a:lnTo>
                <a:lnTo>
                  <a:pt x="3904" y="6400"/>
                </a:lnTo>
                <a:lnTo>
                  <a:pt x="3900" y="6408"/>
                </a:lnTo>
                <a:lnTo>
                  <a:pt x="3898" y="6414"/>
                </a:lnTo>
                <a:lnTo>
                  <a:pt x="3894" y="6418"/>
                </a:lnTo>
                <a:lnTo>
                  <a:pt x="3890" y="6422"/>
                </a:lnTo>
                <a:lnTo>
                  <a:pt x="3888" y="6426"/>
                </a:lnTo>
                <a:lnTo>
                  <a:pt x="3888" y="6432"/>
                </a:lnTo>
                <a:lnTo>
                  <a:pt x="3890" y="6438"/>
                </a:lnTo>
                <a:lnTo>
                  <a:pt x="3896" y="6454"/>
                </a:lnTo>
                <a:lnTo>
                  <a:pt x="3900" y="6470"/>
                </a:lnTo>
                <a:lnTo>
                  <a:pt x="3898" y="6482"/>
                </a:lnTo>
                <a:lnTo>
                  <a:pt x="3896" y="6486"/>
                </a:lnTo>
                <a:lnTo>
                  <a:pt x="3894" y="6492"/>
                </a:lnTo>
                <a:lnTo>
                  <a:pt x="3888" y="6498"/>
                </a:lnTo>
                <a:lnTo>
                  <a:pt x="3882" y="6508"/>
                </a:lnTo>
                <a:lnTo>
                  <a:pt x="3882" y="6514"/>
                </a:lnTo>
                <a:lnTo>
                  <a:pt x="3880" y="6522"/>
                </a:lnTo>
                <a:lnTo>
                  <a:pt x="3884" y="6546"/>
                </a:lnTo>
                <a:lnTo>
                  <a:pt x="3888" y="6568"/>
                </a:lnTo>
                <a:lnTo>
                  <a:pt x="3888" y="6584"/>
                </a:lnTo>
                <a:lnTo>
                  <a:pt x="3890" y="6596"/>
                </a:lnTo>
                <a:lnTo>
                  <a:pt x="3894" y="6608"/>
                </a:lnTo>
                <a:lnTo>
                  <a:pt x="3896" y="6614"/>
                </a:lnTo>
                <a:lnTo>
                  <a:pt x="3894" y="6620"/>
                </a:lnTo>
                <a:lnTo>
                  <a:pt x="3890" y="6632"/>
                </a:lnTo>
                <a:lnTo>
                  <a:pt x="3884" y="6646"/>
                </a:lnTo>
                <a:lnTo>
                  <a:pt x="3882" y="6654"/>
                </a:lnTo>
                <a:lnTo>
                  <a:pt x="3882" y="6662"/>
                </a:lnTo>
                <a:lnTo>
                  <a:pt x="3884" y="6670"/>
                </a:lnTo>
                <a:lnTo>
                  <a:pt x="3884" y="6676"/>
                </a:lnTo>
                <a:lnTo>
                  <a:pt x="3882" y="6678"/>
                </a:lnTo>
                <a:lnTo>
                  <a:pt x="3880" y="6680"/>
                </a:lnTo>
                <a:lnTo>
                  <a:pt x="3878" y="6684"/>
                </a:lnTo>
                <a:lnTo>
                  <a:pt x="3874" y="6690"/>
                </a:lnTo>
                <a:lnTo>
                  <a:pt x="3872" y="6698"/>
                </a:lnTo>
                <a:lnTo>
                  <a:pt x="3870" y="6710"/>
                </a:lnTo>
                <a:lnTo>
                  <a:pt x="3868" y="6726"/>
                </a:lnTo>
                <a:lnTo>
                  <a:pt x="3866" y="6738"/>
                </a:lnTo>
                <a:lnTo>
                  <a:pt x="3858" y="6758"/>
                </a:lnTo>
                <a:lnTo>
                  <a:pt x="3850" y="6774"/>
                </a:lnTo>
                <a:lnTo>
                  <a:pt x="3846" y="6786"/>
                </a:lnTo>
                <a:lnTo>
                  <a:pt x="3844" y="6794"/>
                </a:lnTo>
                <a:lnTo>
                  <a:pt x="3840" y="6798"/>
                </a:lnTo>
                <a:lnTo>
                  <a:pt x="3838" y="6802"/>
                </a:lnTo>
                <a:lnTo>
                  <a:pt x="3834" y="6818"/>
                </a:lnTo>
                <a:lnTo>
                  <a:pt x="3834" y="6830"/>
                </a:lnTo>
                <a:lnTo>
                  <a:pt x="3832" y="6836"/>
                </a:lnTo>
                <a:lnTo>
                  <a:pt x="3830" y="6838"/>
                </a:lnTo>
                <a:lnTo>
                  <a:pt x="3828" y="6836"/>
                </a:lnTo>
                <a:lnTo>
                  <a:pt x="3826" y="6836"/>
                </a:lnTo>
                <a:lnTo>
                  <a:pt x="3826" y="6834"/>
                </a:lnTo>
                <a:lnTo>
                  <a:pt x="3824" y="6846"/>
                </a:lnTo>
                <a:lnTo>
                  <a:pt x="3822" y="6858"/>
                </a:lnTo>
                <a:lnTo>
                  <a:pt x="3820" y="6864"/>
                </a:lnTo>
                <a:lnTo>
                  <a:pt x="3818" y="6866"/>
                </a:lnTo>
                <a:lnTo>
                  <a:pt x="3814" y="6866"/>
                </a:lnTo>
                <a:lnTo>
                  <a:pt x="3806" y="6864"/>
                </a:lnTo>
                <a:lnTo>
                  <a:pt x="3804" y="6864"/>
                </a:lnTo>
                <a:lnTo>
                  <a:pt x="3804" y="6870"/>
                </a:lnTo>
                <a:lnTo>
                  <a:pt x="3802" y="6882"/>
                </a:lnTo>
                <a:lnTo>
                  <a:pt x="3804" y="6890"/>
                </a:lnTo>
                <a:lnTo>
                  <a:pt x="3806" y="6898"/>
                </a:lnTo>
                <a:lnTo>
                  <a:pt x="3810" y="6906"/>
                </a:lnTo>
                <a:lnTo>
                  <a:pt x="3810" y="6914"/>
                </a:lnTo>
                <a:lnTo>
                  <a:pt x="3810" y="6924"/>
                </a:lnTo>
                <a:lnTo>
                  <a:pt x="3808" y="6936"/>
                </a:lnTo>
                <a:lnTo>
                  <a:pt x="3810" y="6944"/>
                </a:lnTo>
                <a:lnTo>
                  <a:pt x="3814" y="6954"/>
                </a:lnTo>
                <a:lnTo>
                  <a:pt x="3818" y="6960"/>
                </a:lnTo>
                <a:lnTo>
                  <a:pt x="3820" y="6968"/>
                </a:lnTo>
                <a:lnTo>
                  <a:pt x="3820" y="6976"/>
                </a:lnTo>
                <a:lnTo>
                  <a:pt x="3818" y="6990"/>
                </a:lnTo>
                <a:lnTo>
                  <a:pt x="3816" y="7002"/>
                </a:lnTo>
                <a:lnTo>
                  <a:pt x="3812" y="7008"/>
                </a:lnTo>
                <a:lnTo>
                  <a:pt x="3810" y="7010"/>
                </a:lnTo>
                <a:lnTo>
                  <a:pt x="3808" y="7010"/>
                </a:lnTo>
                <a:lnTo>
                  <a:pt x="3804" y="7010"/>
                </a:lnTo>
                <a:lnTo>
                  <a:pt x="3802" y="7012"/>
                </a:lnTo>
                <a:lnTo>
                  <a:pt x="3800" y="7016"/>
                </a:lnTo>
                <a:lnTo>
                  <a:pt x="3800" y="7026"/>
                </a:lnTo>
                <a:lnTo>
                  <a:pt x="3798" y="7042"/>
                </a:lnTo>
                <a:lnTo>
                  <a:pt x="3796" y="7054"/>
                </a:lnTo>
                <a:lnTo>
                  <a:pt x="3790" y="7068"/>
                </a:lnTo>
                <a:lnTo>
                  <a:pt x="3790" y="7074"/>
                </a:lnTo>
                <a:lnTo>
                  <a:pt x="3790" y="7080"/>
                </a:lnTo>
                <a:lnTo>
                  <a:pt x="3790" y="7086"/>
                </a:lnTo>
                <a:lnTo>
                  <a:pt x="3794" y="7096"/>
                </a:lnTo>
                <a:lnTo>
                  <a:pt x="3798" y="7104"/>
                </a:lnTo>
                <a:lnTo>
                  <a:pt x="3804" y="7112"/>
                </a:lnTo>
                <a:lnTo>
                  <a:pt x="3808" y="7116"/>
                </a:lnTo>
                <a:lnTo>
                  <a:pt x="3814" y="7118"/>
                </a:lnTo>
                <a:lnTo>
                  <a:pt x="3818" y="7116"/>
                </a:lnTo>
                <a:lnTo>
                  <a:pt x="3820" y="7116"/>
                </a:lnTo>
                <a:lnTo>
                  <a:pt x="3824" y="7112"/>
                </a:lnTo>
                <a:lnTo>
                  <a:pt x="3826" y="7108"/>
                </a:lnTo>
                <a:lnTo>
                  <a:pt x="3830" y="7100"/>
                </a:lnTo>
                <a:lnTo>
                  <a:pt x="3832" y="7100"/>
                </a:lnTo>
                <a:lnTo>
                  <a:pt x="3834" y="7100"/>
                </a:lnTo>
                <a:lnTo>
                  <a:pt x="3838" y="7106"/>
                </a:lnTo>
                <a:lnTo>
                  <a:pt x="3842" y="7110"/>
                </a:lnTo>
                <a:lnTo>
                  <a:pt x="3846" y="7112"/>
                </a:lnTo>
                <a:lnTo>
                  <a:pt x="3848" y="7112"/>
                </a:lnTo>
                <a:lnTo>
                  <a:pt x="3846" y="7116"/>
                </a:lnTo>
                <a:lnTo>
                  <a:pt x="3840" y="7122"/>
                </a:lnTo>
                <a:lnTo>
                  <a:pt x="3836" y="7126"/>
                </a:lnTo>
                <a:lnTo>
                  <a:pt x="3836" y="7128"/>
                </a:lnTo>
                <a:lnTo>
                  <a:pt x="3842" y="7130"/>
                </a:lnTo>
                <a:lnTo>
                  <a:pt x="3846" y="7132"/>
                </a:lnTo>
                <a:lnTo>
                  <a:pt x="3850" y="7134"/>
                </a:lnTo>
                <a:lnTo>
                  <a:pt x="3852" y="7138"/>
                </a:lnTo>
                <a:lnTo>
                  <a:pt x="3854" y="7142"/>
                </a:lnTo>
                <a:lnTo>
                  <a:pt x="3852" y="7148"/>
                </a:lnTo>
                <a:lnTo>
                  <a:pt x="3850" y="7150"/>
                </a:lnTo>
                <a:lnTo>
                  <a:pt x="3848" y="7148"/>
                </a:lnTo>
                <a:lnTo>
                  <a:pt x="3844" y="7142"/>
                </a:lnTo>
                <a:lnTo>
                  <a:pt x="3840" y="7140"/>
                </a:lnTo>
                <a:lnTo>
                  <a:pt x="3838" y="7144"/>
                </a:lnTo>
                <a:lnTo>
                  <a:pt x="3838" y="7150"/>
                </a:lnTo>
                <a:lnTo>
                  <a:pt x="3840" y="7156"/>
                </a:lnTo>
                <a:lnTo>
                  <a:pt x="3838" y="7160"/>
                </a:lnTo>
                <a:lnTo>
                  <a:pt x="3836" y="7166"/>
                </a:lnTo>
                <a:lnTo>
                  <a:pt x="3838" y="7176"/>
                </a:lnTo>
                <a:lnTo>
                  <a:pt x="3840" y="7182"/>
                </a:lnTo>
                <a:lnTo>
                  <a:pt x="3838" y="7188"/>
                </a:lnTo>
                <a:lnTo>
                  <a:pt x="3832" y="7196"/>
                </a:lnTo>
                <a:lnTo>
                  <a:pt x="3826" y="7202"/>
                </a:lnTo>
                <a:lnTo>
                  <a:pt x="3826" y="7208"/>
                </a:lnTo>
                <a:lnTo>
                  <a:pt x="3826" y="7212"/>
                </a:lnTo>
                <a:lnTo>
                  <a:pt x="3830" y="7224"/>
                </a:lnTo>
                <a:lnTo>
                  <a:pt x="3830" y="7234"/>
                </a:lnTo>
                <a:lnTo>
                  <a:pt x="3826" y="7242"/>
                </a:lnTo>
                <a:lnTo>
                  <a:pt x="3822" y="7248"/>
                </a:lnTo>
                <a:lnTo>
                  <a:pt x="3820" y="7250"/>
                </a:lnTo>
                <a:lnTo>
                  <a:pt x="3822" y="7254"/>
                </a:lnTo>
                <a:lnTo>
                  <a:pt x="3826" y="7256"/>
                </a:lnTo>
                <a:lnTo>
                  <a:pt x="3832" y="7258"/>
                </a:lnTo>
                <a:lnTo>
                  <a:pt x="3840" y="7262"/>
                </a:lnTo>
                <a:lnTo>
                  <a:pt x="3844" y="7266"/>
                </a:lnTo>
                <a:lnTo>
                  <a:pt x="3844" y="7272"/>
                </a:lnTo>
                <a:lnTo>
                  <a:pt x="3842" y="7280"/>
                </a:lnTo>
                <a:lnTo>
                  <a:pt x="3838" y="7286"/>
                </a:lnTo>
                <a:lnTo>
                  <a:pt x="3834" y="7292"/>
                </a:lnTo>
                <a:lnTo>
                  <a:pt x="3828" y="7296"/>
                </a:lnTo>
                <a:lnTo>
                  <a:pt x="3822" y="7298"/>
                </a:lnTo>
                <a:lnTo>
                  <a:pt x="3816" y="7302"/>
                </a:lnTo>
                <a:lnTo>
                  <a:pt x="3814" y="7304"/>
                </a:lnTo>
                <a:lnTo>
                  <a:pt x="3816" y="7308"/>
                </a:lnTo>
                <a:lnTo>
                  <a:pt x="3818" y="7312"/>
                </a:lnTo>
                <a:lnTo>
                  <a:pt x="3820" y="7314"/>
                </a:lnTo>
                <a:lnTo>
                  <a:pt x="3820" y="7316"/>
                </a:lnTo>
                <a:lnTo>
                  <a:pt x="3816" y="7318"/>
                </a:lnTo>
                <a:lnTo>
                  <a:pt x="3812" y="7322"/>
                </a:lnTo>
                <a:lnTo>
                  <a:pt x="3808" y="7330"/>
                </a:lnTo>
                <a:lnTo>
                  <a:pt x="3808" y="7336"/>
                </a:lnTo>
                <a:lnTo>
                  <a:pt x="3808" y="7340"/>
                </a:lnTo>
                <a:lnTo>
                  <a:pt x="3808" y="7346"/>
                </a:lnTo>
                <a:lnTo>
                  <a:pt x="3806" y="7356"/>
                </a:lnTo>
                <a:lnTo>
                  <a:pt x="3804" y="7370"/>
                </a:lnTo>
                <a:lnTo>
                  <a:pt x="3804" y="7378"/>
                </a:lnTo>
                <a:lnTo>
                  <a:pt x="3802" y="7384"/>
                </a:lnTo>
                <a:lnTo>
                  <a:pt x="3798" y="7388"/>
                </a:lnTo>
                <a:lnTo>
                  <a:pt x="3794" y="7390"/>
                </a:lnTo>
                <a:lnTo>
                  <a:pt x="3796" y="7382"/>
                </a:lnTo>
                <a:lnTo>
                  <a:pt x="3796" y="7372"/>
                </a:lnTo>
                <a:lnTo>
                  <a:pt x="3796" y="7366"/>
                </a:lnTo>
                <a:lnTo>
                  <a:pt x="3792" y="7364"/>
                </a:lnTo>
                <a:lnTo>
                  <a:pt x="3788" y="7360"/>
                </a:lnTo>
                <a:lnTo>
                  <a:pt x="3786" y="7358"/>
                </a:lnTo>
                <a:lnTo>
                  <a:pt x="3786" y="7352"/>
                </a:lnTo>
                <a:lnTo>
                  <a:pt x="3786" y="7346"/>
                </a:lnTo>
                <a:lnTo>
                  <a:pt x="3784" y="7346"/>
                </a:lnTo>
                <a:lnTo>
                  <a:pt x="3780" y="7346"/>
                </a:lnTo>
                <a:lnTo>
                  <a:pt x="3772" y="7346"/>
                </a:lnTo>
                <a:lnTo>
                  <a:pt x="3772" y="7348"/>
                </a:lnTo>
                <a:lnTo>
                  <a:pt x="3770" y="7350"/>
                </a:lnTo>
                <a:lnTo>
                  <a:pt x="3766" y="7348"/>
                </a:lnTo>
                <a:lnTo>
                  <a:pt x="3764" y="7346"/>
                </a:lnTo>
                <a:lnTo>
                  <a:pt x="3762" y="7346"/>
                </a:lnTo>
                <a:lnTo>
                  <a:pt x="3762" y="7352"/>
                </a:lnTo>
                <a:lnTo>
                  <a:pt x="3762" y="7354"/>
                </a:lnTo>
                <a:lnTo>
                  <a:pt x="3760" y="7360"/>
                </a:lnTo>
                <a:lnTo>
                  <a:pt x="3756" y="7364"/>
                </a:lnTo>
                <a:lnTo>
                  <a:pt x="3750" y="7368"/>
                </a:lnTo>
                <a:lnTo>
                  <a:pt x="3736" y="7378"/>
                </a:lnTo>
                <a:lnTo>
                  <a:pt x="3724" y="7386"/>
                </a:lnTo>
                <a:lnTo>
                  <a:pt x="3722" y="7390"/>
                </a:lnTo>
                <a:lnTo>
                  <a:pt x="3720" y="7394"/>
                </a:lnTo>
                <a:lnTo>
                  <a:pt x="3720" y="7398"/>
                </a:lnTo>
                <a:lnTo>
                  <a:pt x="3722" y="7402"/>
                </a:lnTo>
                <a:lnTo>
                  <a:pt x="3728" y="7408"/>
                </a:lnTo>
                <a:lnTo>
                  <a:pt x="3732" y="7410"/>
                </a:lnTo>
                <a:lnTo>
                  <a:pt x="3734" y="7406"/>
                </a:lnTo>
                <a:lnTo>
                  <a:pt x="3734" y="7400"/>
                </a:lnTo>
                <a:lnTo>
                  <a:pt x="3736" y="7392"/>
                </a:lnTo>
                <a:lnTo>
                  <a:pt x="3738" y="7390"/>
                </a:lnTo>
                <a:lnTo>
                  <a:pt x="3742" y="7388"/>
                </a:lnTo>
                <a:lnTo>
                  <a:pt x="3744" y="7390"/>
                </a:lnTo>
                <a:lnTo>
                  <a:pt x="3748" y="7396"/>
                </a:lnTo>
                <a:lnTo>
                  <a:pt x="3752" y="7402"/>
                </a:lnTo>
                <a:lnTo>
                  <a:pt x="3760" y="7406"/>
                </a:lnTo>
                <a:lnTo>
                  <a:pt x="3768" y="7408"/>
                </a:lnTo>
                <a:lnTo>
                  <a:pt x="3770" y="7406"/>
                </a:lnTo>
                <a:lnTo>
                  <a:pt x="3772" y="7404"/>
                </a:lnTo>
                <a:lnTo>
                  <a:pt x="3772" y="7400"/>
                </a:lnTo>
                <a:lnTo>
                  <a:pt x="3776" y="7400"/>
                </a:lnTo>
                <a:lnTo>
                  <a:pt x="3778" y="7402"/>
                </a:lnTo>
                <a:lnTo>
                  <a:pt x="3782" y="7406"/>
                </a:lnTo>
                <a:lnTo>
                  <a:pt x="3786" y="7410"/>
                </a:lnTo>
                <a:lnTo>
                  <a:pt x="3790" y="7412"/>
                </a:lnTo>
                <a:lnTo>
                  <a:pt x="3792" y="7414"/>
                </a:lnTo>
                <a:lnTo>
                  <a:pt x="3792" y="7420"/>
                </a:lnTo>
                <a:lnTo>
                  <a:pt x="3790" y="7422"/>
                </a:lnTo>
                <a:lnTo>
                  <a:pt x="3788" y="7424"/>
                </a:lnTo>
                <a:lnTo>
                  <a:pt x="3784" y="7426"/>
                </a:lnTo>
                <a:lnTo>
                  <a:pt x="3778" y="7426"/>
                </a:lnTo>
                <a:lnTo>
                  <a:pt x="3774" y="7428"/>
                </a:lnTo>
                <a:lnTo>
                  <a:pt x="3772" y="7432"/>
                </a:lnTo>
                <a:lnTo>
                  <a:pt x="3770" y="7436"/>
                </a:lnTo>
                <a:lnTo>
                  <a:pt x="3772" y="7440"/>
                </a:lnTo>
                <a:lnTo>
                  <a:pt x="3776" y="7444"/>
                </a:lnTo>
                <a:lnTo>
                  <a:pt x="3780" y="7446"/>
                </a:lnTo>
                <a:lnTo>
                  <a:pt x="3778" y="7446"/>
                </a:lnTo>
                <a:lnTo>
                  <a:pt x="3770" y="7446"/>
                </a:lnTo>
                <a:lnTo>
                  <a:pt x="3766" y="7446"/>
                </a:lnTo>
                <a:lnTo>
                  <a:pt x="3764" y="7450"/>
                </a:lnTo>
                <a:lnTo>
                  <a:pt x="3762" y="7454"/>
                </a:lnTo>
                <a:lnTo>
                  <a:pt x="3764" y="7458"/>
                </a:lnTo>
                <a:lnTo>
                  <a:pt x="3770" y="7458"/>
                </a:lnTo>
                <a:lnTo>
                  <a:pt x="3778" y="7458"/>
                </a:lnTo>
                <a:lnTo>
                  <a:pt x="3786" y="7458"/>
                </a:lnTo>
                <a:lnTo>
                  <a:pt x="3794" y="7460"/>
                </a:lnTo>
                <a:lnTo>
                  <a:pt x="3796" y="7460"/>
                </a:lnTo>
                <a:lnTo>
                  <a:pt x="3798" y="7460"/>
                </a:lnTo>
                <a:lnTo>
                  <a:pt x="3800" y="7458"/>
                </a:lnTo>
                <a:lnTo>
                  <a:pt x="3800" y="7456"/>
                </a:lnTo>
                <a:lnTo>
                  <a:pt x="3802" y="7456"/>
                </a:lnTo>
                <a:lnTo>
                  <a:pt x="3806" y="7458"/>
                </a:lnTo>
                <a:lnTo>
                  <a:pt x="3808" y="7464"/>
                </a:lnTo>
                <a:lnTo>
                  <a:pt x="3808" y="7466"/>
                </a:lnTo>
                <a:lnTo>
                  <a:pt x="3806" y="7466"/>
                </a:lnTo>
                <a:lnTo>
                  <a:pt x="3806" y="7468"/>
                </a:lnTo>
                <a:lnTo>
                  <a:pt x="3806" y="7472"/>
                </a:lnTo>
                <a:lnTo>
                  <a:pt x="3810" y="7478"/>
                </a:lnTo>
                <a:lnTo>
                  <a:pt x="3814" y="7484"/>
                </a:lnTo>
                <a:lnTo>
                  <a:pt x="3810" y="7484"/>
                </a:lnTo>
                <a:lnTo>
                  <a:pt x="3796" y="7474"/>
                </a:lnTo>
                <a:lnTo>
                  <a:pt x="3790" y="7472"/>
                </a:lnTo>
                <a:lnTo>
                  <a:pt x="3784" y="7470"/>
                </a:lnTo>
                <a:lnTo>
                  <a:pt x="3768" y="7470"/>
                </a:lnTo>
                <a:lnTo>
                  <a:pt x="3764" y="7472"/>
                </a:lnTo>
                <a:lnTo>
                  <a:pt x="3762" y="7472"/>
                </a:lnTo>
                <a:lnTo>
                  <a:pt x="3764" y="7474"/>
                </a:lnTo>
                <a:lnTo>
                  <a:pt x="3766" y="7476"/>
                </a:lnTo>
                <a:lnTo>
                  <a:pt x="3768" y="7476"/>
                </a:lnTo>
                <a:lnTo>
                  <a:pt x="3770" y="7476"/>
                </a:lnTo>
                <a:lnTo>
                  <a:pt x="3772" y="7478"/>
                </a:lnTo>
                <a:lnTo>
                  <a:pt x="3774" y="7484"/>
                </a:lnTo>
                <a:lnTo>
                  <a:pt x="3778" y="7488"/>
                </a:lnTo>
                <a:lnTo>
                  <a:pt x="3788" y="7494"/>
                </a:lnTo>
                <a:lnTo>
                  <a:pt x="3792" y="7496"/>
                </a:lnTo>
                <a:lnTo>
                  <a:pt x="3790" y="7500"/>
                </a:lnTo>
                <a:lnTo>
                  <a:pt x="3790" y="7502"/>
                </a:lnTo>
                <a:lnTo>
                  <a:pt x="3790" y="7504"/>
                </a:lnTo>
                <a:lnTo>
                  <a:pt x="3784" y="7500"/>
                </a:lnTo>
                <a:lnTo>
                  <a:pt x="3780" y="7500"/>
                </a:lnTo>
                <a:lnTo>
                  <a:pt x="3778" y="7500"/>
                </a:lnTo>
                <a:lnTo>
                  <a:pt x="3776" y="7504"/>
                </a:lnTo>
                <a:lnTo>
                  <a:pt x="3772" y="7516"/>
                </a:lnTo>
                <a:lnTo>
                  <a:pt x="3772" y="7522"/>
                </a:lnTo>
                <a:lnTo>
                  <a:pt x="3772" y="7530"/>
                </a:lnTo>
                <a:lnTo>
                  <a:pt x="3774" y="7550"/>
                </a:lnTo>
                <a:lnTo>
                  <a:pt x="3776" y="7558"/>
                </a:lnTo>
                <a:lnTo>
                  <a:pt x="3778" y="7560"/>
                </a:lnTo>
                <a:lnTo>
                  <a:pt x="3780" y="7560"/>
                </a:lnTo>
                <a:lnTo>
                  <a:pt x="3780" y="7558"/>
                </a:lnTo>
                <a:lnTo>
                  <a:pt x="3782" y="7552"/>
                </a:lnTo>
                <a:lnTo>
                  <a:pt x="3784" y="7544"/>
                </a:lnTo>
                <a:lnTo>
                  <a:pt x="3786" y="7538"/>
                </a:lnTo>
                <a:lnTo>
                  <a:pt x="3788" y="7538"/>
                </a:lnTo>
                <a:lnTo>
                  <a:pt x="3788" y="7542"/>
                </a:lnTo>
                <a:lnTo>
                  <a:pt x="3788" y="7546"/>
                </a:lnTo>
                <a:lnTo>
                  <a:pt x="3788" y="7554"/>
                </a:lnTo>
                <a:lnTo>
                  <a:pt x="3790" y="7560"/>
                </a:lnTo>
                <a:lnTo>
                  <a:pt x="3794" y="7566"/>
                </a:lnTo>
                <a:lnTo>
                  <a:pt x="3796" y="7568"/>
                </a:lnTo>
                <a:lnTo>
                  <a:pt x="3792" y="7566"/>
                </a:lnTo>
                <a:lnTo>
                  <a:pt x="3786" y="7564"/>
                </a:lnTo>
                <a:lnTo>
                  <a:pt x="3780" y="7564"/>
                </a:lnTo>
                <a:lnTo>
                  <a:pt x="3778" y="7568"/>
                </a:lnTo>
                <a:lnTo>
                  <a:pt x="3778" y="7570"/>
                </a:lnTo>
                <a:lnTo>
                  <a:pt x="3780" y="7574"/>
                </a:lnTo>
                <a:lnTo>
                  <a:pt x="3778" y="7576"/>
                </a:lnTo>
                <a:lnTo>
                  <a:pt x="3776" y="7578"/>
                </a:lnTo>
                <a:lnTo>
                  <a:pt x="3780" y="7582"/>
                </a:lnTo>
                <a:lnTo>
                  <a:pt x="3792" y="7588"/>
                </a:lnTo>
                <a:lnTo>
                  <a:pt x="3792" y="7590"/>
                </a:lnTo>
                <a:lnTo>
                  <a:pt x="3784" y="7588"/>
                </a:lnTo>
                <a:lnTo>
                  <a:pt x="3776" y="7588"/>
                </a:lnTo>
                <a:lnTo>
                  <a:pt x="3776" y="7590"/>
                </a:lnTo>
                <a:lnTo>
                  <a:pt x="3784" y="7600"/>
                </a:lnTo>
                <a:lnTo>
                  <a:pt x="3788" y="7604"/>
                </a:lnTo>
                <a:lnTo>
                  <a:pt x="3786" y="7604"/>
                </a:lnTo>
                <a:lnTo>
                  <a:pt x="3776" y="7598"/>
                </a:lnTo>
                <a:lnTo>
                  <a:pt x="3770" y="7596"/>
                </a:lnTo>
                <a:lnTo>
                  <a:pt x="3764" y="7596"/>
                </a:lnTo>
                <a:lnTo>
                  <a:pt x="3760" y="7598"/>
                </a:lnTo>
                <a:lnTo>
                  <a:pt x="3762" y="7600"/>
                </a:lnTo>
                <a:lnTo>
                  <a:pt x="3764" y="7600"/>
                </a:lnTo>
                <a:lnTo>
                  <a:pt x="3768" y="7604"/>
                </a:lnTo>
                <a:lnTo>
                  <a:pt x="3770" y="7606"/>
                </a:lnTo>
                <a:lnTo>
                  <a:pt x="3772" y="7610"/>
                </a:lnTo>
                <a:lnTo>
                  <a:pt x="3774" y="7612"/>
                </a:lnTo>
                <a:lnTo>
                  <a:pt x="3778" y="7614"/>
                </a:lnTo>
                <a:lnTo>
                  <a:pt x="3782" y="7612"/>
                </a:lnTo>
                <a:lnTo>
                  <a:pt x="3784" y="7614"/>
                </a:lnTo>
                <a:lnTo>
                  <a:pt x="3788" y="7616"/>
                </a:lnTo>
                <a:lnTo>
                  <a:pt x="3792" y="7620"/>
                </a:lnTo>
                <a:lnTo>
                  <a:pt x="3792" y="7622"/>
                </a:lnTo>
                <a:lnTo>
                  <a:pt x="3784" y="7620"/>
                </a:lnTo>
                <a:lnTo>
                  <a:pt x="3782" y="7620"/>
                </a:lnTo>
                <a:lnTo>
                  <a:pt x="3780" y="7620"/>
                </a:lnTo>
                <a:lnTo>
                  <a:pt x="3784" y="7630"/>
                </a:lnTo>
                <a:lnTo>
                  <a:pt x="3788" y="7636"/>
                </a:lnTo>
                <a:lnTo>
                  <a:pt x="3790" y="7636"/>
                </a:lnTo>
                <a:lnTo>
                  <a:pt x="3794" y="7632"/>
                </a:lnTo>
                <a:lnTo>
                  <a:pt x="3798" y="7624"/>
                </a:lnTo>
                <a:lnTo>
                  <a:pt x="3802" y="7616"/>
                </a:lnTo>
                <a:lnTo>
                  <a:pt x="3804" y="7614"/>
                </a:lnTo>
                <a:lnTo>
                  <a:pt x="3804" y="7618"/>
                </a:lnTo>
                <a:lnTo>
                  <a:pt x="3802" y="7626"/>
                </a:lnTo>
                <a:lnTo>
                  <a:pt x="3796" y="7638"/>
                </a:lnTo>
                <a:lnTo>
                  <a:pt x="3794" y="7640"/>
                </a:lnTo>
                <a:lnTo>
                  <a:pt x="3790" y="7642"/>
                </a:lnTo>
                <a:lnTo>
                  <a:pt x="3784" y="7640"/>
                </a:lnTo>
                <a:lnTo>
                  <a:pt x="3782" y="7642"/>
                </a:lnTo>
                <a:lnTo>
                  <a:pt x="3782" y="7644"/>
                </a:lnTo>
                <a:lnTo>
                  <a:pt x="3782" y="7648"/>
                </a:lnTo>
                <a:lnTo>
                  <a:pt x="3782" y="7650"/>
                </a:lnTo>
                <a:lnTo>
                  <a:pt x="3784" y="7650"/>
                </a:lnTo>
                <a:lnTo>
                  <a:pt x="3784" y="7654"/>
                </a:lnTo>
                <a:lnTo>
                  <a:pt x="3784" y="7660"/>
                </a:lnTo>
                <a:lnTo>
                  <a:pt x="3786" y="7660"/>
                </a:lnTo>
                <a:lnTo>
                  <a:pt x="3788" y="7658"/>
                </a:lnTo>
                <a:lnTo>
                  <a:pt x="3792" y="7660"/>
                </a:lnTo>
                <a:lnTo>
                  <a:pt x="3798" y="7662"/>
                </a:lnTo>
                <a:lnTo>
                  <a:pt x="3802" y="7670"/>
                </a:lnTo>
                <a:lnTo>
                  <a:pt x="3804" y="7676"/>
                </a:lnTo>
                <a:lnTo>
                  <a:pt x="3804" y="7680"/>
                </a:lnTo>
                <a:lnTo>
                  <a:pt x="3802" y="7680"/>
                </a:lnTo>
                <a:lnTo>
                  <a:pt x="3798" y="7676"/>
                </a:lnTo>
                <a:lnTo>
                  <a:pt x="3796" y="7672"/>
                </a:lnTo>
                <a:lnTo>
                  <a:pt x="3792" y="7672"/>
                </a:lnTo>
                <a:lnTo>
                  <a:pt x="3792" y="7674"/>
                </a:lnTo>
                <a:lnTo>
                  <a:pt x="3794" y="7678"/>
                </a:lnTo>
                <a:lnTo>
                  <a:pt x="3794" y="7682"/>
                </a:lnTo>
                <a:lnTo>
                  <a:pt x="3794" y="7684"/>
                </a:lnTo>
                <a:lnTo>
                  <a:pt x="3794" y="7688"/>
                </a:lnTo>
                <a:lnTo>
                  <a:pt x="3796" y="7692"/>
                </a:lnTo>
                <a:lnTo>
                  <a:pt x="3798" y="7694"/>
                </a:lnTo>
                <a:lnTo>
                  <a:pt x="3800" y="7694"/>
                </a:lnTo>
                <a:lnTo>
                  <a:pt x="3802" y="7692"/>
                </a:lnTo>
                <a:lnTo>
                  <a:pt x="3806" y="7690"/>
                </a:lnTo>
                <a:lnTo>
                  <a:pt x="3808" y="7692"/>
                </a:lnTo>
                <a:lnTo>
                  <a:pt x="3810" y="7700"/>
                </a:lnTo>
                <a:lnTo>
                  <a:pt x="3806" y="7700"/>
                </a:lnTo>
                <a:lnTo>
                  <a:pt x="3804" y="7700"/>
                </a:lnTo>
                <a:lnTo>
                  <a:pt x="3806" y="7702"/>
                </a:lnTo>
                <a:lnTo>
                  <a:pt x="3810" y="7708"/>
                </a:lnTo>
                <a:lnTo>
                  <a:pt x="3816" y="7714"/>
                </a:lnTo>
                <a:lnTo>
                  <a:pt x="3818" y="7716"/>
                </a:lnTo>
                <a:lnTo>
                  <a:pt x="3820" y="7714"/>
                </a:lnTo>
                <a:lnTo>
                  <a:pt x="3824" y="7706"/>
                </a:lnTo>
                <a:lnTo>
                  <a:pt x="3826" y="7702"/>
                </a:lnTo>
                <a:lnTo>
                  <a:pt x="3828" y="7700"/>
                </a:lnTo>
                <a:lnTo>
                  <a:pt x="3830" y="7698"/>
                </a:lnTo>
                <a:lnTo>
                  <a:pt x="3830" y="7696"/>
                </a:lnTo>
                <a:lnTo>
                  <a:pt x="3832" y="7694"/>
                </a:lnTo>
                <a:lnTo>
                  <a:pt x="3838" y="7696"/>
                </a:lnTo>
                <a:lnTo>
                  <a:pt x="3846" y="7696"/>
                </a:lnTo>
                <a:lnTo>
                  <a:pt x="3846" y="7694"/>
                </a:lnTo>
                <a:lnTo>
                  <a:pt x="3846" y="7692"/>
                </a:lnTo>
                <a:lnTo>
                  <a:pt x="3840" y="7688"/>
                </a:lnTo>
                <a:lnTo>
                  <a:pt x="3832" y="7682"/>
                </a:lnTo>
                <a:lnTo>
                  <a:pt x="3822" y="7678"/>
                </a:lnTo>
                <a:lnTo>
                  <a:pt x="3820" y="7674"/>
                </a:lnTo>
                <a:lnTo>
                  <a:pt x="3824" y="7674"/>
                </a:lnTo>
                <a:lnTo>
                  <a:pt x="3832" y="7678"/>
                </a:lnTo>
                <a:lnTo>
                  <a:pt x="3846" y="7686"/>
                </a:lnTo>
                <a:lnTo>
                  <a:pt x="3850" y="7690"/>
                </a:lnTo>
                <a:lnTo>
                  <a:pt x="3852" y="7698"/>
                </a:lnTo>
                <a:lnTo>
                  <a:pt x="3850" y="7704"/>
                </a:lnTo>
                <a:lnTo>
                  <a:pt x="3846" y="7706"/>
                </a:lnTo>
                <a:lnTo>
                  <a:pt x="3844" y="7708"/>
                </a:lnTo>
                <a:lnTo>
                  <a:pt x="3846" y="7714"/>
                </a:lnTo>
                <a:lnTo>
                  <a:pt x="3848" y="7716"/>
                </a:lnTo>
                <a:lnTo>
                  <a:pt x="3844" y="7710"/>
                </a:lnTo>
                <a:lnTo>
                  <a:pt x="3838" y="7706"/>
                </a:lnTo>
                <a:lnTo>
                  <a:pt x="3836" y="7706"/>
                </a:lnTo>
                <a:lnTo>
                  <a:pt x="3834" y="7708"/>
                </a:lnTo>
                <a:lnTo>
                  <a:pt x="3832" y="7720"/>
                </a:lnTo>
                <a:lnTo>
                  <a:pt x="3830" y="7720"/>
                </a:lnTo>
                <a:lnTo>
                  <a:pt x="3830" y="7718"/>
                </a:lnTo>
                <a:lnTo>
                  <a:pt x="3828" y="7714"/>
                </a:lnTo>
                <a:lnTo>
                  <a:pt x="3826" y="7714"/>
                </a:lnTo>
                <a:lnTo>
                  <a:pt x="3820" y="7722"/>
                </a:lnTo>
                <a:lnTo>
                  <a:pt x="3818" y="7724"/>
                </a:lnTo>
                <a:lnTo>
                  <a:pt x="3816" y="7722"/>
                </a:lnTo>
                <a:lnTo>
                  <a:pt x="3812" y="7718"/>
                </a:lnTo>
                <a:lnTo>
                  <a:pt x="3808" y="7714"/>
                </a:lnTo>
                <a:lnTo>
                  <a:pt x="3802" y="7710"/>
                </a:lnTo>
                <a:lnTo>
                  <a:pt x="3800" y="7710"/>
                </a:lnTo>
                <a:lnTo>
                  <a:pt x="3800" y="7712"/>
                </a:lnTo>
                <a:lnTo>
                  <a:pt x="3802" y="7714"/>
                </a:lnTo>
                <a:lnTo>
                  <a:pt x="3806" y="7720"/>
                </a:lnTo>
                <a:lnTo>
                  <a:pt x="3806" y="7724"/>
                </a:lnTo>
                <a:lnTo>
                  <a:pt x="3806" y="7726"/>
                </a:lnTo>
                <a:lnTo>
                  <a:pt x="3802" y="7732"/>
                </a:lnTo>
                <a:lnTo>
                  <a:pt x="3806" y="7734"/>
                </a:lnTo>
                <a:lnTo>
                  <a:pt x="3808" y="7736"/>
                </a:lnTo>
                <a:lnTo>
                  <a:pt x="3806" y="7740"/>
                </a:lnTo>
                <a:lnTo>
                  <a:pt x="3802" y="7746"/>
                </a:lnTo>
                <a:lnTo>
                  <a:pt x="3802" y="7752"/>
                </a:lnTo>
                <a:lnTo>
                  <a:pt x="3804" y="7752"/>
                </a:lnTo>
                <a:lnTo>
                  <a:pt x="3810" y="7748"/>
                </a:lnTo>
                <a:lnTo>
                  <a:pt x="3812" y="7746"/>
                </a:lnTo>
                <a:lnTo>
                  <a:pt x="3816" y="7746"/>
                </a:lnTo>
                <a:lnTo>
                  <a:pt x="3820" y="7750"/>
                </a:lnTo>
                <a:lnTo>
                  <a:pt x="3820" y="7754"/>
                </a:lnTo>
                <a:lnTo>
                  <a:pt x="3818" y="7756"/>
                </a:lnTo>
                <a:lnTo>
                  <a:pt x="3816" y="7756"/>
                </a:lnTo>
                <a:lnTo>
                  <a:pt x="3812" y="7756"/>
                </a:lnTo>
                <a:lnTo>
                  <a:pt x="3812" y="7758"/>
                </a:lnTo>
                <a:lnTo>
                  <a:pt x="3818" y="7762"/>
                </a:lnTo>
                <a:lnTo>
                  <a:pt x="3818" y="7764"/>
                </a:lnTo>
                <a:lnTo>
                  <a:pt x="3818" y="7766"/>
                </a:lnTo>
                <a:lnTo>
                  <a:pt x="3814" y="7768"/>
                </a:lnTo>
                <a:lnTo>
                  <a:pt x="3812" y="7770"/>
                </a:lnTo>
                <a:lnTo>
                  <a:pt x="3816" y="7772"/>
                </a:lnTo>
                <a:lnTo>
                  <a:pt x="3824" y="7774"/>
                </a:lnTo>
                <a:lnTo>
                  <a:pt x="3828" y="7772"/>
                </a:lnTo>
                <a:lnTo>
                  <a:pt x="3830" y="7768"/>
                </a:lnTo>
                <a:lnTo>
                  <a:pt x="3830" y="7762"/>
                </a:lnTo>
                <a:lnTo>
                  <a:pt x="3830" y="7760"/>
                </a:lnTo>
                <a:lnTo>
                  <a:pt x="3832" y="7756"/>
                </a:lnTo>
                <a:lnTo>
                  <a:pt x="3836" y="7754"/>
                </a:lnTo>
                <a:lnTo>
                  <a:pt x="3840" y="7752"/>
                </a:lnTo>
                <a:lnTo>
                  <a:pt x="3842" y="7750"/>
                </a:lnTo>
                <a:lnTo>
                  <a:pt x="3842" y="7748"/>
                </a:lnTo>
                <a:lnTo>
                  <a:pt x="3840" y="7744"/>
                </a:lnTo>
                <a:lnTo>
                  <a:pt x="3836" y="7742"/>
                </a:lnTo>
                <a:lnTo>
                  <a:pt x="3840" y="7740"/>
                </a:lnTo>
                <a:lnTo>
                  <a:pt x="3848" y="7742"/>
                </a:lnTo>
                <a:lnTo>
                  <a:pt x="3850" y="7744"/>
                </a:lnTo>
                <a:lnTo>
                  <a:pt x="3852" y="7746"/>
                </a:lnTo>
                <a:lnTo>
                  <a:pt x="3856" y="7744"/>
                </a:lnTo>
                <a:lnTo>
                  <a:pt x="3860" y="7740"/>
                </a:lnTo>
                <a:lnTo>
                  <a:pt x="3864" y="7740"/>
                </a:lnTo>
                <a:lnTo>
                  <a:pt x="3878" y="7740"/>
                </a:lnTo>
                <a:lnTo>
                  <a:pt x="3888" y="7742"/>
                </a:lnTo>
                <a:lnTo>
                  <a:pt x="3892" y="7744"/>
                </a:lnTo>
                <a:lnTo>
                  <a:pt x="3892" y="7746"/>
                </a:lnTo>
                <a:lnTo>
                  <a:pt x="3888" y="7750"/>
                </a:lnTo>
                <a:lnTo>
                  <a:pt x="3884" y="7750"/>
                </a:lnTo>
                <a:lnTo>
                  <a:pt x="3876" y="7750"/>
                </a:lnTo>
                <a:lnTo>
                  <a:pt x="3868" y="7748"/>
                </a:lnTo>
                <a:lnTo>
                  <a:pt x="3864" y="7748"/>
                </a:lnTo>
                <a:lnTo>
                  <a:pt x="3862" y="7748"/>
                </a:lnTo>
                <a:lnTo>
                  <a:pt x="3858" y="7754"/>
                </a:lnTo>
                <a:lnTo>
                  <a:pt x="3854" y="7760"/>
                </a:lnTo>
                <a:lnTo>
                  <a:pt x="3852" y="7760"/>
                </a:lnTo>
                <a:lnTo>
                  <a:pt x="3850" y="7758"/>
                </a:lnTo>
                <a:lnTo>
                  <a:pt x="3844" y="7756"/>
                </a:lnTo>
                <a:lnTo>
                  <a:pt x="3838" y="7756"/>
                </a:lnTo>
                <a:lnTo>
                  <a:pt x="3834" y="7762"/>
                </a:lnTo>
                <a:lnTo>
                  <a:pt x="3834" y="7766"/>
                </a:lnTo>
                <a:lnTo>
                  <a:pt x="3836" y="7772"/>
                </a:lnTo>
                <a:lnTo>
                  <a:pt x="3834" y="7774"/>
                </a:lnTo>
                <a:lnTo>
                  <a:pt x="3834" y="7776"/>
                </a:lnTo>
                <a:lnTo>
                  <a:pt x="3836" y="7778"/>
                </a:lnTo>
                <a:lnTo>
                  <a:pt x="3838" y="7782"/>
                </a:lnTo>
                <a:lnTo>
                  <a:pt x="3836" y="7782"/>
                </a:lnTo>
                <a:lnTo>
                  <a:pt x="3830" y="7780"/>
                </a:lnTo>
                <a:lnTo>
                  <a:pt x="3824" y="7780"/>
                </a:lnTo>
                <a:lnTo>
                  <a:pt x="3820" y="7780"/>
                </a:lnTo>
                <a:lnTo>
                  <a:pt x="3824" y="7784"/>
                </a:lnTo>
                <a:lnTo>
                  <a:pt x="3838" y="7794"/>
                </a:lnTo>
                <a:lnTo>
                  <a:pt x="3850" y="7802"/>
                </a:lnTo>
                <a:lnTo>
                  <a:pt x="3852" y="7800"/>
                </a:lnTo>
                <a:lnTo>
                  <a:pt x="3850" y="7796"/>
                </a:lnTo>
                <a:lnTo>
                  <a:pt x="3848" y="7790"/>
                </a:lnTo>
                <a:lnTo>
                  <a:pt x="3850" y="7786"/>
                </a:lnTo>
                <a:lnTo>
                  <a:pt x="3854" y="7782"/>
                </a:lnTo>
                <a:lnTo>
                  <a:pt x="3860" y="7780"/>
                </a:lnTo>
                <a:lnTo>
                  <a:pt x="3860" y="7778"/>
                </a:lnTo>
                <a:lnTo>
                  <a:pt x="3856" y="7774"/>
                </a:lnTo>
                <a:lnTo>
                  <a:pt x="3852" y="7772"/>
                </a:lnTo>
                <a:lnTo>
                  <a:pt x="3858" y="7772"/>
                </a:lnTo>
                <a:lnTo>
                  <a:pt x="3868" y="7774"/>
                </a:lnTo>
                <a:lnTo>
                  <a:pt x="3872" y="7774"/>
                </a:lnTo>
                <a:lnTo>
                  <a:pt x="3874" y="7770"/>
                </a:lnTo>
                <a:lnTo>
                  <a:pt x="3880" y="7766"/>
                </a:lnTo>
                <a:lnTo>
                  <a:pt x="3888" y="7762"/>
                </a:lnTo>
                <a:lnTo>
                  <a:pt x="3894" y="7758"/>
                </a:lnTo>
                <a:lnTo>
                  <a:pt x="3898" y="7756"/>
                </a:lnTo>
                <a:lnTo>
                  <a:pt x="3902" y="7756"/>
                </a:lnTo>
                <a:lnTo>
                  <a:pt x="3904" y="7758"/>
                </a:lnTo>
                <a:lnTo>
                  <a:pt x="3904" y="7762"/>
                </a:lnTo>
                <a:lnTo>
                  <a:pt x="3902" y="7768"/>
                </a:lnTo>
                <a:lnTo>
                  <a:pt x="3896" y="7774"/>
                </a:lnTo>
                <a:lnTo>
                  <a:pt x="3888" y="7780"/>
                </a:lnTo>
                <a:lnTo>
                  <a:pt x="3882" y="7782"/>
                </a:lnTo>
                <a:lnTo>
                  <a:pt x="3880" y="7786"/>
                </a:lnTo>
                <a:lnTo>
                  <a:pt x="3878" y="7788"/>
                </a:lnTo>
                <a:lnTo>
                  <a:pt x="3876" y="7786"/>
                </a:lnTo>
                <a:lnTo>
                  <a:pt x="3872" y="7784"/>
                </a:lnTo>
                <a:lnTo>
                  <a:pt x="3872" y="7786"/>
                </a:lnTo>
                <a:lnTo>
                  <a:pt x="3870" y="7788"/>
                </a:lnTo>
                <a:lnTo>
                  <a:pt x="3866" y="7786"/>
                </a:lnTo>
                <a:lnTo>
                  <a:pt x="3860" y="7786"/>
                </a:lnTo>
                <a:lnTo>
                  <a:pt x="3854" y="7788"/>
                </a:lnTo>
                <a:lnTo>
                  <a:pt x="3854" y="7792"/>
                </a:lnTo>
                <a:lnTo>
                  <a:pt x="3856" y="7796"/>
                </a:lnTo>
                <a:lnTo>
                  <a:pt x="3862" y="7804"/>
                </a:lnTo>
                <a:lnTo>
                  <a:pt x="3868" y="7810"/>
                </a:lnTo>
                <a:lnTo>
                  <a:pt x="3874" y="7814"/>
                </a:lnTo>
                <a:lnTo>
                  <a:pt x="3878" y="7814"/>
                </a:lnTo>
                <a:lnTo>
                  <a:pt x="3882" y="7818"/>
                </a:lnTo>
                <a:lnTo>
                  <a:pt x="3888" y="7820"/>
                </a:lnTo>
                <a:lnTo>
                  <a:pt x="3898" y="7822"/>
                </a:lnTo>
                <a:lnTo>
                  <a:pt x="3906" y="7820"/>
                </a:lnTo>
                <a:lnTo>
                  <a:pt x="3910" y="7818"/>
                </a:lnTo>
                <a:lnTo>
                  <a:pt x="3912" y="7810"/>
                </a:lnTo>
                <a:lnTo>
                  <a:pt x="3912" y="7796"/>
                </a:lnTo>
                <a:lnTo>
                  <a:pt x="3914" y="7782"/>
                </a:lnTo>
                <a:lnTo>
                  <a:pt x="3916" y="7776"/>
                </a:lnTo>
                <a:lnTo>
                  <a:pt x="3918" y="7772"/>
                </a:lnTo>
                <a:lnTo>
                  <a:pt x="3920" y="7762"/>
                </a:lnTo>
                <a:lnTo>
                  <a:pt x="3920" y="7756"/>
                </a:lnTo>
                <a:lnTo>
                  <a:pt x="3922" y="7752"/>
                </a:lnTo>
                <a:lnTo>
                  <a:pt x="3924" y="7750"/>
                </a:lnTo>
                <a:lnTo>
                  <a:pt x="3928" y="7748"/>
                </a:lnTo>
                <a:lnTo>
                  <a:pt x="3936" y="7746"/>
                </a:lnTo>
                <a:lnTo>
                  <a:pt x="3942" y="7746"/>
                </a:lnTo>
                <a:lnTo>
                  <a:pt x="3946" y="7742"/>
                </a:lnTo>
                <a:lnTo>
                  <a:pt x="3950" y="7738"/>
                </a:lnTo>
                <a:lnTo>
                  <a:pt x="3954" y="7738"/>
                </a:lnTo>
                <a:lnTo>
                  <a:pt x="3958" y="7738"/>
                </a:lnTo>
                <a:lnTo>
                  <a:pt x="3962" y="7738"/>
                </a:lnTo>
                <a:lnTo>
                  <a:pt x="3968" y="7734"/>
                </a:lnTo>
                <a:lnTo>
                  <a:pt x="3972" y="7726"/>
                </a:lnTo>
                <a:lnTo>
                  <a:pt x="3978" y="7724"/>
                </a:lnTo>
                <a:lnTo>
                  <a:pt x="3984" y="7724"/>
                </a:lnTo>
                <a:lnTo>
                  <a:pt x="3992" y="7724"/>
                </a:lnTo>
                <a:lnTo>
                  <a:pt x="4006" y="7728"/>
                </a:lnTo>
                <a:lnTo>
                  <a:pt x="4014" y="7732"/>
                </a:lnTo>
                <a:lnTo>
                  <a:pt x="4016" y="7730"/>
                </a:lnTo>
                <a:lnTo>
                  <a:pt x="4014" y="7724"/>
                </a:lnTo>
                <a:lnTo>
                  <a:pt x="4008" y="7712"/>
                </a:lnTo>
                <a:lnTo>
                  <a:pt x="3996" y="7692"/>
                </a:lnTo>
                <a:lnTo>
                  <a:pt x="3992" y="7680"/>
                </a:lnTo>
                <a:lnTo>
                  <a:pt x="3988" y="7666"/>
                </a:lnTo>
                <a:lnTo>
                  <a:pt x="3986" y="7648"/>
                </a:lnTo>
                <a:lnTo>
                  <a:pt x="3986" y="7640"/>
                </a:lnTo>
                <a:lnTo>
                  <a:pt x="3986" y="7630"/>
                </a:lnTo>
                <a:lnTo>
                  <a:pt x="3990" y="7620"/>
                </a:lnTo>
                <a:lnTo>
                  <a:pt x="3996" y="7612"/>
                </a:lnTo>
                <a:lnTo>
                  <a:pt x="4002" y="7606"/>
                </a:lnTo>
                <a:lnTo>
                  <a:pt x="4014" y="7600"/>
                </a:lnTo>
                <a:lnTo>
                  <a:pt x="4024" y="7596"/>
                </a:lnTo>
                <a:lnTo>
                  <a:pt x="4032" y="7592"/>
                </a:lnTo>
                <a:lnTo>
                  <a:pt x="4038" y="7586"/>
                </a:lnTo>
                <a:lnTo>
                  <a:pt x="4042" y="7580"/>
                </a:lnTo>
                <a:lnTo>
                  <a:pt x="4046" y="7564"/>
                </a:lnTo>
                <a:lnTo>
                  <a:pt x="4050" y="7540"/>
                </a:lnTo>
                <a:lnTo>
                  <a:pt x="4054" y="7528"/>
                </a:lnTo>
                <a:lnTo>
                  <a:pt x="4060" y="7518"/>
                </a:lnTo>
                <a:lnTo>
                  <a:pt x="4068" y="7510"/>
                </a:lnTo>
                <a:lnTo>
                  <a:pt x="4076" y="7504"/>
                </a:lnTo>
                <a:lnTo>
                  <a:pt x="4092" y="7496"/>
                </a:lnTo>
                <a:lnTo>
                  <a:pt x="4098" y="7492"/>
                </a:lnTo>
                <a:lnTo>
                  <a:pt x="4102" y="7488"/>
                </a:lnTo>
                <a:lnTo>
                  <a:pt x="4104" y="7484"/>
                </a:lnTo>
                <a:lnTo>
                  <a:pt x="4106" y="7480"/>
                </a:lnTo>
                <a:lnTo>
                  <a:pt x="4114" y="7474"/>
                </a:lnTo>
                <a:lnTo>
                  <a:pt x="4118" y="7470"/>
                </a:lnTo>
                <a:lnTo>
                  <a:pt x="4120" y="7466"/>
                </a:lnTo>
                <a:lnTo>
                  <a:pt x="4118" y="7462"/>
                </a:lnTo>
                <a:lnTo>
                  <a:pt x="4118" y="7458"/>
                </a:lnTo>
                <a:lnTo>
                  <a:pt x="4118" y="7454"/>
                </a:lnTo>
                <a:lnTo>
                  <a:pt x="4120" y="7450"/>
                </a:lnTo>
                <a:lnTo>
                  <a:pt x="4122" y="7442"/>
                </a:lnTo>
                <a:lnTo>
                  <a:pt x="4124" y="7436"/>
                </a:lnTo>
                <a:lnTo>
                  <a:pt x="4122" y="7428"/>
                </a:lnTo>
                <a:lnTo>
                  <a:pt x="4120" y="7422"/>
                </a:lnTo>
                <a:lnTo>
                  <a:pt x="4116" y="7420"/>
                </a:lnTo>
                <a:lnTo>
                  <a:pt x="4104" y="7418"/>
                </a:lnTo>
                <a:lnTo>
                  <a:pt x="4096" y="7418"/>
                </a:lnTo>
                <a:lnTo>
                  <a:pt x="4086" y="7414"/>
                </a:lnTo>
                <a:lnTo>
                  <a:pt x="4076" y="7408"/>
                </a:lnTo>
                <a:lnTo>
                  <a:pt x="4066" y="7398"/>
                </a:lnTo>
                <a:lnTo>
                  <a:pt x="4050" y="7378"/>
                </a:lnTo>
                <a:lnTo>
                  <a:pt x="4046" y="7372"/>
                </a:lnTo>
                <a:lnTo>
                  <a:pt x="4046" y="7366"/>
                </a:lnTo>
                <a:lnTo>
                  <a:pt x="4046" y="7360"/>
                </a:lnTo>
                <a:lnTo>
                  <a:pt x="4050" y="7352"/>
                </a:lnTo>
                <a:lnTo>
                  <a:pt x="4060" y="7332"/>
                </a:lnTo>
                <a:lnTo>
                  <a:pt x="4068" y="7320"/>
                </a:lnTo>
                <a:lnTo>
                  <a:pt x="4072" y="7314"/>
                </a:lnTo>
                <a:lnTo>
                  <a:pt x="4078" y="7310"/>
                </a:lnTo>
                <a:lnTo>
                  <a:pt x="4082" y="7310"/>
                </a:lnTo>
                <a:lnTo>
                  <a:pt x="4088" y="7310"/>
                </a:lnTo>
                <a:lnTo>
                  <a:pt x="4092" y="7308"/>
                </a:lnTo>
                <a:lnTo>
                  <a:pt x="4094" y="7306"/>
                </a:lnTo>
                <a:lnTo>
                  <a:pt x="4098" y="7302"/>
                </a:lnTo>
                <a:lnTo>
                  <a:pt x="4104" y="7300"/>
                </a:lnTo>
                <a:lnTo>
                  <a:pt x="4118" y="7300"/>
                </a:lnTo>
                <a:lnTo>
                  <a:pt x="4124" y="7298"/>
                </a:lnTo>
                <a:lnTo>
                  <a:pt x="4128" y="7298"/>
                </a:lnTo>
                <a:lnTo>
                  <a:pt x="4130" y="7296"/>
                </a:lnTo>
                <a:lnTo>
                  <a:pt x="4128" y="7290"/>
                </a:lnTo>
                <a:lnTo>
                  <a:pt x="4124" y="7286"/>
                </a:lnTo>
                <a:lnTo>
                  <a:pt x="4126" y="7282"/>
                </a:lnTo>
                <a:lnTo>
                  <a:pt x="4134" y="7274"/>
                </a:lnTo>
                <a:lnTo>
                  <a:pt x="4140" y="7268"/>
                </a:lnTo>
                <a:lnTo>
                  <a:pt x="4142" y="7262"/>
                </a:lnTo>
                <a:lnTo>
                  <a:pt x="4144" y="7252"/>
                </a:lnTo>
                <a:lnTo>
                  <a:pt x="4140" y="7240"/>
                </a:lnTo>
                <a:lnTo>
                  <a:pt x="4140" y="7234"/>
                </a:lnTo>
                <a:lnTo>
                  <a:pt x="4140" y="7228"/>
                </a:lnTo>
                <a:lnTo>
                  <a:pt x="4142" y="7220"/>
                </a:lnTo>
                <a:lnTo>
                  <a:pt x="4144" y="7212"/>
                </a:lnTo>
                <a:lnTo>
                  <a:pt x="4150" y="7206"/>
                </a:lnTo>
                <a:lnTo>
                  <a:pt x="4156" y="7200"/>
                </a:lnTo>
                <a:lnTo>
                  <a:pt x="4164" y="7194"/>
                </a:lnTo>
                <a:lnTo>
                  <a:pt x="4174" y="7188"/>
                </a:lnTo>
                <a:lnTo>
                  <a:pt x="4180" y="7186"/>
                </a:lnTo>
                <a:lnTo>
                  <a:pt x="4178" y="7184"/>
                </a:lnTo>
                <a:lnTo>
                  <a:pt x="4170" y="7182"/>
                </a:lnTo>
                <a:lnTo>
                  <a:pt x="4160" y="7178"/>
                </a:lnTo>
                <a:lnTo>
                  <a:pt x="4154" y="7172"/>
                </a:lnTo>
                <a:lnTo>
                  <a:pt x="4154" y="7168"/>
                </a:lnTo>
                <a:lnTo>
                  <a:pt x="4156" y="7166"/>
                </a:lnTo>
                <a:lnTo>
                  <a:pt x="4160" y="7164"/>
                </a:lnTo>
                <a:lnTo>
                  <a:pt x="4166" y="7162"/>
                </a:lnTo>
                <a:lnTo>
                  <a:pt x="4172" y="7164"/>
                </a:lnTo>
                <a:lnTo>
                  <a:pt x="4178" y="7166"/>
                </a:lnTo>
                <a:lnTo>
                  <a:pt x="4182" y="7170"/>
                </a:lnTo>
                <a:lnTo>
                  <a:pt x="4186" y="7176"/>
                </a:lnTo>
                <a:lnTo>
                  <a:pt x="4188" y="7180"/>
                </a:lnTo>
                <a:lnTo>
                  <a:pt x="4192" y="7180"/>
                </a:lnTo>
                <a:lnTo>
                  <a:pt x="4196" y="7182"/>
                </a:lnTo>
                <a:lnTo>
                  <a:pt x="4200" y="7180"/>
                </a:lnTo>
                <a:lnTo>
                  <a:pt x="4204" y="7176"/>
                </a:lnTo>
                <a:lnTo>
                  <a:pt x="4208" y="7170"/>
                </a:lnTo>
                <a:lnTo>
                  <a:pt x="4212" y="7162"/>
                </a:lnTo>
                <a:lnTo>
                  <a:pt x="4212" y="7154"/>
                </a:lnTo>
                <a:lnTo>
                  <a:pt x="4210" y="7144"/>
                </a:lnTo>
                <a:lnTo>
                  <a:pt x="4206" y="7136"/>
                </a:lnTo>
                <a:lnTo>
                  <a:pt x="4202" y="7134"/>
                </a:lnTo>
                <a:lnTo>
                  <a:pt x="4198" y="7134"/>
                </a:lnTo>
                <a:lnTo>
                  <a:pt x="4174" y="7142"/>
                </a:lnTo>
                <a:lnTo>
                  <a:pt x="4166" y="7142"/>
                </a:lnTo>
                <a:lnTo>
                  <a:pt x="4160" y="7142"/>
                </a:lnTo>
                <a:lnTo>
                  <a:pt x="4154" y="7140"/>
                </a:lnTo>
                <a:lnTo>
                  <a:pt x="4152" y="7134"/>
                </a:lnTo>
                <a:lnTo>
                  <a:pt x="4150" y="7128"/>
                </a:lnTo>
                <a:lnTo>
                  <a:pt x="4152" y="7118"/>
                </a:lnTo>
                <a:lnTo>
                  <a:pt x="4152" y="7108"/>
                </a:lnTo>
                <a:lnTo>
                  <a:pt x="4152" y="7100"/>
                </a:lnTo>
                <a:lnTo>
                  <a:pt x="4146" y="7084"/>
                </a:lnTo>
                <a:lnTo>
                  <a:pt x="4144" y="7078"/>
                </a:lnTo>
                <a:lnTo>
                  <a:pt x="4142" y="7072"/>
                </a:lnTo>
                <a:lnTo>
                  <a:pt x="4144" y="7068"/>
                </a:lnTo>
                <a:lnTo>
                  <a:pt x="4150" y="7064"/>
                </a:lnTo>
                <a:lnTo>
                  <a:pt x="4158" y="7064"/>
                </a:lnTo>
                <a:lnTo>
                  <a:pt x="4166" y="7064"/>
                </a:lnTo>
                <a:lnTo>
                  <a:pt x="4180" y="7072"/>
                </a:lnTo>
                <a:lnTo>
                  <a:pt x="4196" y="7080"/>
                </a:lnTo>
                <a:lnTo>
                  <a:pt x="4204" y="7082"/>
                </a:lnTo>
                <a:lnTo>
                  <a:pt x="4212" y="7082"/>
                </a:lnTo>
                <a:lnTo>
                  <a:pt x="4222" y="7084"/>
                </a:lnTo>
                <a:lnTo>
                  <a:pt x="4226" y="7084"/>
                </a:lnTo>
                <a:lnTo>
                  <a:pt x="4230" y="7082"/>
                </a:lnTo>
                <a:lnTo>
                  <a:pt x="4244" y="7076"/>
                </a:lnTo>
                <a:lnTo>
                  <a:pt x="4258" y="7068"/>
                </a:lnTo>
                <a:lnTo>
                  <a:pt x="4264" y="7064"/>
                </a:lnTo>
                <a:lnTo>
                  <a:pt x="4266" y="7060"/>
                </a:lnTo>
                <a:lnTo>
                  <a:pt x="4268" y="7056"/>
                </a:lnTo>
                <a:lnTo>
                  <a:pt x="4266" y="7052"/>
                </a:lnTo>
                <a:lnTo>
                  <a:pt x="4262" y="7046"/>
                </a:lnTo>
                <a:lnTo>
                  <a:pt x="4258" y="7044"/>
                </a:lnTo>
                <a:lnTo>
                  <a:pt x="4256" y="7040"/>
                </a:lnTo>
                <a:lnTo>
                  <a:pt x="4256" y="7034"/>
                </a:lnTo>
                <a:lnTo>
                  <a:pt x="4258" y="7024"/>
                </a:lnTo>
                <a:lnTo>
                  <a:pt x="4266" y="7016"/>
                </a:lnTo>
                <a:lnTo>
                  <a:pt x="4272" y="7006"/>
                </a:lnTo>
                <a:lnTo>
                  <a:pt x="4274" y="6996"/>
                </a:lnTo>
                <a:lnTo>
                  <a:pt x="4272" y="6986"/>
                </a:lnTo>
                <a:lnTo>
                  <a:pt x="4270" y="6982"/>
                </a:lnTo>
                <a:lnTo>
                  <a:pt x="4266" y="6978"/>
                </a:lnTo>
                <a:lnTo>
                  <a:pt x="4262" y="6976"/>
                </a:lnTo>
                <a:lnTo>
                  <a:pt x="4260" y="6972"/>
                </a:lnTo>
                <a:lnTo>
                  <a:pt x="4256" y="6962"/>
                </a:lnTo>
                <a:lnTo>
                  <a:pt x="4256" y="6958"/>
                </a:lnTo>
                <a:lnTo>
                  <a:pt x="4260" y="6956"/>
                </a:lnTo>
                <a:lnTo>
                  <a:pt x="4264" y="6956"/>
                </a:lnTo>
                <a:lnTo>
                  <a:pt x="4270" y="6958"/>
                </a:lnTo>
                <a:lnTo>
                  <a:pt x="4280" y="6964"/>
                </a:lnTo>
                <a:lnTo>
                  <a:pt x="4288" y="6966"/>
                </a:lnTo>
                <a:lnTo>
                  <a:pt x="4320" y="6962"/>
                </a:lnTo>
                <a:lnTo>
                  <a:pt x="4352" y="6958"/>
                </a:lnTo>
                <a:lnTo>
                  <a:pt x="4386" y="6950"/>
                </a:lnTo>
                <a:lnTo>
                  <a:pt x="4416" y="6940"/>
                </a:lnTo>
                <a:lnTo>
                  <a:pt x="4430" y="6934"/>
                </a:lnTo>
                <a:lnTo>
                  <a:pt x="4440" y="6928"/>
                </a:lnTo>
                <a:lnTo>
                  <a:pt x="4448" y="6922"/>
                </a:lnTo>
                <a:lnTo>
                  <a:pt x="4452" y="6916"/>
                </a:lnTo>
                <a:lnTo>
                  <a:pt x="4456" y="6912"/>
                </a:lnTo>
                <a:lnTo>
                  <a:pt x="4456" y="6908"/>
                </a:lnTo>
                <a:lnTo>
                  <a:pt x="4458" y="6898"/>
                </a:lnTo>
                <a:lnTo>
                  <a:pt x="4462" y="6894"/>
                </a:lnTo>
                <a:lnTo>
                  <a:pt x="4466" y="6888"/>
                </a:lnTo>
                <a:lnTo>
                  <a:pt x="4478" y="6876"/>
                </a:lnTo>
                <a:lnTo>
                  <a:pt x="4484" y="6862"/>
                </a:lnTo>
                <a:lnTo>
                  <a:pt x="4486" y="6846"/>
                </a:lnTo>
                <a:lnTo>
                  <a:pt x="4488" y="6828"/>
                </a:lnTo>
                <a:lnTo>
                  <a:pt x="4486" y="6820"/>
                </a:lnTo>
                <a:lnTo>
                  <a:pt x="4486" y="6816"/>
                </a:lnTo>
                <a:lnTo>
                  <a:pt x="4484" y="6816"/>
                </a:lnTo>
                <a:lnTo>
                  <a:pt x="4480" y="6816"/>
                </a:lnTo>
                <a:lnTo>
                  <a:pt x="4476" y="6816"/>
                </a:lnTo>
                <a:lnTo>
                  <a:pt x="4472" y="6814"/>
                </a:lnTo>
                <a:lnTo>
                  <a:pt x="4466" y="6810"/>
                </a:lnTo>
                <a:lnTo>
                  <a:pt x="4462" y="6802"/>
                </a:lnTo>
                <a:lnTo>
                  <a:pt x="4458" y="6794"/>
                </a:lnTo>
                <a:lnTo>
                  <a:pt x="4458" y="6788"/>
                </a:lnTo>
                <a:lnTo>
                  <a:pt x="4460" y="6784"/>
                </a:lnTo>
                <a:lnTo>
                  <a:pt x="4464" y="6780"/>
                </a:lnTo>
                <a:lnTo>
                  <a:pt x="4466" y="6776"/>
                </a:lnTo>
                <a:lnTo>
                  <a:pt x="4468" y="6770"/>
                </a:lnTo>
                <a:lnTo>
                  <a:pt x="4464" y="6762"/>
                </a:lnTo>
                <a:lnTo>
                  <a:pt x="4458" y="6750"/>
                </a:lnTo>
                <a:lnTo>
                  <a:pt x="4450" y="6744"/>
                </a:lnTo>
                <a:lnTo>
                  <a:pt x="4442" y="6738"/>
                </a:lnTo>
                <a:lnTo>
                  <a:pt x="4424" y="6728"/>
                </a:lnTo>
                <a:lnTo>
                  <a:pt x="4418" y="6722"/>
                </a:lnTo>
                <a:lnTo>
                  <a:pt x="4416" y="6716"/>
                </a:lnTo>
                <a:lnTo>
                  <a:pt x="4416" y="6712"/>
                </a:lnTo>
                <a:lnTo>
                  <a:pt x="4416" y="6708"/>
                </a:lnTo>
                <a:lnTo>
                  <a:pt x="4424" y="6700"/>
                </a:lnTo>
                <a:lnTo>
                  <a:pt x="4426" y="6702"/>
                </a:lnTo>
                <a:lnTo>
                  <a:pt x="4432" y="6710"/>
                </a:lnTo>
                <a:lnTo>
                  <a:pt x="4442" y="6716"/>
                </a:lnTo>
                <a:lnTo>
                  <a:pt x="4448" y="6718"/>
                </a:lnTo>
                <a:lnTo>
                  <a:pt x="4456" y="6718"/>
                </a:lnTo>
                <a:lnTo>
                  <a:pt x="4464" y="6718"/>
                </a:lnTo>
                <a:lnTo>
                  <a:pt x="4472" y="6722"/>
                </a:lnTo>
                <a:lnTo>
                  <a:pt x="4490" y="6732"/>
                </a:lnTo>
                <a:lnTo>
                  <a:pt x="4498" y="6736"/>
                </a:lnTo>
                <a:lnTo>
                  <a:pt x="4506" y="6740"/>
                </a:lnTo>
                <a:lnTo>
                  <a:pt x="4514" y="6740"/>
                </a:lnTo>
                <a:lnTo>
                  <a:pt x="4522" y="6738"/>
                </a:lnTo>
                <a:lnTo>
                  <a:pt x="4528" y="6736"/>
                </a:lnTo>
                <a:lnTo>
                  <a:pt x="4534" y="6736"/>
                </a:lnTo>
                <a:lnTo>
                  <a:pt x="4546" y="6740"/>
                </a:lnTo>
                <a:lnTo>
                  <a:pt x="4552" y="6742"/>
                </a:lnTo>
                <a:lnTo>
                  <a:pt x="4558" y="6742"/>
                </a:lnTo>
                <a:lnTo>
                  <a:pt x="4564" y="6740"/>
                </a:lnTo>
                <a:lnTo>
                  <a:pt x="4572" y="6738"/>
                </a:lnTo>
                <a:lnTo>
                  <a:pt x="4586" y="6728"/>
                </a:lnTo>
                <a:lnTo>
                  <a:pt x="4596" y="6718"/>
                </a:lnTo>
                <a:lnTo>
                  <a:pt x="4608" y="6704"/>
                </a:lnTo>
                <a:lnTo>
                  <a:pt x="4618" y="6682"/>
                </a:lnTo>
                <a:lnTo>
                  <a:pt x="4616" y="6676"/>
                </a:lnTo>
                <a:lnTo>
                  <a:pt x="4620" y="6670"/>
                </a:lnTo>
                <a:lnTo>
                  <a:pt x="4626" y="6666"/>
                </a:lnTo>
                <a:lnTo>
                  <a:pt x="4638" y="6660"/>
                </a:lnTo>
                <a:lnTo>
                  <a:pt x="4648" y="6652"/>
                </a:lnTo>
                <a:lnTo>
                  <a:pt x="4652" y="6648"/>
                </a:lnTo>
                <a:lnTo>
                  <a:pt x="4654" y="6640"/>
                </a:lnTo>
                <a:lnTo>
                  <a:pt x="4662" y="6616"/>
                </a:lnTo>
                <a:lnTo>
                  <a:pt x="4666" y="6608"/>
                </a:lnTo>
                <a:lnTo>
                  <a:pt x="4670" y="6600"/>
                </a:lnTo>
                <a:lnTo>
                  <a:pt x="4684" y="6586"/>
                </a:lnTo>
                <a:lnTo>
                  <a:pt x="4708" y="6568"/>
                </a:lnTo>
                <a:lnTo>
                  <a:pt x="4716" y="6558"/>
                </a:lnTo>
                <a:lnTo>
                  <a:pt x="4724" y="6548"/>
                </a:lnTo>
                <a:lnTo>
                  <a:pt x="4738" y="6522"/>
                </a:lnTo>
                <a:lnTo>
                  <a:pt x="4750" y="6494"/>
                </a:lnTo>
                <a:lnTo>
                  <a:pt x="4766" y="6458"/>
                </a:lnTo>
                <a:lnTo>
                  <a:pt x="4774" y="6442"/>
                </a:lnTo>
                <a:lnTo>
                  <a:pt x="4780" y="6432"/>
                </a:lnTo>
                <a:lnTo>
                  <a:pt x="4786" y="6426"/>
                </a:lnTo>
                <a:lnTo>
                  <a:pt x="4792" y="6420"/>
                </a:lnTo>
                <a:lnTo>
                  <a:pt x="4800" y="6412"/>
                </a:lnTo>
                <a:lnTo>
                  <a:pt x="4804" y="6406"/>
                </a:lnTo>
                <a:lnTo>
                  <a:pt x="4810" y="6396"/>
                </a:lnTo>
                <a:lnTo>
                  <a:pt x="4816" y="6382"/>
                </a:lnTo>
                <a:lnTo>
                  <a:pt x="4818" y="6368"/>
                </a:lnTo>
                <a:lnTo>
                  <a:pt x="4820" y="6354"/>
                </a:lnTo>
                <a:lnTo>
                  <a:pt x="4820" y="6340"/>
                </a:lnTo>
                <a:lnTo>
                  <a:pt x="4818" y="6310"/>
                </a:lnTo>
                <a:lnTo>
                  <a:pt x="4818" y="6294"/>
                </a:lnTo>
                <a:lnTo>
                  <a:pt x="4818" y="6278"/>
                </a:lnTo>
                <a:lnTo>
                  <a:pt x="4822" y="6260"/>
                </a:lnTo>
                <a:lnTo>
                  <a:pt x="4828" y="6246"/>
                </a:lnTo>
                <a:lnTo>
                  <a:pt x="4836" y="6232"/>
                </a:lnTo>
                <a:lnTo>
                  <a:pt x="4848" y="6220"/>
                </a:lnTo>
                <a:lnTo>
                  <a:pt x="4860" y="6208"/>
                </a:lnTo>
                <a:lnTo>
                  <a:pt x="4872" y="6198"/>
                </a:lnTo>
                <a:lnTo>
                  <a:pt x="4884" y="6190"/>
                </a:lnTo>
                <a:lnTo>
                  <a:pt x="4894" y="6186"/>
                </a:lnTo>
                <a:lnTo>
                  <a:pt x="4918" y="6174"/>
                </a:lnTo>
                <a:lnTo>
                  <a:pt x="4936" y="6164"/>
                </a:lnTo>
                <a:lnTo>
                  <a:pt x="4948" y="6156"/>
                </a:lnTo>
                <a:lnTo>
                  <a:pt x="4958" y="6146"/>
                </a:lnTo>
                <a:lnTo>
                  <a:pt x="4972" y="6132"/>
                </a:lnTo>
                <a:lnTo>
                  <a:pt x="4978" y="6128"/>
                </a:lnTo>
                <a:lnTo>
                  <a:pt x="4986" y="6124"/>
                </a:lnTo>
                <a:lnTo>
                  <a:pt x="4994" y="6122"/>
                </a:lnTo>
                <a:lnTo>
                  <a:pt x="4998" y="6122"/>
                </a:lnTo>
                <a:lnTo>
                  <a:pt x="5002" y="6124"/>
                </a:lnTo>
                <a:lnTo>
                  <a:pt x="5006" y="6126"/>
                </a:lnTo>
                <a:lnTo>
                  <a:pt x="5010" y="6126"/>
                </a:lnTo>
                <a:lnTo>
                  <a:pt x="5016" y="6126"/>
                </a:lnTo>
                <a:lnTo>
                  <a:pt x="5028" y="6124"/>
                </a:lnTo>
                <a:lnTo>
                  <a:pt x="5040" y="6122"/>
                </a:lnTo>
                <a:lnTo>
                  <a:pt x="5052" y="6122"/>
                </a:lnTo>
                <a:lnTo>
                  <a:pt x="5072" y="6122"/>
                </a:lnTo>
                <a:lnTo>
                  <a:pt x="5080" y="6120"/>
                </a:lnTo>
                <a:lnTo>
                  <a:pt x="5086" y="6120"/>
                </a:lnTo>
                <a:lnTo>
                  <a:pt x="5088" y="6116"/>
                </a:lnTo>
                <a:lnTo>
                  <a:pt x="5086" y="6110"/>
                </a:lnTo>
                <a:lnTo>
                  <a:pt x="5086" y="6108"/>
                </a:lnTo>
                <a:lnTo>
                  <a:pt x="5086" y="6104"/>
                </a:lnTo>
                <a:lnTo>
                  <a:pt x="5090" y="6098"/>
                </a:lnTo>
                <a:lnTo>
                  <a:pt x="5104" y="6086"/>
                </a:lnTo>
                <a:lnTo>
                  <a:pt x="5112" y="6080"/>
                </a:lnTo>
                <a:lnTo>
                  <a:pt x="5118" y="6072"/>
                </a:lnTo>
                <a:lnTo>
                  <a:pt x="5122" y="6064"/>
                </a:lnTo>
                <a:lnTo>
                  <a:pt x="5122" y="6060"/>
                </a:lnTo>
                <a:lnTo>
                  <a:pt x="5120" y="6056"/>
                </a:lnTo>
                <a:lnTo>
                  <a:pt x="5120" y="6046"/>
                </a:lnTo>
                <a:lnTo>
                  <a:pt x="5120" y="6036"/>
                </a:lnTo>
                <a:lnTo>
                  <a:pt x="5124" y="6028"/>
                </a:lnTo>
                <a:lnTo>
                  <a:pt x="5130" y="6018"/>
                </a:lnTo>
                <a:lnTo>
                  <a:pt x="5146" y="5994"/>
                </a:lnTo>
                <a:lnTo>
                  <a:pt x="5164" y="5964"/>
                </a:lnTo>
                <a:lnTo>
                  <a:pt x="5170" y="5948"/>
                </a:lnTo>
                <a:lnTo>
                  <a:pt x="5174" y="5932"/>
                </a:lnTo>
                <a:lnTo>
                  <a:pt x="5176" y="5920"/>
                </a:lnTo>
                <a:lnTo>
                  <a:pt x="5176" y="5908"/>
                </a:lnTo>
                <a:lnTo>
                  <a:pt x="5176" y="5898"/>
                </a:lnTo>
                <a:lnTo>
                  <a:pt x="5176" y="5888"/>
                </a:lnTo>
                <a:lnTo>
                  <a:pt x="5178" y="5882"/>
                </a:lnTo>
                <a:lnTo>
                  <a:pt x="5184" y="5878"/>
                </a:lnTo>
                <a:lnTo>
                  <a:pt x="5190" y="5872"/>
                </a:lnTo>
                <a:lnTo>
                  <a:pt x="5194" y="5864"/>
                </a:lnTo>
                <a:lnTo>
                  <a:pt x="5196" y="5854"/>
                </a:lnTo>
                <a:lnTo>
                  <a:pt x="5196" y="5842"/>
                </a:lnTo>
                <a:lnTo>
                  <a:pt x="5196" y="5816"/>
                </a:lnTo>
                <a:lnTo>
                  <a:pt x="5198" y="5802"/>
                </a:lnTo>
                <a:lnTo>
                  <a:pt x="5202" y="5786"/>
                </a:lnTo>
                <a:lnTo>
                  <a:pt x="5204" y="5772"/>
                </a:lnTo>
                <a:lnTo>
                  <a:pt x="5206" y="5762"/>
                </a:lnTo>
                <a:lnTo>
                  <a:pt x="5204" y="5752"/>
                </a:lnTo>
                <a:lnTo>
                  <a:pt x="5202" y="5742"/>
                </a:lnTo>
                <a:lnTo>
                  <a:pt x="5198" y="5726"/>
                </a:lnTo>
                <a:lnTo>
                  <a:pt x="5198" y="5716"/>
                </a:lnTo>
                <a:lnTo>
                  <a:pt x="5198" y="5706"/>
                </a:lnTo>
                <a:lnTo>
                  <a:pt x="5202" y="5634"/>
                </a:lnTo>
                <a:lnTo>
                  <a:pt x="5204" y="5618"/>
                </a:lnTo>
                <a:lnTo>
                  <a:pt x="5208" y="5606"/>
                </a:lnTo>
                <a:lnTo>
                  <a:pt x="5208" y="5604"/>
                </a:lnTo>
                <a:lnTo>
                  <a:pt x="5212" y="5602"/>
                </a:lnTo>
                <a:lnTo>
                  <a:pt x="5214" y="5604"/>
                </a:lnTo>
                <a:lnTo>
                  <a:pt x="5216" y="5608"/>
                </a:lnTo>
                <a:lnTo>
                  <a:pt x="5222" y="5618"/>
                </a:lnTo>
                <a:lnTo>
                  <a:pt x="5228" y="5622"/>
                </a:lnTo>
                <a:lnTo>
                  <a:pt x="5232" y="5622"/>
                </a:lnTo>
                <a:lnTo>
                  <a:pt x="5238" y="5616"/>
                </a:lnTo>
                <a:lnTo>
                  <a:pt x="5242" y="5608"/>
                </a:lnTo>
                <a:lnTo>
                  <a:pt x="5248" y="5594"/>
                </a:lnTo>
                <a:lnTo>
                  <a:pt x="5262" y="5558"/>
                </a:lnTo>
                <a:lnTo>
                  <a:pt x="5270" y="5540"/>
                </a:lnTo>
                <a:lnTo>
                  <a:pt x="5278" y="5528"/>
                </a:lnTo>
                <a:lnTo>
                  <a:pt x="5284" y="5520"/>
                </a:lnTo>
                <a:lnTo>
                  <a:pt x="5290" y="5512"/>
                </a:lnTo>
                <a:lnTo>
                  <a:pt x="5306" y="5496"/>
                </a:lnTo>
                <a:lnTo>
                  <a:pt x="5316" y="5484"/>
                </a:lnTo>
                <a:lnTo>
                  <a:pt x="5328" y="5466"/>
                </a:lnTo>
                <a:lnTo>
                  <a:pt x="5348" y="5428"/>
                </a:lnTo>
                <a:lnTo>
                  <a:pt x="5356" y="5412"/>
                </a:lnTo>
                <a:lnTo>
                  <a:pt x="5364" y="5398"/>
                </a:lnTo>
                <a:lnTo>
                  <a:pt x="5368" y="5384"/>
                </a:lnTo>
                <a:lnTo>
                  <a:pt x="5370" y="5370"/>
                </a:lnTo>
                <a:lnTo>
                  <a:pt x="5370" y="5356"/>
                </a:lnTo>
                <a:lnTo>
                  <a:pt x="5370" y="5340"/>
                </a:lnTo>
                <a:lnTo>
                  <a:pt x="5366" y="5308"/>
                </a:lnTo>
                <a:lnTo>
                  <a:pt x="5362" y="5282"/>
                </a:lnTo>
                <a:lnTo>
                  <a:pt x="5358" y="5270"/>
                </a:lnTo>
                <a:lnTo>
                  <a:pt x="5354" y="5260"/>
                </a:lnTo>
                <a:lnTo>
                  <a:pt x="5348" y="5250"/>
                </a:lnTo>
                <a:lnTo>
                  <a:pt x="5340" y="5242"/>
                </a:lnTo>
                <a:close/>
                <a:moveTo>
                  <a:pt x="3590" y="2808"/>
                </a:moveTo>
                <a:lnTo>
                  <a:pt x="3590" y="2808"/>
                </a:lnTo>
                <a:lnTo>
                  <a:pt x="3570" y="2824"/>
                </a:lnTo>
                <a:lnTo>
                  <a:pt x="3558" y="2834"/>
                </a:lnTo>
                <a:lnTo>
                  <a:pt x="3548" y="2840"/>
                </a:lnTo>
                <a:lnTo>
                  <a:pt x="3538" y="2844"/>
                </a:lnTo>
                <a:lnTo>
                  <a:pt x="3526" y="2850"/>
                </a:lnTo>
                <a:lnTo>
                  <a:pt x="3510" y="2860"/>
                </a:lnTo>
                <a:lnTo>
                  <a:pt x="3488" y="2870"/>
                </a:lnTo>
                <a:lnTo>
                  <a:pt x="3468" y="2878"/>
                </a:lnTo>
                <a:lnTo>
                  <a:pt x="3448" y="2882"/>
                </a:lnTo>
                <a:lnTo>
                  <a:pt x="3434" y="2882"/>
                </a:lnTo>
                <a:lnTo>
                  <a:pt x="3426" y="2880"/>
                </a:lnTo>
                <a:lnTo>
                  <a:pt x="3424" y="2878"/>
                </a:lnTo>
                <a:lnTo>
                  <a:pt x="3426" y="2878"/>
                </a:lnTo>
                <a:lnTo>
                  <a:pt x="3430" y="2876"/>
                </a:lnTo>
                <a:lnTo>
                  <a:pt x="3434" y="2874"/>
                </a:lnTo>
                <a:lnTo>
                  <a:pt x="3436" y="2874"/>
                </a:lnTo>
                <a:lnTo>
                  <a:pt x="3434" y="2872"/>
                </a:lnTo>
                <a:lnTo>
                  <a:pt x="3428" y="2870"/>
                </a:lnTo>
                <a:lnTo>
                  <a:pt x="3418" y="2870"/>
                </a:lnTo>
                <a:lnTo>
                  <a:pt x="3410" y="2868"/>
                </a:lnTo>
                <a:lnTo>
                  <a:pt x="3408" y="2868"/>
                </a:lnTo>
                <a:lnTo>
                  <a:pt x="3406" y="2866"/>
                </a:lnTo>
                <a:lnTo>
                  <a:pt x="3408" y="2860"/>
                </a:lnTo>
                <a:lnTo>
                  <a:pt x="3410" y="2856"/>
                </a:lnTo>
                <a:lnTo>
                  <a:pt x="3414" y="2850"/>
                </a:lnTo>
                <a:lnTo>
                  <a:pt x="3416" y="2840"/>
                </a:lnTo>
                <a:lnTo>
                  <a:pt x="3420" y="2832"/>
                </a:lnTo>
                <a:lnTo>
                  <a:pt x="3424" y="2828"/>
                </a:lnTo>
                <a:lnTo>
                  <a:pt x="3426" y="2826"/>
                </a:lnTo>
                <a:lnTo>
                  <a:pt x="3430" y="2818"/>
                </a:lnTo>
                <a:lnTo>
                  <a:pt x="3434" y="2812"/>
                </a:lnTo>
                <a:lnTo>
                  <a:pt x="3436" y="2810"/>
                </a:lnTo>
                <a:lnTo>
                  <a:pt x="3440" y="2812"/>
                </a:lnTo>
                <a:lnTo>
                  <a:pt x="3440" y="2818"/>
                </a:lnTo>
                <a:lnTo>
                  <a:pt x="3446" y="2820"/>
                </a:lnTo>
                <a:lnTo>
                  <a:pt x="3448" y="2822"/>
                </a:lnTo>
                <a:lnTo>
                  <a:pt x="3450" y="2826"/>
                </a:lnTo>
                <a:lnTo>
                  <a:pt x="3448" y="2828"/>
                </a:lnTo>
                <a:lnTo>
                  <a:pt x="3442" y="2832"/>
                </a:lnTo>
                <a:lnTo>
                  <a:pt x="3432" y="2832"/>
                </a:lnTo>
                <a:lnTo>
                  <a:pt x="3426" y="2834"/>
                </a:lnTo>
                <a:lnTo>
                  <a:pt x="3424" y="2834"/>
                </a:lnTo>
                <a:lnTo>
                  <a:pt x="3422" y="2838"/>
                </a:lnTo>
                <a:lnTo>
                  <a:pt x="3422" y="2840"/>
                </a:lnTo>
                <a:lnTo>
                  <a:pt x="3422" y="2844"/>
                </a:lnTo>
                <a:lnTo>
                  <a:pt x="3426" y="2846"/>
                </a:lnTo>
                <a:lnTo>
                  <a:pt x="3428" y="2848"/>
                </a:lnTo>
                <a:lnTo>
                  <a:pt x="3432" y="2848"/>
                </a:lnTo>
                <a:lnTo>
                  <a:pt x="3440" y="2848"/>
                </a:lnTo>
                <a:lnTo>
                  <a:pt x="3442" y="2850"/>
                </a:lnTo>
                <a:lnTo>
                  <a:pt x="3444" y="2850"/>
                </a:lnTo>
                <a:lnTo>
                  <a:pt x="3446" y="2848"/>
                </a:lnTo>
                <a:lnTo>
                  <a:pt x="3450" y="2844"/>
                </a:lnTo>
                <a:lnTo>
                  <a:pt x="3456" y="2840"/>
                </a:lnTo>
                <a:lnTo>
                  <a:pt x="3468" y="2836"/>
                </a:lnTo>
                <a:lnTo>
                  <a:pt x="3472" y="2832"/>
                </a:lnTo>
                <a:lnTo>
                  <a:pt x="3474" y="2828"/>
                </a:lnTo>
                <a:lnTo>
                  <a:pt x="3482" y="2820"/>
                </a:lnTo>
                <a:lnTo>
                  <a:pt x="3488" y="2816"/>
                </a:lnTo>
                <a:lnTo>
                  <a:pt x="3496" y="2814"/>
                </a:lnTo>
                <a:lnTo>
                  <a:pt x="3506" y="2812"/>
                </a:lnTo>
                <a:lnTo>
                  <a:pt x="3518" y="2814"/>
                </a:lnTo>
                <a:lnTo>
                  <a:pt x="3536" y="2818"/>
                </a:lnTo>
                <a:lnTo>
                  <a:pt x="3538" y="2818"/>
                </a:lnTo>
                <a:lnTo>
                  <a:pt x="3534" y="2814"/>
                </a:lnTo>
                <a:lnTo>
                  <a:pt x="3532" y="2812"/>
                </a:lnTo>
                <a:lnTo>
                  <a:pt x="3532" y="2810"/>
                </a:lnTo>
                <a:lnTo>
                  <a:pt x="3536" y="2806"/>
                </a:lnTo>
                <a:lnTo>
                  <a:pt x="3542" y="2804"/>
                </a:lnTo>
                <a:lnTo>
                  <a:pt x="3560" y="2800"/>
                </a:lnTo>
                <a:lnTo>
                  <a:pt x="3580" y="2800"/>
                </a:lnTo>
                <a:lnTo>
                  <a:pt x="3584" y="2800"/>
                </a:lnTo>
                <a:lnTo>
                  <a:pt x="3586" y="2796"/>
                </a:lnTo>
                <a:lnTo>
                  <a:pt x="3586" y="2794"/>
                </a:lnTo>
                <a:lnTo>
                  <a:pt x="3586" y="2790"/>
                </a:lnTo>
                <a:lnTo>
                  <a:pt x="3588" y="2790"/>
                </a:lnTo>
                <a:lnTo>
                  <a:pt x="3590" y="2790"/>
                </a:lnTo>
                <a:lnTo>
                  <a:pt x="3592" y="2792"/>
                </a:lnTo>
                <a:lnTo>
                  <a:pt x="3594" y="2798"/>
                </a:lnTo>
                <a:lnTo>
                  <a:pt x="3592" y="2804"/>
                </a:lnTo>
                <a:lnTo>
                  <a:pt x="3590" y="2808"/>
                </a:lnTo>
                <a:close/>
                <a:moveTo>
                  <a:pt x="3578" y="2752"/>
                </a:moveTo>
                <a:lnTo>
                  <a:pt x="3578" y="2752"/>
                </a:lnTo>
                <a:lnTo>
                  <a:pt x="3586" y="2746"/>
                </a:lnTo>
                <a:lnTo>
                  <a:pt x="3596" y="2742"/>
                </a:lnTo>
                <a:lnTo>
                  <a:pt x="3626" y="2738"/>
                </a:lnTo>
                <a:lnTo>
                  <a:pt x="3638" y="2734"/>
                </a:lnTo>
                <a:lnTo>
                  <a:pt x="3642" y="2734"/>
                </a:lnTo>
                <a:lnTo>
                  <a:pt x="3656" y="2742"/>
                </a:lnTo>
                <a:lnTo>
                  <a:pt x="3662" y="2744"/>
                </a:lnTo>
                <a:lnTo>
                  <a:pt x="3666" y="2744"/>
                </a:lnTo>
                <a:lnTo>
                  <a:pt x="3668" y="2742"/>
                </a:lnTo>
                <a:lnTo>
                  <a:pt x="3670" y="2740"/>
                </a:lnTo>
                <a:lnTo>
                  <a:pt x="3672" y="2734"/>
                </a:lnTo>
                <a:lnTo>
                  <a:pt x="3674" y="2730"/>
                </a:lnTo>
                <a:lnTo>
                  <a:pt x="3678" y="2726"/>
                </a:lnTo>
                <a:lnTo>
                  <a:pt x="3686" y="2722"/>
                </a:lnTo>
                <a:lnTo>
                  <a:pt x="3696" y="2718"/>
                </a:lnTo>
                <a:lnTo>
                  <a:pt x="3706" y="2714"/>
                </a:lnTo>
                <a:lnTo>
                  <a:pt x="3716" y="2710"/>
                </a:lnTo>
                <a:lnTo>
                  <a:pt x="3716" y="2714"/>
                </a:lnTo>
                <a:lnTo>
                  <a:pt x="3712" y="2718"/>
                </a:lnTo>
                <a:lnTo>
                  <a:pt x="3708" y="2720"/>
                </a:lnTo>
                <a:lnTo>
                  <a:pt x="3702" y="2724"/>
                </a:lnTo>
                <a:lnTo>
                  <a:pt x="3698" y="2726"/>
                </a:lnTo>
                <a:lnTo>
                  <a:pt x="3696" y="2730"/>
                </a:lnTo>
                <a:lnTo>
                  <a:pt x="3696" y="2732"/>
                </a:lnTo>
                <a:lnTo>
                  <a:pt x="3700" y="2736"/>
                </a:lnTo>
                <a:lnTo>
                  <a:pt x="3702" y="2740"/>
                </a:lnTo>
                <a:lnTo>
                  <a:pt x="3702" y="2742"/>
                </a:lnTo>
                <a:lnTo>
                  <a:pt x="3700" y="2746"/>
                </a:lnTo>
                <a:lnTo>
                  <a:pt x="3700" y="2752"/>
                </a:lnTo>
                <a:lnTo>
                  <a:pt x="3700" y="2758"/>
                </a:lnTo>
                <a:lnTo>
                  <a:pt x="3696" y="2762"/>
                </a:lnTo>
                <a:lnTo>
                  <a:pt x="3690" y="2764"/>
                </a:lnTo>
                <a:lnTo>
                  <a:pt x="3684" y="2770"/>
                </a:lnTo>
                <a:lnTo>
                  <a:pt x="3680" y="2774"/>
                </a:lnTo>
                <a:lnTo>
                  <a:pt x="3676" y="2776"/>
                </a:lnTo>
                <a:lnTo>
                  <a:pt x="3662" y="2778"/>
                </a:lnTo>
                <a:lnTo>
                  <a:pt x="3650" y="2776"/>
                </a:lnTo>
                <a:lnTo>
                  <a:pt x="3638" y="2774"/>
                </a:lnTo>
                <a:lnTo>
                  <a:pt x="3628" y="2772"/>
                </a:lnTo>
                <a:lnTo>
                  <a:pt x="3616" y="2770"/>
                </a:lnTo>
                <a:lnTo>
                  <a:pt x="3604" y="2770"/>
                </a:lnTo>
                <a:lnTo>
                  <a:pt x="3596" y="2774"/>
                </a:lnTo>
                <a:lnTo>
                  <a:pt x="3588" y="2778"/>
                </a:lnTo>
                <a:lnTo>
                  <a:pt x="3582" y="2780"/>
                </a:lnTo>
                <a:lnTo>
                  <a:pt x="3574" y="2782"/>
                </a:lnTo>
                <a:lnTo>
                  <a:pt x="3568" y="2782"/>
                </a:lnTo>
                <a:lnTo>
                  <a:pt x="3562" y="2780"/>
                </a:lnTo>
                <a:lnTo>
                  <a:pt x="3560" y="2780"/>
                </a:lnTo>
                <a:lnTo>
                  <a:pt x="3558" y="2776"/>
                </a:lnTo>
                <a:lnTo>
                  <a:pt x="3558" y="2772"/>
                </a:lnTo>
                <a:lnTo>
                  <a:pt x="3560" y="2768"/>
                </a:lnTo>
                <a:lnTo>
                  <a:pt x="3566" y="2760"/>
                </a:lnTo>
                <a:lnTo>
                  <a:pt x="3570" y="2756"/>
                </a:lnTo>
                <a:lnTo>
                  <a:pt x="3574" y="2756"/>
                </a:lnTo>
                <a:lnTo>
                  <a:pt x="3578" y="2752"/>
                </a:lnTo>
                <a:close/>
                <a:moveTo>
                  <a:pt x="3092" y="2546"/>
                </a:moveTo>
                <a:lnTo>
                  <a:pt x="3092" y="2546"/>
                </a:lnTo>
                <a:lnTo>
                  <a:pt x="3106" y="2534"/>
                </a:lnTo>
                <a:lnTo>
                  <a:pt x="3118" y="2526"/>
                </a:lnTo>
                <a:lnTo>
                  <a:pt x="3160" y="2506"/>
                </a:lnTo>
                <a:lnTo>
                  <a:pt x="3164" y="2504"/>
                </a:lnTo>
                <a:lnTo>
                  <a:pt x="3168" y="2500"/>
                </a:lnTo>
                <a:lnTo>
                  <a:pt x="3172" y="2496"/>
                </a:lnTo>
                <a:lnTo>
                  <a:pt x="3176" y="2484"/>
                </a:lnTo>
                <a:lnTo>
                  <a:pt x="3180" y="2478"/>
                </a:lnTo>
                <a:lnTo>
                  <a:pt x="3186" y="2474"/>
                </a:lnTo>
                <a:lnTo>
                  <a:pt x="3188" y="2474"/>
                </a:lnTo>
                <a:lnTo>
                  <a:pt x="3190" y="2474"/>
                </a:lnTo>
                <a:lnTo>
                  <a:pt x="3190" y="2478"/>
                </a:lnTo>
                <a:lnTo>
                  <a:pt x="3190" y="2482"/>
                </a:lnTo>
                <a:lnTo>
                  <a:pt x="3188" y="2486"/>
                </a:lnTo>
                <a:lnTo>
                  <a:pt x="3192" y="2484"/>
                </a:lnTo>
                <a:lnTo>
                  <a:pt x="3196" y="2476"/>
                </a:lnTo>
                <a:lnTo>
                  <a:pt x="3202" y="2464"/>
                </a:lnTo>
                <a:lnTo>
                  <a:pt x="3206" y="2456"/>
                </a:lnTo>
                <a:lnTo>
                  <a:pt x="3208" y="2456"/>
                </a:lnTo>
                <a:lnTo>
                  <a:pt x="3210" y="2462"/>
                </a:lnTo>
                <a:lnTo>
                  <a:pt x="3206" y="2470"/>
                </a:lnTo>
                <a:lnTo>
                  <a:pt x="3204" y="2478"/>
                </a:lnTo>
                <a:lnTo>
                  <a:pt x="3216" y="2472"/>
                </a:lnTo>
                <a:lnTo>
                  <a:pt x="3220" y="2468"/>
                </a:lnTo>
                <a:lnTo>
                  <a:pt x="3220" y="2466"/>
                </a:lnTo>
                <a:lnTo>
                  <a:pt x="3218" y="2458"/>
                </a:lnTo>
                <a:lnTo>
                  <a:pt x="3216" y="2452"/>
                </a:lnTo>
                <a:lnTo>
                  <a:pt x="3216" y="2450"/>
                </a:lnTo>
                <a:lnTo>
                  <a:pt x="3218" y="2448"/>
                </a:lnTo>
                <a:lnTo>
                  <a:pt x="3220" y="2448"/>
                </a:lnTo>
                <a:lnTo>
                  <a:pt x="3224" y="2448"/>
                </a:lnTo>
                <a:lnTo>
                  <a:pt x="3236" y="2454"/>
                </a:lnTo>
                <a:lnTo>
                  <a:pt x="3248" y="2458"/>
                </a:lnTo>
                <a:lnTo>
                  <a:pt x="3254" y="2460"/>
                </a:lnTo>
                <a:lnTo>
                  <a:pt x="3260" y="2460"/>
                </a:lnTo>
                <a:lnTo>
                  <a:pt x="3268" y="2460"/>
                </a:lnTo>
                <a:lnTo>
                  <a:pt x="3272" y="2462"/>
                </a:lnTo>
                <a:lnTo>
                  <a:pt x="3276" y="2462"/>
                </a:lnTo>
                <a:lnTo>
                  <a:pt x="3284" y="2462"/>
                </a:lnTo>
                <a:lnTo>
                  <a:pt x="3288" y="2462"/>
                </a:lnTo>
                <a:lnTo>
                  <a:pt x="3292" y="2466"/>
                </a:lnTo>
                <a:lnTo>
                  <a:pt x="3296" y="2482"/>
                </a:lnTo>
                <a:lnTo>
                  <a:pt x="3300" y="2490"/>
                </a:lnTo>
                <a:lnTo>
                  <a:pt x="3302" y="2498"/>
                </a:lnTo>
                <a:lnTo>
                  <a:pt x="3308" y="2504"/>
                </a:lnTo>
                <a:lnTo>
                  <a:pt x="3316" y="2510"/>
                </a:lnTo>
                <a:lnTo>
                  <a:pt x="3322" y="2510"/>
                </a:lnTo>
                <a:lnTo>
                  <a:pt x="3328" y="2510"/>
                </a:lnTo>
                <a:lnTo>
                  <a:pt x="3340" y="2508"/>
                </a:lnTo>
                <a:lnTo>
                  <a:pt x="3344" y="2508"/>
                </a:lnTo>
                <a:lnTo>
                  <a:pt x="3348" y="2510"/>
                </a:lnTo>
                <a:lnTo>
                  <a:pt x="3350" y="2514"/>
                </a:lnTo>
                <a:lnTo>
                  <a:pt x="3348" y="2520"/>
                </a:lnTo>
                <a:lnTo>
                  <a:pt x="3344" y="2528"/>
                </a:lnTo>
                <a:lnTo>
                  <a:pt x="3346" y="2532"/>
                </a:lnTo>
                <a:lnTo>
                  <a:pt x="3358" y="2542"/>
                </a:lnTo>
                <a:lnTo>
                  <a:pt x="3360" y="2546"/>
                </a:lnTo>
                <a:lnTo>
                  <a:pt x="3360" y="2550"/>
                </a:lnTo>
                <a:lnTo>
                  <a:pt x="3358" y="2556"/>
                </a:lnTo>
                <a:lnTo>
                  <a:pt x="3356" y="2564"/>
                </a:lnTo>
                <a:lnTo>
                  <a:pt x="3356" y="2566"/>
                </a:lnTo>
                <a:lnTo>
                  <a:pt x="3358" y="2568"/>
                </a:lnTo>
                <a:lnTo>
                  <a:pt x="3362" y="2570"/>
                </a:lnTo>
                <a:lnTo>
                  <a:pt x="3364" y="2570"/>
                </a:lnTo>
                <a:lnTo>
                  <a:pt x="3366" y="2570"/>
                </a:lnTo>
                <a:lnTo>
                  <a:pt x="3368" y="2572"/>
                </a:lnTo>
                <a:lnTo>
                  <a:pt x="3370" y="2574"/>
                </a:lnTo>
                <a:lnTo>
                  <a:pt x="3368" y="2576"/>
                </a:lnTo>
                <a:lnTo>
                  <a:pt x="3364" y="2578"/>
                </a:lnTo>
                <a:lnTo>
                  <a:pt x="3364" y="2582"/>
                </a:lnTo>
                <a:lnTo>
                  <a:pt x="3362" y="2586"/>
                </a:lnTo>
                <a:lnTo>
                  <a:pt x="3362" y="2590"/>
                </a:lnTo>
                <a:lnTo>
                  <a:pt x="3366" y="2592"/>
                </a:lnTo>
                <a:lnTo>
                  <a:pt x="3372" y="2592"/>
                </a:lnTo>
                <a:lnTo>
                  <a:pt x="3380" y="2590"/>
                </a:lnTo>
                <a:lnTo>
                  <a:pt x="3382" y="2592"/>
                </a:lnTo>
                <a:lnTo>
                  <a:pt x="3382" y="2596"/>
                </a:lnTo>
                <a:lnTo>
                  <a:pt x="3382" y="2602"/>
                </a:lnTo>
                <a:lnTo>
                  <a:pt x="3386" y="2604"/>
                </a:lnTo>
                <a:lnTo>
                  <a:pt x="3392" y="2604"/>
                </a:lnTo>
                <a:lnTo>
                  <a:pt x="3402" y="2608"/>
                </a:lnTo>
                <a:lnTo>
                  <a:pt x="3416" y="2612"/>
                </a:lnTo>
                <a:lnTo>
                  <a:pt x="3432" y="2612"/>
                </a:lnTo>
                <a:lnTo>
                  <a:pt x="3446" y="2614"/>
                </a:lnTo>
                <a:lnTo>
                  <a:pt x="3460" y="2616"/>
                </a:lnTo>
                <a:lnTo>
                  <a:pt x="3470" y="2616"/>
                </a:lnTo>
                <a:lnTo>
                  <a:pt x="3478" y="2616"/>
                </a:lnTo>
                <a:lnTo>
                  <a:pt x="3484" y="2616"/>
                </a:lnTo>
                <a:lnTo>
                  <a:pt x="3484" y="2618"/>
                </a:lnTo>
                <a:lnTo>
                  <a:pt x="3484" y="2620"/>
                </a:lnTo>
                <a:lnTo>
                  <a:pt x="3484" y="2622"/>
                </a:lnTo>
                <a:lnTo>
                  <a:pt x="3484" y="2624"/>
                </a:lnTo>
                <a:lnTo>
                  <a:pt x="3490" y="2626"/>
                </a:lnTo>
                <a:lnTo>
                  <a:pt x="3508" y="2626"/>
                </a:lnTo>
                <a:lnTo>
                  <a:pt x="3514" y="2626"/>
                </a:lnTo>
                <a:lnTo>
                  <a:pt x="3518" y="2630"/>
                </a:lnTo>
                <a:lnTo>
                  <a:pt x="3526" y="2644"/>
                </a:lnTo>
                <a:lnTo>
                  <a:pt x="3532" y="2654"/>
                </a:lnTo>
                <a:lnTo>
                  <a:pt x="3536" y="2658"/>
                </a:lnTo>
                <a:lnTo>
                  <a:pt x="3538" y="2658"/>
                </a:lnTo>
                <a:lnTo>
                  <a:pt x="3540" y="2656"/>
                </a:lnTo>
                <a:lnTo>
                  <a:pt x="3542" y="2656"/>
                </a:lnTo>
                <a:lnTo>
                  <a:pt x="3544" y="2660"/>
                </a:lnTo>
                <a:lnTo>
                  <a:pt x="3544" y="2666"/>
                </a:lnTo>
                <a:lnTo>
                  <a:pt x="3544" y="2670"/>
                </a:lnTo>
                <a:lnTo>
                  <a:pt x="3546" y="2674"/>
                </a:lnTo>
                <a:lnTo>
                  <a:pt x="3552" y="2682"/>
                </a:lnTo>
                <a:lnTo>
                  <a:pt x="3558" y="2688"/>
                </a:lnTo>
                <a:lnTo>
                  <a:pt x="3560" y="2694"/>
                </a:lnTo>
                <a:lnTo>
                  <a:pt x="3560" y="2696"/>
                </a:lnTo>
                <a:lnTo>
                  <a:pt x="3558" y="2696"/>
                </a:lnTo>
                <a:lnTo>
                  <a:pt x="3554" y="2694"/>
                </a:lnTo>
                <a:lnTo>
                  <a:pt x="3548" y="2690"/>
                </a:lnTo>
                <a:lnTo>
                  <a:pt x="3546" y="2688"/>
                </a:lnTo>
                <a:lnTo>
                  <a:pt x="3544" y="2690"/>
                </a:lnTo>
                <a:lnTo>
                  <a:pt x="3544" y="2692"/>
                </a:lnTo>
                <a:lnTo>
                  <a:pt x="3544" y="2694"/>
                </a:lnTo>
                <a:lnTo>
                  <a:pt x="3546" y="2700"/>
                </a:lnTo>
                <a:lnTo>
                  <a:pt x="3548" y="2704"/>
                </a:lnTo>
                <a:lnTo>
                  <a:pt x="3548" y="2708"/>
                </a:lnTo>
                <a:lnTo>
                  <a:pt x="3546" y="2710"/>
                </a:lnTo>
                <a:lnTo>
                  <a:pt x="3542" y="2710"/>
                </a:lnTo>
                <a:lnTo>
                  <a:pt x="3538" y="2710"/>
                </a:lnTo>
                <a:lnTo>
                  <a:pt x="3530" y="2704"/>
                </a:lnTo>
                <a:lnTo>
                  <a:pt x="3520" y="2698"/>
                </a:lnTo>
                <a:lnTo>
                  <a:pt x="3516" y="2698"/>
                </a:lnTo>
                <a:lnTo>
                  <a:pt x="3514" y="2700"/>
                </a:lnTo>
                <a:lnTo>
                  <a:pt x="3510" y="2702"/>
                </a:lnTo>
                <a:lnTo>
                  <a:pt x="3510" y="2698"/>
                </a:lnTo>
                <a:lnTo>
                  <a:pt x="3508" y="2694"/>
                </a:lnTo>
                <a:lnTo>
                  <a:pt x="3508" y="2692"/>
                </a:lnTo>
                <a:lnTo>
                  <a:pt x="3506" y="2694"/>
                </a:lnTo>
                <a:lnTo>
                  <a:pt x="3502" y="2694"/>
                </a:lnTo>
                <a:lnTo>
                  <a:pt x="3502" y="2692"/>
                </a:lnTo>
                <a:lnTo>
                  <a:pt x="3504" y="2688"/>
                </a:lnTo>
                <a:lnTo>
                  <a:pt x="3506" y="2684"/>
                </a:lnTo>
                <a:lnTo>
                  <a:pt x="3502" y="2682"/>
                </a:lnTo>
                <a:lnTo>
                  <a:pt x="3498" y="2682"/>
                </a:lnTo>
                <a:lnTo>
                  <a:pt x="3496" y="2678"/>
                </a:lnTo>
                <a:lnTo>
                  <a:pt x="3496" y="2674"/>
                </a:lnTo>
                <a:lnTo>
                  <a:pt x="3494" y="2668"/>
                </a:lnTo>
                <a:lnTo>
                  <a:pt x="3494" y="2666"/>
                </a:lnTo>
                <a:lnTo>
                  <a:pt x="3492" y="2666"/>
                </a:lnTo>
                <a:lnTo>
                  <a:pt x="3486" y="2666"/>
                </a:lnTo>
                <a:lnTo>
                  <a:pt x="3482" y="2664"/>
                </a:lnTo>
                <a:lnTo>
                  <a:pt x="3480" y="2664"/>
                </a:lnTo>
                <a:lnTo>
                  <a:pt x="3478" y="2664"/>
                </a:lnTo>
                <a:lnTo>
                  <a:pt x="3480" y="2668"/>
                </a:lnTo>
                <a:lnTo>
                  <a:pt x="3486" y="2674"/>
                </a:lnTo>
                <a:lnTo>
                  <a:pt x="3492" y="2684"/>
                </a:lnTo>
                <a:lnTo>
                  <a:pt x="3496" y="2694"/>
                </a:lnTo>
                <a:lnTo>
                  <a:pt x="3496" y="2700"/>
                </a:lnTo>
                <a:lnTo>
                  <a:pt x="3494" y="2706"/>
                </a:lnTo>
                <a:lnTo>
                  <a:pt x="3486" y="2714"/>
                </a:lnTo>
                <a:lnTo>
                  <a:pt x="3482" y="2720"/>
                </a:lnTo>
                <a:lnTo>
                  <a:pt x="3480" y="2728"/>
                </a:lnTo>
                <a:lnTo>
                  <a:pt x="3478" y="2736"/>
                </a:lnTo>
                <a:lnTo>
                  <a:pt x="3478" y="2746"/>
                </a:lnTo>
                <a:lnTo>
                  <a:pt x="3478" y="2764"/>
                </a:lnTo>
                <a:lnTo>
                  <a:pt x="3476" y="2772"/>
                </a:lnTo>
                <a:lnTo>
                  <a:pt x="3474" y="2776"/>
                </a:lnTo>
                <a:lnTo>
                  <a:pt x="3470" y="2780"/>
                </a:lnTo>
                <a:lnTo>
                  <a:pt x="3464" y="2784"/>
                </a:lnTo>
                <a:lnTo>
                  <a:pt x="3450" y="2792"/>
                </a:lnTo>
                <a:lnTo>
                  <a:pt x="3444" y="2778"/>
                </a:lnTo>
                <a:lnTo>
                  <a:pt x="3440" y="2758"/>
                </a:lnTo>
                <a:lnTo>
                  <a:pt x="3438" y="2748"/>
                </a:lnTo>
                <a:lnTo>
                  <a:pt x="3434" y="2740"/>
                </a:lnTo>
                <a:lnTo>
                  <a:pt x="3430" y="2736"/>
                </a:lnTo>
                <a:lnTo>
                  <a:pt x="3424" y="2734"/>
                </a:lnTo>
                <a:lnTo>
                  <a:pt x="3418" y="2736"/>
                </a:lnTo>
                <a:lnTo>
                  <a:pt x="3414" y="2740"/>
                </a:lnTo>
                <a:lnTo>
                  <a:pt x="3408" y="2748"/>
                </a:lnTo>
                <a:lnTo>
                  <a:pt x="3404" y="2754"/>
                </a:lnTo>
                <a:lnTo>
                  <a:pt x="3402" y="2758"/>
                </a:lnTo>
                <a:lnTo>
                  <a:pt x="3398" y="2758"/>
                </a:lnTo>
                <a:lnTo>
                  <a:pt x="3394" y="2758"/>
                </a:lnTo>
                <a:lnTo>
                  <a:pt x="3392" y="2756"/>
                </a:lnTo>
                <a:lnTo>
                  <a:pt x="3388" y="2750"/>
                </a:lnTo>
                <a:lnTo>
                  <a:pt x="3390" y="2742"/>
                </a:lnTo>
                <a:lnTo>
                  <a:pt x="3392" y="2738"/>
                </a:lnTo>
                <a:lnTo>
                  <a:pt x="3394" y="2734"/>
                </a:lnTo>
                <a:lnTo>
                  <a:pt x="3402" y="2730"/>
                </a:lnTo>
                <a:lnTo>
                  <a:pt x="3406" y="2724"/>
                </a:lnTo>
                <a:lnTo>
                  <a:pt x="3410" y="2716"/>
                </a:lnTo>
                <a:lnTo>
                  <a:pt x="3412" y="2704"/>
                </a:lnTo>
                <a:lnTo>
                  <a:pt x="3414" y="2698"/>
                </a:lnTo>
                <a:lnTo>
                  <a:pt x="3412" y="2692"/>
                </a:lnTo>
                <a:lnTo>
                  <a:pt x="3410" y="2684"/>
                </a:lnTo>
                <a:lnTo>
                  <a:pt x="3408" y="2680"/>
                </a:lnTo>
                <a:lnTo>
                  <a:pt x="3408" y="2678"/>
                </a:lnTo>
                <a:lnTo>
                  <a:pt x="3412" y="2676"/>
                </a:lnTo>
                <a:lnTo>
                  <a:pt x="3414" y="2676"/>
                </a:lnTo>
                <a:lnTo>
                  <a:pt x="3414" y="2672"/>
                </a:lnTo>
                <a:lnTo>
                  <a:pt x="3412" y="2666"/>
                </a:lnTo>
                <a:lnTo>
                  <a:pt x="3402" y="2660"/>
                </a:lnTo>
                <a:lnTo>
                  <a:pt x="3392" y="2656"/>
                </a:lnTo>
                <a:lnTo>
                  <a:pt x="3384" y="2652"/>
                </a:lnTo>
                <a:lnTo>
                  <a:pt x="3380" y="2648"/>
                </a:lnTo>
                <a:lnTo>
                  <a:pt x="3378" y="2644"/>
                </a:lnTo>
                <a:lnTo>
                  <a:pt x="3374" y="2644"/>
                </a:lnTo>
                <a:lnTo>
                  <a:pt x="3366" y="2642"/>
                </a:lnTo>
                <a:lnTo>
                  <a:pt x="3362" y="2638"/>
                </a:lnTo>
                <a:lnTo>
                  <a:pt x="3358" y="2636"/>
                </a:lnTo>
                <a:lnTo>
                  <a:pt x="3356" y="2636"/>
                </a:lnTo>
                <a:lnTo>
                  <a:pt x="3352" y="2638"/>
                </a:lnTo>
                <a:lnTo>
                  <a:pt x="3346" y="2642"/>
                </a:lnTo>
                <a:lnTo>
                  <a:pt x="3342" y="2646"/>
                </a:lnTo>
                <a:lnTo>
                  <a:pt x="3342" y="2648"/>
                </a:lnTo>
                <a:lnTo>
                  <a:pt x="3342" y="2652"/>
                </a:lnTo>
                <a:lnTo>
                  <a:pt x="3344" y="2654"/>
                </a:lnTo>
                <a:lnTo>
                  <a:pt x="3346" y="2656"/>
                </a:lnTo>
                <a:lnTo>
                  <a:pt x="3340" y="2658"/>
                </a:lnTo>
                <a:lnTo>
                  <a:pt x="3334" y="2662"/>
                </a:lnTo>
                <a:lnTo>
                  <a:pt x="3330" y="2666"/>
                </a:lnTo>
                <a:lnTo>
                  <a:pt x="3328" y="2670"/>
                </a:lnTo>
                <a:lnTo>
                  <a:pt x="3328" y="2676"/>
                </a:lnTo>
                <a:lnTo>
                  <a:pt x="3326" y="2686"/>
                </a:lnTo>
                <a:lnTo>
                  <a:pt x="3324" y="2690"/>
                </a:lnTo>
                <a:lnTo>
                  <a:pt x="3322" y="2692"/>
                </a:lnTo>
                <a:lnTo>
                  <a:pt x="3320" y="2690"/>
                </a:lnTo>
                <a:lnTo>
                  <a:pt x="3318" y="2686"/>
                </a:lnTo>
                <a:lnTo>
                  <a:pt x="3318" y="2678"/>
                </a:lnTo>
                <a:lnTo>
                  <a:pt x="3318" y="2674"/>
                </a:lnTo>
                <a:lnTo>
                  <a:pt x="3318" y="2672"/>
                </a:lnTo>
                <a:lnTo>
                  <a:pt x="3314" y="2676"/>
                </a:lnTo>
                <a:lnTo>
                  <a:pt x="3308" y="2682"/>
                </a:lnTo>
                <a:lnTo>
                  <a:pt x="3300" y="2692"/>
                </a:lnTo>
                <a:lnTo>
                  <a:pt x="3296" y="2694"/>
                </a:lnTo>
                <a:lnTo>
                  <a:pt x="3294" y="2696"/>
                </a:lnTo>
                <a:lnTo>
                  <a:pt x="3296" y="2704"/>
                </a:lnTo>
                <a:lnTo>
                  <a:pt x="3296" y="2712"/>
                </a:lnTo>
                <a:lnTo>
                  <a:pt x="3294" y="2716"/>
                </a:lnTo>
                <a:lnTo>
                  <a:pt x="3290" y="2724"/>
                </a:lnTo>
                <a:lnTo>
                  <a:pt x="3288" y="2732"/>
                </a:lnTo>
                <a:lnTo>
                  <a:pt x="3286" y="2736"/>
                </a:lnTo>
                <a:lnTo>
                  <a:pt x="3288" y="2740"/>
                </a:lnTo>
                <a:lnTo>
                  <a:pt x="3288" y="2748"/>
                </a:lnTo>
                <a:lnTo>
                  <a:pt x="3286" y="2752"/>
                </a:lnTo>
                <a:lnTo>
                  <a:pt x="3284" y="2756"/>
                </a:lnTo>
                <a:lnTo>
                  <a:pt x="3288" y="2768"/>
                </a:lnTo>
                <a:lnTo>
                  <a:pt x="3292" y="2780"/>
                </a:lnTo>
                <a:lnTo>
                  <a:pt x="3294" y="2792"/>
                </a:lnTo>
                <a:lnTo>
                  <a:pt x="3296" y="2802"/>
                </a:lnTo>
                <a:lnTo>
                  <a:pt x="3296" y="2812"/>
                </a:lnTo>
                <a:lnTo>
                  <a:pt x="3294" y="2820"/>
                </a:lnTo>
                <a:lnTo>
                  <a:pt x="3290" y="2830"/>
                </a:lnTo>
                <a:lnTo>
                  <a:pt x="3282" y="2848"/>
                </a:lnTo>
                <a:lnTo>
                  <a:pt x="3276" y="2856"/>
                </a:lnTo>
                <a:lnTo>
                  <a:pt x="3272" y="2862"/>
                </a:lnTo>
                <a:lnTo>
                  <a:pt x="3266" y="2866"/>
                </a:lnTo>
                <a:lnTo>
                  <a:pt x="3260" y="2868"/>
                </a:lnTo>
                <a:lnTo>
                  <a:pt x="3254" y="2868"/>
                </a:lnTo>
                <a:lnTo>
                  <a:pt x="3248" y="2866"/>
                </a:lnTo>
                <a:lnTo>
                  <a:pt x="3242" y="2860"/>
                </a:lnTo>
                <a:lnTo>
                  <a:pt x="3236" y="2852"/>
                </a:lnTo>
                <a:lnTo>
                  <a:pt x="3232" y="2844"/>
                </a:lnTo>
                <a:lnTo>
                  <a:pt x="3230" y="2836"/>
                </a:lnTo>
                <a:lnTo>
                  <a:pt x="3230" y="2824"/>
                </a:lnTo>
                <a:lnTo>
                  <a:pt x="3230" y="2810"/>
                </a:lnTo>
                <a:lnTo>
                  <a:pt x="3230" y="2804"/>
                </a:lnTo>
                <a:lnTo>
                  <a:pt x="3230" y="2796"/>
                </a:lnTo>
                <a:lnTo>
                  <a:pt x="3228" y="2782"/>
                </a:lnTo>
                <a:lnTo>
                  <a:pt x="3230" y="2774"/>
                </a:lnTo>
                <a:lnTo>
                  <a:pt x="3232" y="2764"/>
                </a:lnTo>
                <a:lnTo>
                  <a:pt x="3234" y="2748"/>
                </a:lnTo>
                <a:lnTo>
                  <a:pt x="3234" y="2740"/>
                </a:lnTo>
                <a:lnTo>
                  <a:pt x="3236" y="2736"/>
                </a:lnTo>
                <a:lnTo>
                  <a:pt x="3238" y="2732"/>
                </a:lnTo>
                <a:lnTo>
                  <a:pt x="3240" y="2730"/>
                </a:lnTo>
                <a:lnTo>
                  <a:pt x="3244" y="2728"/>
                </a:lnTo>
                <a:lnTo>
                  <a:pt x="3242" y="2724"/>
                </a:lnTo>
                <a:lnTo>
                  <a:pt x="3242" y="2720"/>
                </a:lnTo>
                <a:lnTo>
                  <a:pt x="3242" y="2714"/>
                </a:lnTo>
                <a:lnTo>
                  <a:pt x="3246" y="2704"/>
                </a:lnTo>
                <a:lnTo>
                  <a:pt x="3250" y="2694"/>
                </a:lnTo>
                <a:lnTo>
                  <a:pt x="3248" y="2690"/>
                </a:lnTo>
                <a:lnTo>
                  <a:pt x="3246" y="2688"/>
                </a:lnTo>
                <a:lnTo>
                  <a:pt x="3240" y="2688"/>
                </a:lnTo>
                <a:lnTo>
                  <a:pt x="3238" y="2690"/>
                </a:lnTo>
                <a:lnTo>
                  <a:pt x="3234" y="2696"/>
                </a:lnTo>
                <a:lnTo>
                  <a:pt x="3230" y="2704"/>
                </a:lnTo>
                <a:lnTo>
                  <a:pt x="3226" y="2706"/>
                </a:lnTo>
                <a:lnTo>
                  <a:pt x="3224" y="2706"/>
                </a:lnTo>
                <a:lnTo>
                  <a:pt x="3224" y="2698"/>
                </a:lnTo>
                <a:lnTo>
                  <a:pt x="3228" y="2688"/>
                </a:lnTo>
                <a:lnTo>
                  <a:pt x="3230" y="2684"/>
                </a:lnTo>
                <a:lnTo>
                  <a:pt x="3234" y="2682"/>
                </a:lnTo>
                <a:lnTo>
                  <a:pt x="3238" y="2678"/>
                </a:lnTo>
                <a:lnTo>
                  <a:pt x="3238" y="2676"/>
                </a:lnTo>
                <a:lnTo>
                  <a:pt x="3240" y="2672"/>
                </a:lnTo>
                <a:lnTo>
                  <a:pt x="3244" y="2666"/>
                </a:lnTo>
                <a:lnTo>
                  <a:pt x="3252" y="2654"/>
                </a:lnTo>
                <a:lnTo>
                  <a:pt x="3258" y="2640"/>
                </a:lnTo>
                <a:lnTo>
                  <a:pt x="3264" y="2630"/>
                </a:lnTo>
                <a:lnTo>
                  <a:pt x="3266" y="2630"/>
                </a:lnTo>
                <a:lnTo>
                  <a:pt x="3266" y="2632"/>
                </a:lnTo>
                <a:lnTo>
                  <a:pt x="3268" y="2634"/>
                </a:lnTo>
                <a:lnTo>
                  <a:pt x="3270" y="2636"/>
                </a:lnTo>
                <a:lnTo>
                  <a:pt x="3274" y="2632"/>
                </a:lnTo>
                <a:lnTo>
                  <a:pt x="3278" y="2630"/>
                </a:lnTo>
                <a:lnTo>
                  <a:pt x="3280" y="2632"/>
                </a:lnTo>
                <a:lnTo>
                  <a:pt x="3280" y="2636"/>
                </a:lnTo>
                <a:lnTo>
                  <a:pt x="3278" y="2640"/>
                </a:lnTo>
                <a:lnTo>
                  <a:pt x="3280" y="2642"/>
                </a:lnTo>
                <a:lnTo>
                  <a:pt x="3284" y="2636"/>
                </a:lnTo>
                <a:lnTo>
                  <a:pt x="3292" y="2628"/>
                </a:lnTo>
                <a:lnTo>
                  <a:pt x="3296" y="2624"/>
                </a:lnTo>
                <a:lnTo>
                  <a:pt x="3302" y="2624"/>
                </a:lnTo>
                <a:lnTo>
                  <a:pt x="3310" y="2624"/>
                </a:lnTo>
                <a:lnTo>
                  <a:pt x="3316" y="2622"/>
                </a:lnTo>
                <a:lnTo>
                  <a:pt x="3322" y="2618"/>
                </a:lnTo>
                <a:lnTo>
                  <a:pt x="3324" y="2616"/>
                </a:lnTo>
                <a:lnTo>
                  <a:pt x="3328" y="2616"/>
                </a:lnTo>
                <a:lnTo>
                  <a:pt x="3336" y="2620"/>
                </a:lnTo>
                <a:lnTo>
                  <a:pt x="3346" y="2626"/>
                </a:lnTo>
                <a:lnTo>
                  <a:pt x="3352" y="2628"/>
                </a:lnTo>
                <a:lnTo>
                  <a:pt x="3356" y="2628"/>
                </a:lnTo>
                <a:lnTo>
                  <a:pt x="3358" y="2628"/>
                </a:lnTo>
                <a:lnTo>
                  <a:pt x="3358" y="2626"/>
                </a:lnTo>
                <a:lnTo>
                  <a:pt x="3358" y="2620"/>
                </a:lnTo>
                <a:lnTo>
                  <a:pt x="3360" y="2620"/>
                </a:lnTo>
                <a:lnTo>
                  <a:pt x="3362" y="2620"/>
                </a:lnTo>
                <a:lnTo>
                  <a:pt x="3370" y="2624"/>
                </a:lnTo>
                <a:lnTo>
                  <a:pt x="3380" y="2624"/>
                </a:lnTo>
                <a:lnTo>
                  <a:pt x="3386" y="2624"/>
                </a:lnTo>
                <a:lnTo>
                  <a:pt x="3388" y="2622"/>
                </a:lnTo>
                <a:lnTo>
                  <a:pt x="3388" y="2618"/>
                </a:lnTo>
                <a:lnTo>
                  <a:pt x="3384" y="2614"/>
                </a:lnTo>
                <a:lnTo>
                  <a:pt x="3380" y="2612"/>
                </a:lnTo>
                <a:lnTo>
                  <a:pt x="3378" y="2610"/>
                </a:lnTo>
                <a:lnTo>
                  <a:pt x="3376" y="2602"/>
                </a:lnTo>
                <a:lnTo>
                  <a:pt x="3374" y="2598"/>
                </a:lnTo>
                <a:lnTo>
                  <a:pt x="3374" y="2596"/>
                </a:lnTo>
                <a:lnTo>
                  <a:pt x="3368" y="2596"/>
                </a:lnTo>
                <a:lnTo>
                  <a:pt x="3360" y="2596"/>
                </a:lnTo>
                <a:lnTo>
                  <a:pt x="3348" y="2594"/>
                </a:lnTo>
                <a:lnTo>
                  <a:pt x="3346" y="2592"/>
                </a:lnTo>
                <a:lnTo>
                  <a:pt x="3344" y="2590"/>
                </a:lnTo>
                <a:lnTo>
                  <a:pt x="3346" y="2582"/>
                </a:lnTo>
                <a:lnTo>
                  <a:pt x="3346" y="2578"/>
                </a:lnTo>
                <a:lnTo>
                  <a:pt x="3344" y="2578"/>
                </a:lnTo>
                <a:lnTo>
                  <a:pt x="3342" y="2578"/>
                </a:lnTo>
                <a:lnTo>
                  <a:pt x="3330" y="2582"/>
                </a:lnTo>
                <a:lnTo>
                  <a:pt x="3314" y="2584"/>
                </a:lnTo>
                <a:lnTo>
                  <a:pt x="3300" y="2586"/>
                </a:lnTo>
                <a:lnTo>
                  <a:pt x="3294" y="2588"/>
                </a:lnTo>
                <a:lnTo>
                  <a:pt x="3288" y="2590"/>
                </a:lnTo>
                <a:lnTo>
                  <a:pt x="3282" y="2596"/>
                </a:lnTo>
                <a:lnTo>
                  <a:pt x="3274" y="2596"/>
                </a:lnTo>
                <a:lnTo>
                  <a:pt x="3268" y="2594"/>
                </a:lnTo>
                <a:lnTo>
                  <a:pt x="3258" y="2594"/>
                </a:lnTo>
                <a:lnTo>
                  <a:pt x="3254" y="2594"/>
                </a:lnTo>
                <a:lnTo>
                  <a:pt x="3250" y="2592"/>
                </a:lnTo>
                <a:lnTo>
                  <a:pt x="3244" y="2584"/>
                </a:lnTo>
                <a:lnTo>
                  <a:pt x="3238" y="2576"/>
                </a:lnTo>
                <a:lnTo>
                  <a:pt x="3234" y="2572"/>
                </a:lnTo>
                <a:lnTo>
                  <a:pt x="3228" y="2568"/>
                </a:lnTo>
                <a:lnTo>
                  <a:pt x="3222" y="2568"/>
                </a:lnTo>
                <a:lnTo>
                  <a:pt x="3218" y="2568"/>
                </a:lnTo>
                <a:lnTo>
                  <a:pt x="3212" y="2572"/>
                </a:lnTo>
                <a:lnTo>
                  <a:pt x="3208" y="2574"/>
                </a:lnTo>
                <a:lnTo>
                  <a:pt x="3206" y="2574"/>
                </a:lnTo>
                <a:lnTo>
                  <a:pt x="3206" y="2572"/>
                </a:lnTo>
                <a:lnTo>
                  <a:pt x="3204" y="2566"/>
                </a:lnTo>
                <a:lnTo>
                  <a:pt x="3202" y="2558"/>
                </a:lnTo>
                <a:lnTo>
                  <a:pt x="3200" y="2554"/>
                </a:lnTo>
                <a:lnTo>
                  <a:pt x="3198" y="2554"/>
                </a:lnTo>
                <a:lnTo>
                  <a:pt x="3192" y="2558"/>
                </a:lnTo>
                <a:lnTo>
                  <a:pt x="3180" y="2566"/>
                </a:lnTo>
                <a:lnTo>
                  <a:pt x="3176" y="2570"/>
                </a:lnTo>
                <a:lnTo>
                  <a:pt x="3172" y="2574"/>
                </a:lnTo>
                <a:lnTo>
                  <a:pt x="3164" y="2574"/>
                </a:lnTo>
                <a:lnTo>
                  <a:pt x="3156" y="2576"/>
                </a:lnTo>
                <a:lnTo>
                  <a:pt x="3152" y="2578"/>
                </a:lnTo>
                <a:lnTo>
                  <a:pt x="3146" y="2582"/>
                </a:lnTo>
                <a:lnTo>
                  <a:pt x="3134" y="2588"/>
                </a:lnTo>
                <a:lnTo>
                  <a:pt x="3126" y="2588"/>
                </a:lnTo>
                <a:lnTo>
                  <a:pt x="3120" y="2588"/>
                </a:lnTo>
                <a:lnTo>
                  <a:pt x="3110" y="2588"/>
                </a:lnTo>
                <a:lnTo>
                  <a:pt x="3106" y="2588"/>
                </a:lnTo>
                <a:lnTo>
                  <a:pt x="3106" y="2586"/>
                </a:lnTo>
                <a:lnTo>
                  <a:pt x="3108" y="2580"/>
                </a:lnTo>
                <a:lnTo>
                  <a:pt x="3112" y="2572"/>
                </a:lnTo>
                <a:lnTo>
                  <a:pt x="3112" y="2570"/>
                </a:lnTo>
                <a:lnTo>
                  <a:pt x="3108" y="2568"/>
                </a:lnTo>
                <a:lnTo>
                  <a:pt x="3104" y="2568"/>
                </a:lnTo>
                <a:lnTo>
                  <a:pt x="3098" y="2570"/>
                </a:lnTo>
                <a:lnTo>
                  <a:pt x="3088" y="2576"/>
                </a:lnTo>
                <a:lnTo>
                  <a:pt x="3076" y="2580"/>
                </a:lnTo>
                <a:lnTo>
                  <a:pt x="3070" y="2582"/>
                </a:lnTo>
                <a:lnTo>
                  <a:pt x="3064" y="2582"/>
                </a:lnTo>
                <a:lnTo>
                  <a:pt x="3060" y="2580"/>
                </a:lnTo>
                <a:lnTo>
                  <a:pt x="3058" y="2578"/>
                </a:lnTo>
                <a:lnTo>
                  <a:pt x="3060" y="2574"/>
                </a:lnTo>
                <a:lnTo>
                  <a:pt x="3064" y="2570"/>
                </a:lnTo>
                <a:lnTo>
                  <a:pt x="3076" y="2560"/>
                </a:lnTo>
                <a:lnTo>
                  <a:pt x="3092" y="2546"/>
                </a:lnTo>
                <a:close/>
                <a:moveTo>
                  <a:pt x="4624" y="6618"/>
                </a:moveTo>
                <a:lnTo>
                  <a:pt x="4624" y="6618"/>
                </a:lnTo>
                <a:lnTo>
                  <a:pt x="4628" y="6626"/>
                </a:lnTo>
                <a:lnTo>
                  <a:pt x="4624" y="6618"/>
                </a:lnTo>
                <a:close/>
                <a:moveTo>
                  <a:pt x="3752" y="4008"/>
                </a:moveTo>
                <a:lnTo>
                  <a:pt x="3752" y="4008"/>
                </a:lnTo>
                <a:lnTo>
                  <a:pt x="3760" y="4004"/>
                </a:lnTo>
                <a:lnTo>
                  <a:pt x="3768" y="4002"/>
                </a:lnTo>
                <a:lnTo>
                  <a:pt x="3776" y="4002"/>
                </a:lnTo>
                <a:lnTo>
                  <a:pt x="3782" y="4002"/>
                </a:lnTo>
                <a:lnTo>
                  <a:pt x="3786" y="3998"/>
                </a:lnTo>
                <a:lnTo>
                  <a:pt x="3788" y="3994"/>
                </a:lnTo>
                <a:lnTo>
                  <a:pt x="3790" y="3992"/>
                </a:lnTo>
                <a:lnTo>
                  <a:pt x="3786" y="3990"/>
                </a:lnTo>
                <a:lnTo>
                  <a:pt x="3778" y="3990"/>
                </a:lnTo>
                <a:lnTo>
                  <a:pt x="3774" y="3988"/>
                </a:lnTo>
                <a:lnTo>
                  <a:pt x="3770" y="3984"/>
                </a:lnTo>
                <a:lnTo>
                  <a:pt x="3766" y="3978"/>
                </a:lnTo>
                <a:lnTo>
                  <a:pt x="3760" y="3974"/>
                </a:lnTo>
                <a:lnTo>
                  <a:pt x="3752" y="3970"/>
                </a:lnTo>
                <a:lnTo>
                  <a:pt x="3736" y="3968"/>
                </a:lnTo>
                <a:lnTo>
                  <a:pt x="3722" y="3966"/>
                </a:lnTo>
                <a:lnTo>
                  <a:pt x="3722" y="3964"/>
                </a:lnTo>
                <a:lnTo>
                  <a:pt x="3726" y="3960"/>
                </a:lnTo>
                <a:lnTo>
                  <a:pt x="3726" y="3958"/>
                </a:lnTo>
                <a:lnTo>
                  <a:pt x="3728" y="3954"/>
                </a:lnTo>
                <a:lnTo>
                  <a:pt x="3726" y="3950"/>
                </a:lnTo>
                <a:lnTo>
                  <a:pt x="3724" y="3948"/>
                </a:lnTo>
                <a:lnTo>
                  <a:pt x="3720" y="3948"/>
                </a:lnTo>
                <a:lnTo>
                  <a:pt x="3712" y="3948"/>
                </a:lnTo>
                <a:lnTo>
                  <a:pt x="3708" y="3948"/>
                </a:lnTo>
                <a:lnTo>
                  <a:pt x="3706" y="3944"/>
                </a:lnTo>
                <a:lnTo>
                  <a:pt x="3702" y="3942"/>
                </a:lnTo>
                <a:lnTo>
                  <a:pt x="3700" y="3942"/>
                </a:lnTo>
                <a:lnTo>
                  <a:pt x="3696" y="3942"/>
                </a:lnTo>
                <a:lnTo>
                  <a:pt x="3692" y="3944"/>
                </a:lnTo>
                <a:lnTo>
                  <a:pt x="3690" y="3944"/>
                </a:lnTo>
                <a:lnTo>
                  <a:pt x="3688" y="3940"/>
                </a:lnTo>
                <a:lnTo>
                  <a:pt x="3684" y="3936"/>
                </a:lnTo>
                <a:lnTo>
                  <a:pt x="3682" y="3936"/>
                </a:lnTo>
                <a:lnTo>
                  <a:pt x="3678" y="3934"/>
                </a:lnTo>
                <a:lnTo>
                  <a:pt x="3670" y="3928"/>
                </a:lnTo>
                <a:lnTo>
                  <a:pt x="3656" y="3912"/>
                </a:lnTo>
                <a:lnTo>
                  <a:pt x="3650" y="3910"/>
                </a:lnTo>
                <a:lnTo>
                  <a:pt x="3650" y="3914"/>
                </a:lnTo>
                <a:lnTo>
                  <a:pt x="3650" y="3916"/>
                </a:lnTo>
                <a:lnTo>
                  <a:pt x="3650" y="3918"/>
                </a:lnTo>
                <a:lnTo>
                  <a:pt x="3646" y="3916"/>
                </a:lnTo>
                <a:lnTo>
                  <a:pt x="3644" y="3912"/>
                </a:lnTo>
                <a:lnTo>
                  <a:pt x="3644" y="3906"/>
                </a:lnTo>
                <a:lnTo>
                  <a:pt x="3644" y="3902"/>
                </a:lnTo>
                <a:lnTo>
                  <a:pt x="3642" y="3902"/>
                </a:lnTo>
                <a:lnTo>
                  <a:pt x="3636" y="3900"/>
                </a:lnTo>
                <a:lnTo>
                  <a:pt x="3626" y="3898"/>
                </a:lnTo>
                <a:lnTo>
                  <a:pt x="3618" y="3894"/>
                </a:lnTo>
                <a:lnTo>
                  <a:pt x="3610" y="3890"/>
                </a:lnTo>
                <a:lnTo>
                  <a:pt x="3602" y="3884"/>
                </a:lnTo>
                <a:lnTo>
                  <a:pt x="3594" y="3882"/>
                </a:lnTo>
                <a:lnTo>
                  <a:pt x="3584" y="3882"/>
                </a:lnTo>
                <a:lnTo>
                  <a:pt x="3580" y="3880"/>
                </a:lnTo>
                <a:lnTo>
                  <a:pt x="3576" y="3880"/>
                </a:lnTo>
                <a:lnTo>
                  <a:pt x="3572" y="3876"/>
                </a:lnTo>
                <a:lnTo>
                  <a:pt x="3566" y="3868"/>
                </a:lnTo>
                <a:lnTo>
                  <a:pt x="3560" y="3862"/>
                </a:lnTo>
                <a:lnTo>
                  <a:pt x="3554" y="3858"/>
                </a:lnTo>
                <a:lnTo>
                  <a:pt x="3550" y="3856"/>
                </a:lnTo>
                <a:lnTo>
                  <a:pt x="3544" y="3856"/>
                </a:lnTo>
                <a:lnTo>
                  <a:pt x="3536" y="3854"/>
                </a:lnTo>
                <a:lnTo>
                  <a:pt x="3534" y="3854"/>
                </a:lnTo>
                <a:lnTo>
                  <a:pt x="3530" y="3850"/>
                </a:lnTo>
                <a:lnTo>
                  <a:pt x="3526" y="3846"/>
                </a:lnTo>
                <a:lnTo>
                  <a:pt x="3524" y="3846"/>
                </a:lnTo>
                <a:lnTo>
                  <a:pt x="3520" y="3846"/>
                </a:lnTo>
                <a:lnTo>
                  <a:pt x="3514" y="3848"/>
                </a:lnTo>
                <a:lnTo>
                  <a:pt x="3510" y="3848"/>
                </a:lnTo>
                <a:lnTo>
                  <a:pt x="3506" y="3844"/>
                </a:lnTo>
                <a:lnTo>
                  <a:pt x="3502" y="3840"/>
                </a:lnTo>
                <a:lnTo>
                  <a:pt x="3498" y="3842"/>
                </a:lnTo>
                <a:lnTo>
                  <a:pt x="3496" y="3844"/>
                </a:lnTo>
                <a:lnTo>
                  <a:pt x="3492" y="3846"/>
                </a:lnTo>
                <a:lnTo>
                  <a:pt x="3486" y="3846"/>
                </a:lnTo>
                <a:lnTo>
                  <a:pt x="3478" y="3844"/>
                </a:lnTo>
                <a:lnTo>
                  <a:pt x="3468" y="3842"/>
                </a:lnTo>
                <a:lnTo>
                  <a:pt x="3462" y="3842"/>
                </a:lnTo>
                <a:lnTo>
                  <a:pt x="3458" y="3842"/>
                </a:lnTo>
                <a:lnTo>
                  <a:pt x="3456" y="3844"/>
                </a:lnTo>
                <a:lnTo>
                  <a:pt x="3448" y="3850"/>
                </a:lnTo>
                <a:lnTo>
                  <a:pt x="3444" y="3850"/>
                </a:lnTo>
                <a:lnTo>
                  <a:pt x="3436" y="3852"/>
                </a:lnTo>
                <a:lnTo>
                  <a:pt x="3420" y="3854"/>
                </a:lnTo>
                <a:lnTo>
                  <a:pt x="3406" y="3858"/>
                </a:lnTo>
                <a:lnTo>
                  <a:pt x="3394" y="3864"/>
                </a:lnTo>
                <a:lnTo>
                  <a:pt x="3386" y="3870"/>
                </a:lnTo>
                <a:lnTo>
                  <a:pt x="3380" y="3876"/>
                </a:lnTo>
                <a:lnTo>
                  <a:pt x="3376" y="3882"/>
                </a:lnTo>
                <a:lnTo>
                  <a:pt x="3374" y="3888"/>
                </a:lnTo>
                <a:lnTo>
                  <a:pt x="3374" y="3894"/>
                </a:lnTo>
                <a:lnTo>
                  <a:pt x="3374" y="3898"/>
                </a:lnTo>
                <a:lnTo>
                  <a:pt x="3372" y="3902"/>
                </a:lnTo>
                <a:lnTo>
                  <a:pt x="3364" y="3904"/>
                </a:lnTo>
                <a:lnTo>
                  <a:pt x="3354" y="3904"/>
                </a:lnTo>
                <a:lnTo>
                  <a:pt x="3352" y="3906"/>
                </a:lnTo>
                <a:lnTo>
                  <a:pt x="3352" y="3910"/>
                </a:lnTo>
                <a:lnTo>
                  <a:pt x="3352" y="3912"/>
                </a:lnTo>
                <a:lnTo>
                  <a:pt x="3354" y="3912"/>
                </a:lnTo>
                <a:lnTo>
                  <a:pt x="3360" y="3914"/>
                </a:lnTo>
                <a:lnTo>
                  <a:pt x="3364" y="3912"/>
                </a:lnTo>
                <a:lnTo>
                  <a:pt x="3366" y="3912"/>
                </a:lnTo>
                <a:lnTo>
                  <a:pt x="3368" y="3914"/>
                </a:lnTo>
                <a:lnTo>
                  <a:pt x="3370" y="3916"/>
                </a:lnTo>
                <a:lnTo>
                  <a:pt x="3374" y="3914"/>
                </a:lnTo>
                <a:lnTo>
                  <a:pt x="3380" y="3910"/>
                </a:lnTo>
                <a:lnTo>
                  <a:pt x="3390" y="3908"/>
                </a:lnTo>
                <a:lnTo>
                  <a:pt x="3390" y="3904"/>
                </a:lnTo>
                <a:lnTo>
                  <a:pt x="3394" y="3900"/>
                </a:lnTo>
                <a:lnTo>
                  <a:pt x="3402" y="3894"/>
                </a:lnTo>
                <a:lnTo>
                  <a:pt x="3414" y="3890"/>
                </a:lnTo>
                <a:lnTo>
                  <a:pt x="3420" y="3886"/>
                </a:lnTo>
                <a:lnTo>
                  <a:pt x="3426" y="3880"/>
                </a:lnTo>
                <a:lnTo>
                  <a:pt x="3434" y="3876"/>
                </a:lnTo>
                <a:lnTo>
                  <a:pt x="3442" y="3872"/>
                </a:lnTo>
                <a:lnTo>
                  <a:pt x="3450" y="3870"/>
                </a:lnTo>
                <a:lnTo>
                  <a:pt x="3460" y="3868"/>
                </a:lnTo>
                <a:lnTo>
                  <a:pt x="3474" y="3870"/>
                </a:lnTo>
                <a:lnTo>
                  <a:pt x="3482" y="3874"/>
                </a:lnTo>
                <a:lnTo>
                  <a:pt x="3484" y="3876"/>
                </a:lnTo>
                <a:lnTo>
                  <a:pt x="3482" y="3876"/>
                </a:lnTo>
                <a:lnTo>
                  <a:pt x="3474" y="3880"/>
                </a:lnTo>
                <a:lnTo>
                  <a:pt x="3466" y="3884"/>
                </a:lnTo>
                <a:lnTo>
                  <a:pt x="3466" y="3886"/>
                </a:lnTo>
                <a:lnTo>
                  <a:pt x="3468" y="3888"/>
                </a:lnTo>
                <a:lnTo>
                  <a:pt x="3478" y="3894"/>
                </a:lnTo>
                <a:lnTo>
                  <a:pt x="3486" y="3898"/>
                </a:lnTo>
                <a:lnTo>
                  <a:pt x="3496" y="3900"/>
                </a:lnTo>
                <a:lnTo>
                  <a:pt x="3514" y="3900"/>
                </a:lnTo>
                <a:lnTo>
                  <a:pt x="3524" y="3900"/>
                </a:lnTo>
                <a:lnTo>
                  <a:pt x="3532" y="3902"/>
                </a:lnTo>
                <a:lnTo>
                  <a:pt x="3536" y="3904"/>
                </a:lnTo>
                <a:lnTo>
                  <a:pt x="3540" y="3908"/>
                </a:lnTo>
                <a:lnTo>
                  <a:pt x="3550" y="3914"/>
                </a:lnTo>
                <a:lnTo>
                  <a:pt x="3556" y="3918"/>
                </a:lnTo>
                <a:lnTo>
                  <a:pt x="3564" y="3922"/>
                </a:lnTo>
                <a:lnTo>
                  <a:pt x="3574" y="3924"/>
                </a:lnTo>
                <a:lnTo>
                  <a:pt x="3580" y="3926"/>
                </a:lnTo>
                <a:lnTo>
                  <a:pt x="3592" y="3926"/>
                </a:lnTo>
                <a:lnTo>
                  <a:pt x="3596" y="3926"/>
                </a:lnTo>
                <a:lnTo>
                  <a:pt x="3600" y="3926"/>
                </a:lnTo>
                <a:lnTo>
                  <a:pt x="3604" y="3930"/>
                </a:lnTo>
                <a:lnTo>
                  <a:pt x="3606" y="3934"/>
                </a:lnTo>
                <a:lnTo>
                  <a:pt x="3610" y="3946"/>
                </a:lnTo>
                <a:lnTo>
                  <a:pt x="3616" y="3958"/>
                </a:lnTo>
                <a:lnTo>
                  <a:pt x="3620" y="3962"/>
                </a:lnTo>
                <a:lnTo>
                  <a:pt x="3624" y="3966"/>
                </a:lnTo>
                <a:lnTo>
                  <a:pt x="3630" y="3968"/>
                </a:lnTo>
                <a:lnTo>
                  <a:pt x="3638" y="3968"/>
                </a:lnTo>
                <a:lnTo>
                  <a:pt x="3654" y="3970"/>
                </a:lnTo>
                <a:lnTo>
                  <a:pt x="3662" y="3972"/>
                </a:lnTo>
                <a:lnTo>
                  <a:pt x="3666" y="3974"/>
                </a:lnTo>
                <a:lnTo>
                  <a:pt x="3668" y="3978"/>
                </a:lnTo>
                <a:lnTo>
                  <a:pt x="3668" y="3982"/>
                </a:lnTo>
                <a:lnTo>
                  <a:pt x="3666" y="3986"/>
                </a:lnTo>
                <a:lnTo>
                  <a:pt x="3662" y="3990"/>
                </a:lnTo>
                <a:lnTo>
                  <a:pt x="3648" y="4000"/>
                </a:lnTo>
                <a:lnTo>
                  <a:pt x="3642" y="4004"/>
                </a:lnTo>
                <a:lnTo>
                  <a:pt x="3640" y="4008"/>
                </a:lnTo>
                <a:lnTo>
                  <a:pt x="3642" y="4010"/>
                </a:lnTo>
                <a:lnTo>
                  <a:pt x="3648" y="4010"/>
                </a:lnTo>
                <a:lnTo>
                  <a:pt x="3678" y="4008"/>
                </a:lnTo>
                <a:lnTo>
                  <a:pt x="3698" y="4006"/>
                </a:lnTo>
                <a:lnTo>
                  <a:pt x="3712" y="4006"/>
                </a:lnTo>
                <a:lnTo>
                  <a:pt x="3720" y="4008"/>
                </a:lnTo>
                <a:lnTo>
                  <a:pt x="3728" y="4010"/>
                </a:lnTo>
                <a:lnTo>
                  <a:pt x="3732" y="4012"/>
                </a:lnTo>
                <a:lnTo>
                  <a:pt x="3736" y="4012"/>
                </a:lnTo>
                <a:lnTo>
                  <a:pt x="3742" y="4012"/>
                </a:lnTo>
                <a:lnTo>
                  <a:pt x="3752" y="4008"/>
                </a:lnTo>
                <a:close/>
                <a:moveTo>
                  <a:pt x="3664" y="4082"/>
                </a:moveTo>
                <a:lnTo>
                  <a:pt x="3664" y="4082"/>
                </a:lnTo>
                <a:lnTo>
                  <a:pt x="3646" y="4080"/>
                </a:lnTo>
                <a:lnTo>
                  <a:pt x="3634" y="4078"/>
                </a:lnTo>
                <a:lnTo>
                  <a:pt x="3624" y="4082"/>
                </a:lnTo>
                <a:lnTo>
                  <a:pt x="3618" y="4088"/>
                </a:lnTo>
                <a:lnTo>
                  <a:pt x="3616" y="4092"/>
                </a:lnTo>
                <a:lnTo>
                  <a:pt x="3614" y="4094"/>
                </a:lnTo>
                <a:lnTo>
                  <a:pt x="3626" y="4098"/>
                </a:lnTo>
                <a:lnTo>
                  <a:pt x="3632" y="4102"/>
                </a:lnTo>
                <a:lnTo>
                  <a:pt x="3634" y="4106"/>
                </a:lnTo>
                <a:lnTo>
                  <a:pt x="3638" y="4110"/>
                </a:lnTo>
                <a:lnTo>
                  <a:pt x="3652" y="4116"/>
                </a:lnTo>
                <a:lnTo>
                  <a:pt x="3664" y="4118"/>
                </a:lnTo>
                <a:lnTo>
                  <a:pt x="3668" y="4116"/>
                </a:lnTo>
                <a:lnTo>
                  <a:pt x="3670" y="4112"/>
                </a:lnTo>
                <a:lnTo>
                  <a:pt x="3672" y="4110"/>
                </a:lnTo>
                <a:lnTo>
                  <a:pt x="3676" y="4110"/>
                </a:lnTo>
                <a:lnTo>
                  <a:pt x="3688" y="4110"/>
                </a:lnTo>
                <a:lnTo>
                  <a:pt x="3696" y="4112"/>
                </a:lnTo>
                <a:lnTo>
                  <a:pt x="3702" y="4112"/>
                </a:lnTo>
                <a:lnTo>
                  <a:pt x="3702" y="4110"/>
                </a:lnTo>
                <a:lnTo>
                  <a:pt x="3702" y="4106"/>
                </a:lnTo>
                <a:lnTo>
                  <a:pt x="3698" y="4100"/>
                </a:lnTo>
                <a:lnTo>
                  <a:pt x="3692" y="4092"/>
                </a:lnTo>
                <a:lnTo>
                  <a:pt x="3680" y="4088"/>
                </a:lnTo>
                <a:lnTo>
                  <a:pt x="3664" y="4082"/>
                </a:lnTo>
                <a:close/>
                <a:moveTo>
                  <a:pt x="4016" y="4068"/>
                </a:moveTo>
                <a:lnTo>
                  <a:pt x="4016" y="4068"/>
                </a:lnTo>
                <a:lnTo>
                  <a:pt x="4004" y="4058"/>
                </a:lnTo>
                <a:lnTo>
                  <a:pt x="4000" y="4054"/>
                </a:lnTo>
                <a:lnTo>
                  <a:pt x="3992" y="4054"/>
                </a:lnTo>
                <a:lnTo>
                  <a:pt x="3982" y="4054"/>
                </a:lnTo>
                <a:lnTo>
                  <a:pt x="3976" y="4052"/>
                </a:lnTo>
                <a:lnTo>
                  <a:pt x="3974" y="4050"/>
                </a:lnTo>
                <a:lnTo>
                  <a:pt x="3974" y="4048"/>
                </a:lnTo>
                <a:lnTo>
                  <a:pt x="3976" y="4046"/>
                </a:lnTo>
                <a:lnTo>
                  <a:pt x="3980" y="4046"/>
                </a:lnTo>
                <a:lnTo>
                  <a:pt x="3988" y="4042"/>
                </a:lnTo>
                <a:lnTo>
                  <a:pt x="3988" y="4040"/>
                </a:lnTo>
                <a:lnTo>
                  <a:pt x="3982" y="4038"/>
                </a:lnTo>
                <a:lnTo>
                  <a:pt x="3970" y="4040"/>
                </a:lnTo>
                <a:lnTo>
                  <a:pt x="3964" y="4040"/>
                </a:lnTo>
                <a:lnTo>
                  <a:pt x="3960" y="4038"/>
                </a:lnTo>
                <a:lnTo>
                  <a:pt x="3958" y="4034"/>
                </a:lnTo>
                <a:lnTo>
                  <a:pt x="3956" y="4030"/>
                </a:lnTo>
                <a:lnTo>
                  <a:pt x="3954" y="4024"/>
                </a:lnTo>
                <a:lnTo>
                  <a:pt x="3952" y="4022"/>
                </a:lnTo>
                <a:lnTo>
                  <a:pt x="3948" y="4022"/>
                </a:lnTo>
                <a:lnTo>
                  <a:pt x="3944" y="4022"/>
                </a:lnTo>
                <a:lnTo>
                  <a:pt x="3938" y="4022"/>
                </a:lnTo>
                <a:lnTo>
                  <a:pt x="3928" y="4016"/>
                </a:lnTo>
                <a:lnTo>
                  <a:pt x="3918" y="4010"/>
                </a:lnTo>
                <a:lnTo>
                  <a:pt x="3914" y="4008"/>
                </a:lnTo>
                <a:lnTo>
                  <a:pt x="3910" y="4010"/>
                </a:lnTo>
                <a:lnTo>
                  <a:pt x="3906" y="4012"/>
                </a:lnTo>
                <a:lnTo>
                  <a:pt x="3902" y="4012"/>
                </a:lnTo>
                <a:lnTo>
                  <a:pt x="3894" y="4010"/>
                </a:lnTo>
                <a:lnTo>
                  <a:pt x="3888" y="4012"/>
                </a:lnTo>
                <a:lnTo>
                  <a:pt x="3886" y="4014"/>
                </a:lnTo>
                <a:lnTo>
                  <a:pt x="3882" y="4018"/>
                </a:lnTo>
                <a:lnTo>
                  <a:pt x="3874" y="4016"/>
                </a:lnTo>
                <a:lnTo>
                  <a:pt x="3868" y="4018"/>
                </a:lnTo>
                <a:lnTo>
                  <a:pt x="3862" y="4016"/>
                </a:lnTo>
                <a:lnTo>
                  <a:pt x="3856" y="4014"/>
                </a:lnTo>
                <a:lnTo>
                  <a:pt x="3844" y="4008"/>
                </a:lnTo>
                <a:lnTo>
                  <a:pt x="3830" y="4008"/>
                </a:lnTo>
                <a:lnTo>
                  <a:pt x="3818" y="4010"/>
                </a:lnTo>
                <a:lnTo>
                  <a:pt x="3814" y="4012"/>
                </a:lnTo>
                <a:lnTo>
                  <a:pt x="3812" y="4016"/>
                </a:lnTo>
                <a:lnTo>
                  <a:pt x="3814" y="4022"/>
                </a:lnTo>
                <a:lnTo>
                  <a:pt x="3818" y="4024"/>
                </a:lnTo>
                <a:lnTo>
                  <a:pt x="3826" y="4024"/>
                </a:lnTo>
                <a:lnTo>
                  <a:pt x="3838" y="4028"/>
                </a:lnTo>
                <a:lnTo>
                  <a:pt x="3842" y="4032"/>
                </a:lnTo>
                <a:lnTo>
                  <a:pt x="3844" y="4034"/>
                </a:lnTo>
                <a:lnTo>
                  <a:pt x="3842" y="4040"/>
                </a:lnTo>
                <a:lnTo>
                  <a:pt x="3840" y="4044"/>
                </a:lnTo>
                <a:lnTo>
                  <a:pt x="3842" y="4050"/>
                </a:lnTo>
                <a:lnTo>
                  <a:pt x="3844" y="4056"/>
                </a:lnTo>
                <a:lnTo>
                  <a:pt x="3852" y="4064"/>
                </a:lnTo>
                <a:lnTo>
                  <a:pt x="3860" y="4074"/>
                </a:lnTo>
                <a:lnTo>
                  <a:pt x="3860" y="4076"/>
                </a:lnTo>
                <a:lnTo>
                  <a:pt x="3854" y="4076"/>
                </a:lnTo>
                <a:lnTo>
                  <a:pt x="3846" y="4078"/>
                </a:lnTo>
                <a:lnTo>
                  <a:pt x="3838" y="4080"/>
                </a:lnTo>
                <a:lnTo>
                  <a:pt x="3828" y="4080"/>
                </a:lnTo>
                <a:lnTo>
                  <a:pt x="3804" y="4076"/>
                </a:lnTo>
                <a:lnTo>
                  <a:pt x="3794" y="4074"/>
                </a:lnTo>
                <a:lnTo>
                  <a:pt x="3784" y="4072"/>
                </a:lnTo>
                <a:lnTo>
                  <a:pt x="3776" y="4074"/>
                </a:lnTo>
                <a:lnTo>
                  <a:pt x="3774" y="4074"/>
                </a:lnTo>
                <a:lnTo>
                  <a:pt x="3772" y="4078"/>
                </a:lnTo>
                <a:lnTo>
                  <a:pt x="3770" y="4082"/>
                </a:lnTo>
                <a:lnTo>
                  <a:pt x="3770" y="4086"/>
                </a:lnTo>
                <a:lnTo>
                  <a:pt x="3772" y="4088"/>
                </a:lnTo>
                <a:lnTo>
                  <a:pt x="3776" y="4090"/>
                </a:lnTo>
                <a:lnTo>
                  <a:pt x="3784" y="4092"/>
                </a:lnTo>
                <a:lnTo>
                  <a:pt x="3788" y="4094"/>
                </a:lnTo>
                <a:lnTo>
                  <a:pt x="3794" y="4100"/>
                </a:lnTo>
                <a:lnTo>
                  <a:pt x="3798" y="4102"/>
                </a:lnTo>
                <a:lnTo>
                  <a:pt x="3800" y="4102"/>
                </a:lnTo>
                <a:lnTo>
                  <a:pt x="3802" y="4098"/>
                </a:lnTo>
                <a:lnTo>
                  <a:pt x="3804" y="4094"/>
                </a:lnTo>
                <a:lnTo>
                  <a:pt x="3808" y="4094"/>
                </a:lnTo>
                <a:lnTo>
                  <a:pt x="3816" y="4094"/>
                </a:lnTo>
                <a:lnTo>
                  <a:pt x="3828" y="4098"/>
                </a:lnTo>
                <a:lnTo>
                  <a:pt x="3836" y="4100"/>
                </a:lnTo>
                <a:lnTo>
                  <a:pt x="3842" y="4098"/>
                </a:lnTo>
                <a:lnTo>
                  <a:pt x="3852" y="4096"/>
                </a:lnTo>
                <a:lnTo>
                  <a:pt x="3858" y="4096"/>
                </a:lnTo>
                <a:lnTo>
                  <a:pt x="3864" y="4096"/>
                </a:lnTo>
                <a:lnTo>
                  <a:pt x="3872" y="4098"/>
                </a:lnTo>
                <a:lnTo>
                  <a:pt x="3882" y="4102"/>
                </a:lnTo>
                <a:lnTo>
                  <a:pt x="3886" y="4110"/>
                </a:lnTo>
                <a:lnTo>
                  <a:pt x="3890" y="4114"/>
                </a:lnTo>
                <a:lnTo>
                  <a:pt x="3894" y="4118"/>
                </a:lnTo>
                <a:lnTo>
                  <a:pt x="3896" y="4118"/>
                </a:lnTo>
                <a:lnTo>
                  <a:pt x="3900" y="4116"/>
                </a:lnTo>
                <a:lnTo>
                  <a:pt x="3902" y="4112"/>
                </a:lnTo>
                <a:lnTo>
                  <a:pt x="3908" y="4104"/>
                </a:lnTo>
                <a:lnTo>
                  <a:pt x="3914" y="4094"/>
                </a:lnTo>
                <a:lnTo>
                  <a:pt x="3920" y="4086"/>
                </a:lnTo>
                <a:lnTo>
                  <a:pt x="3926" y="4084"/>
                </a:lnTo>
                <a:lnTo>
                  <a:pt x="3928" y="4086"/>
                </a:lnTo>
                <a:lnTo>
                  <a:pt x="3930" y="4088"/>
                </a:lnTo>
                <a:lnTo>
                  <a:pt x="3932" y="4094"/>
                </a:lnTo>
                <a:lnTo>
                  <a:pt x="3936" y="4096"/>
                </a:lnTo>
                <a:lnTo>
                  <a:pt x="3942" y="4092"/>
                </a:lnTo>
                <a:lnTo>
                  <a:pt x="3952" y="4086"/>
                </a:lnTo>
                <a:lnTo>
                  <a:pt x="3956" y="4084"/>
                </a:lnTo>
                <a:lnTo>
                  <a:pt x="3964" y="4082"/>
                </a:lnTo>
                <a:lnTo>
                  <a:pt x="3978" y="4082"/>
                </a:lnTo>
                <a:lnTo>
                  <a:pt x="3992" y="4084"/>
                </a:lnTo>
                <a:lnTo>
                  <a:pt x="4002" y="4090"/>
                </a:lnTo>
                <a:lnTo>
                  <a:pt x="4004" y="4090"/>
                </a:lnTo>
                <a:lnTo>
                  <a:pt x="4008" y="4090"/>
                </a:lnTo>
                <a:lnTo>
                  <a:pt x="4012" y="4088"/>
                </a:lnTo>
                <a:lnTo>
                  <a:pt x="4016" y="4086"/>
                </a:lnTo>
                <a:lnTo>
                  <a:pt x="4018" y="4082"/>
                </a:lnTo>
                <a:lnTo>
                  <a:pt x="4018" y="4078"/>
                </a:lnTo>
                <a:lnTo>
                  <a:pt x="4018" y="4072"/>
                </a:lnTo>
                <a:lnTo>
                  <a:pt x="4016" y="4068"/>
                </a:lnTo>
                <a:close/>
                <a:moveTo>
                  <a:pt x="4132" y="7870"/>
                </a:moveTo>
                <a:lnTo>
                  <a:pt x="4132" y="7870"/>
                </a:lnTo>
                <a:lnTo>
                  <a:pt x="4124" y="7870"/>
                </a:lnTo>
                <a:lnTo>
                  <a:pt x="4118" y="7870"/>
                </a:lnTo>
                <a:lnTo>
                  <a:pt x="4112" y="7866"/>
                </a:lnTo>
                <a:lnTo>
                  <a:pt x="4106" y="7864"/>
                </a:lnTo>
                <a:lnTo>
                  <a:pt x="4098" y="7860"/>
                </a:lnTo>
                <a:lnTo>
                  <a:pt x="4090" y="7854"/>
                </a:lnTo>
                <a:lnTo>
                  <a:pt x="4080" y="7846"/>
                </a:lnTo>
                <a:lnTo>
                  <a:pt x="4070" y="7840"/>
                </a:lnTo>
                <a:lnTo>
                  <a:pt x="4058" y="7832"/>
                </a:lnTo>
                <a:lnTo>
                  <a:pt x="4046" y="7820"/>
                </a:lnTo>
                <a:lnTo>
                  <a:pt x="4034" y="7808"/>
                </a:lnTo>
                <a:lnTo>
                  <a:pt x="4028" y="7798"/>
                </a:lnTo>
                <a:lnTo>
                  <a:pt x="4026" y="7788"/>
                </a:lnTo>
                <a:lnTo>
                  <a:pt x="4024" y="7786"/>
                </a:lnTo>
                <a:lnTo>
                  <a:pt x="4020" y="7786"/>
                </a:lnTo>
                <a:lnTo>
                  <a:pt x="4012" y="7784"/>
                </a:lnTo>
                <a:lnTo>
                  <a:pt x="4010" y="7782"/>
                </a:lnTo>
                <a:lnTo>
                  <a:pt x="4010" y="7778"/>
                </a:lnTo>
                <a:lnTo>
                  <a:pt x="4012" y="7774"/>
                </a:lnTo>
                <a:lnTo>
                  <a:pt x="4018" y="7768"/>
                </a:lnTo>
                <a:lnTo>
                  <a:pt x="4018" y="7770"/>
                </a:lnTo>
                <a:lnTo>
                  <a:pt x="4020" y="7772"/>
                </a:lnTo>
                <a:lnTo>
                  <a:pt x="4022" y="7776"/>
                </a:lnTo>
                <a:lnTo>
                  <a:pt x="4024" y="7776"/>
                </a:lnTo>
                <a:lnTo>
                  <a:pt x="4024" y="7772"/>
                </a:lnTo>
                <a:lnTo>
                  <a:pt x="4020" y="7762"/>
                </a:lnTo>
                <a:lnTo>
                  <a:pt x="4006" y="7748"/>
                </a:lnTo>
                <a:lnTo>
                  <a:pt x="4006" y="7884"/>
                </a:lnTo>
                <a:lnTo>
                  <a:pt x="4014" y="7882"/>
                </a:lnTo>
                <a:lnTo>
                  <a:pt x="4016" y="7880"/>
                </a:lnTo>
                <a:lnTo>
                  <a:pt x="4020" y="7878"/>
                </a:lnTo>
                <a:lnTo>
                  <a:pt x="4026" y="7880"/>
                </a:lnTo>
                <a:lnTo>
                  <a:pt x="4040" y="7884"/>
                </a:lnTo>
                <a:lnTo>
                  <a:pt x="4056" y="7886"/>
                </a:lnTo>
                <a:lnTo>
                  <a:pt x="4074" y="7888"/>
                </a:lnTo>
                <a:lnTo>
                  <a:pt x="4080" y="7888"/>
                </a:lnTo>
                <a:lnTo>
                  <a:pt x="4084" y="7890"/>
                </a:lnTo>
                <a:lnTo>
                  <a:pt x="4092" y="7894"/>
                </a:lnTo>
                <a:lnTo>
                  <a:pt x="4096" y="7894"/>
                </a:lnTo>
                <a:lnTo>
                  <a:pt x="4098" y="7892"/>
                </a:lnTo>
                <a:lnTo>
                  <a:pt x="4104" y="7890"/>
                </a:lnTo>
                <a:lnTo>
                  <a:pt x="4110" y="7888"/>
                </a:lnTo>
                <a:lnTo>
                  <a:pt x="4116" y="7886"/>
                </a:lnTo>
                <a:lnTo>
                  <a:pt x="4120" y="7884"/>
                </a:lnTo>
                <a:lnTo>
                  <a:pt x="4122" y="7886"/>
                </a:lnTo>
                <a:lnTo>
                  <a:pt x="4126" y="7890"/>
                </a:lnTo>
                <a:lnTo>
                  <a:pt x="4128" y="7888"/>
                </a:lnTo>
                <a:lnTo>
                  <a:pt x="4130" y="7886"/>
                </a:lnTo>
                <a:lnTo>
                  <a:pt x="4134" y="7886"/>
                </a:lnTo>
                <a:lnTo>
                  <a:pt x="4136" y="7886"/>
                </a:lnTo>
                <a:lnTo>
                  <a:pt x="4138" y="7886"/>
                </a:lnTo>
                <a:lnTo>
                  <a:pt x="4144" y="7878"/>
                </a:lnTo>
                <a:lnTo>
                  <a:pt x="4146" y="7872"/>
                </a:lnTo>
                <a:lnTo>
                  <a:pt x="4144" y="7868"/>
                </a:lnTo>
                <a:lnTo>
                  <a:pt x="4140" y="7868"/>
                </a:lnTo>
                <a:lnTo>
                  <a:pt x="4132" y="7870"/>
                </a:lnTo>
                <a:close/>
                <a:moveTo>
                  <a:pt x="3988" y="7750"/>
                </a:moveTo>
                <a:lnTo>
                  <a:pt x="3988" y="7750"/>
                </a:lnTo>
                <a:lnTo>
                  <a:pt x="3984" y="7750"/>
                </a:lnTo>
                <a:lnTo>
                  <a:pt x="3982" y="7748"/>
                </a:lnTo>
                <a:lnTo>
                  <a:pt x="3980" y="7742"/>
                </a:lnTo>
                <a:lnTo>
                  <a:pt x="3976" y="7738"/>
                </a:lnTo>
                <a:lnTo>
                  <a:pt x="3974" y="7736"/>
                </a:lnTo>
                <a:lnTo>
                  <a:pt x="3972" y="7736"/>
                </a:lnTo>
                <a:lnTo>
                  <a:pt x="3968" y="7740"/>
                </a:lnTo>
                <a:lnTo>
                  <a:pt x="3964" y="7746"/>
                </a:lnTo>
                <a:lnTo>
                  <a:pt x="3960" y="7754"/>
                </a:lnTo>
                <a:lnTo>
                  <a:pt x="3956" y="7758"/>
                </a:lnTo>
                <a:lnTo>
                  <a:pt x="3952" y="7758"/>
                </a:lnTo>
                <a:lnTo>
                  <a:pt x="3946" y="7754"/>
                </a:lnTo>
                <a:lnTo>
                  <a:pt x="3942" y="7752"/>
                </a:lnTo>
                <a:lnTo>
                  <a:pt x="3936" y="7752"/>
                </a:lnTo>
                <a:lnTo>
                  <a:pt x="3934" y="7754"/>
                </a:lnTo>
                <a:lnTo>
                  <a:pt x="3936" y="7756"/>
                </a:lnTo>
                <a:lnTo>
                  <a:pt x="3938" y="7756"/>
                </a:lnTo>
                <a:lnTo>
                  <a:pt x="3940" y="7760"/>
                </a:lnTo>
                <a:lnTo>
                  <a:pt x="3940" y="7762"/>
                </a:lnTo>
                <a:lnTo>
                  <a:pt x="3944" y="7762"/>
                </a:lnTo>
                <a:lnTo>
                  <a:pt x="3946" y="7764"/>
                </a:lnTo>
                <a:lnTo>
                  <a:pt x="3946" y="7768"/>
                </a:lnTo>
                <a:lnTo>
                  <a:pt x="3942" y="7772"/>
                </a:lnTo>
                <a:lnTo>
                  <a:pt x="3940" y="7772"/>
                </a:lnTo>
                <a:lnTo>
                  <a:pt x="3936" y="7766"/>
                </a:lnTo>
                <a:lnTo>
                  <a:pt x="3934" y="7766"/>
                </a:lnTo>
                <a:lnTo>
                  <a:pt x="3932" y="7772"/>
                </a:lnTo>
                <a:lnTo>
                  <a:pt x="3932" y="7782"/>
                </a:lnTo>
                <a:lnTo>
                  <a:pt x="3936" y="7792"/>
                </a:lnTo>
                <a:lnTo>
                  <a:pt x="3940" y="7796"/>
                </a:lnTo>
                <a:lnTo>
                  <a:pt x="3944" y="7796"/>
                </a:lnTo>
                <a:lnTo>
                  <a:pt x="3958" y="7792"/>
                </a:lnTo>
                <a:lnTo>
                  <a:pt x="3970" y="7788"/>
                </a:lnTo>
                <a:lnTo>
                  <a:pt x="3974" y="7788"/>
                </a:lnTo>
                <a:lnTo>
                  <a:pt x="3978" y="7792"/>
                </a:lnTo>
                <a:lnTo>
                  <a:pt x="3978" y="7798"/>
                </a:lnTo>
                <a:lnTo>
                  <a:pt x="3974" y="7802"/>
                </a:lnTo>
                <a:lnTo>
                  <a:pt x="3968" y="7804"/>
                </a:lnTo>
                <a:lnTo>
                  <a:pt x="3962" y="7806"/>
                </a:lnTo>
                <a:lnTo>
                  <a:pt x="3948" y="7812"/>
                </a:lnTo>
                <a:lnTo>
                  <a:pt x="3944" y="7816"/>
                </a:lnTo>
                <a:lnTo>
                  <a:pt x="3944" y="7822"/>
                </a:lnTo>
                <a:lnTo>
                  <a:pt x="3948" y="7830"/>
                </a:lnTo>
                <a:lnTo>
                  <a:pt x="3954" y="7836"/>
                </a:lnTo>
                <a:lnTo>
                  <a:pt x="3962" y="7842"/>
                </a:lnTo>
                <a:lnTo>
                  <a:pt x="3970" y="7846"/>
                </a:lnTo>
                <a:lnTo>
                  <a:pt x="3984" y="7852"/>
                </a:lnTo>
                <a:lnTo>
                  <a:pt x="3990" y="7856"/>
                </a:lnTo>
                <a:lnTo>
                  <a:pt x="3992" y="7858"/>
                </a:lnTo>
                <a:lnTo>
                  <a:pt x="3978" y="7856"/>
                </a:lnTo>
                <a:lnTo>
                  <a:pt x="3972" y="7852"/>
                </a:lnTo>
                <a:lnTo>
                  <a:pt x="3970" y="7850"/>
                </a:lnTo>
                <a:lnTo>
                  <a:pt x="3968" y="7852"/>
                </a:lnTo>
                <a:lnTo>
                  <a:pt x="3966" y="7854"/>
                </a:lnTo>
                <a:lnTo>
                  <a:pt x="3964" y="7852"/>
                </a:lnTo>
                <a:lnTo>
                  <a:pt x="3958" y="7850"/>
                </a:lnTo>
                <a:lnTo>
                  <a:pt x="3952" y="7846"/>
                </a:lnTo>
                <a:lnTo>
                  <a:pt x="3950" y="7846"/>
                </a:lnTo>
                <a:lnTo>
                  <a:pt x="3946" y="7848"/>
                </a:lnTo>
                <a:lnTo>
                  <a:pt x="3944" y="7850"/>
                </a:lnTo>
                <a:lnTo>
                  <a:pt x="3944" y="7852"/>
                </a:lnTo>
                <a:lnTo>
                  <a:pt x="3946" y="7854"/>
                </a:lnTo>
                <a:lnTo>
                  <a:pt x="3946" y="7856"/>
                </a:lnTo>
                <a:lnTo>
                  <a:pt x="3944" y="7856"/>
                </a:lnTo>
                <a:lnTo>
                  <a:pt x="3938" y="7852"/>
                </a:lnTo>
                <a:lnTo>
                  <a:pt x="3918" y="7838"/>
                </a:lnTo>
                <a:lnTo>
                  <a:pt x="3914" y="7836"/>
                </a:lnTo>
                <a:lnTo>
                  <a:pt x="3912" y="7838"/>
                </a:lnTo>
                <a:lnTo>
                  <a:pt x="3914" y="7840"/>
                </a:lnTo>
                <a:lnTo>
                  <a:pt x="3920" y="7846"/>
                </a:lnTo>
                <a:lnTo>
                  <a:pt x="3924" y="7848"/>
                </a:lnTo>
                <a:lnTo>
                  <a:pt x="3926" y="7850"/>
                </a:lnTo>
                <a:lnTo>
                  <a:pt x="3922" y="7850"/>
                </a:lnTo>
                <a:lnTo>
                  <a:pt x="3918" y="7850"/>
                </a:lnTo>
                <a:lnTo>
                  <a:pt x="3914" y="7852"/>
                </a:lnTo>
                <a:lnTo>
                  <a:pt x="3912" y="7856"/>
                </a:lnTo>
                <a:lnTo>
                  <a:pt x="3910" y="7858"/>
                </a:lnTo>
                <a:lnTo>
                  <a:pt x="3904" y="7858"/>
                </a:lnTo>
                <a:lnTo>
                  <a:pt x="3896" y="7852"/>
                </a:lnTo>
                <a:lnTo>
                  <a:pt x="3894" y="7854"/>
                </a:lnTo>
                <a:lnTo>
                  <a:pt x="3894" y="7856"/>
                </a:lnTo>
                <a:lnTo>
                  <a:pt x="3892" y="7856"/>
                </a:lnTo>
                <a:lnTo>
                  <a:pt x="3888" y="7856"/>
                </a:lnTo>
                <a:lnTo>
                  <a:pt x="3878" y="7854"/>
                </a:lnTo>
                <a:lnTo>
                  <a:pt x="3876" y="7854"/>
                </a:lnTo>
                <a:lnTo>
                  <a:pt x="3876" y="7856"/>
                </a:lnTo>
                <a:lnTo>
                  <a:pt x="3880" y="7858"/>
                </a:lnTo>
                <a:lnTo>
                  <a:pt x="3882" y="7862"/>
                </a:lnTo>
                <a:lnTo>
                  <a:pt x="3882" y="7864"/>
                </a:lnTo>
                <a:lnTo>
                  <a:pt x="3878" y="7862"/>
                </a:lnTo>
                <a:lnTo>
                  <a:pt x="3874" y="7860"/>
                </a:lnTo>
                <a:lnTo>
                  <a:pt x="3870" y="7858"/>
                </a:lnTo>
                <a:lnTo>
                  <a:pt x="3870" y="7860"/>
                </a:lnTo>
                <a:lnTo>
                  <a:pt x="3872" y="7864"/>
                </a:lnTo>
                <a:lnTo>
                  <a:pt x="3872" y="7868"/>
                </a:lnTo>
                <a:lnTo>
                  <a:pt x="3872" y="7870"/>
                </a:lnTo>
                <a:lnTo>
                  <a:pt x="3876" y="7870"/>
                </a:lnTo>
                <a:lnTo>
                  <a:pt x="3880" y="7870"/>
                </a:lnTo>
                <a:lnTo>
                  <a:pt x="3886" y="7870"/>
                </a:lnTo>
                <a:lnTo>
                  <a:pt x="3890" y="7870"/>
                </a:lnTo>
                <a:lnTo>
                  <a:pt x="3890" y="7872"/>
                </a:lnTo>
                <a:lnTo>
                  <a:pt x="3892" y="7872"/>
                </a:lnTo>
                <a:lnTo>
                  <a:pt x="3894" y="7868"/>
                </a:lnTo>
                <a:lnTo>
                  <a:pt x="3896" y="7864"/>
                </a:lnTo>
                <a:lnTo>
                  <a:pt x="3898" y="7862"/>
                </a:lnTo>
                <a:lnTo>
                  <a:pt x="3900" y="7864"/>
                </a:lnTo>
                <a:lnTo>
                  <a:pt x="3900" y="7866"/>
                </a:lnTo>
                <a:lnTo>
                  <a:pt x="3898" y="7870"/>
                </a:lnTo>
                <a:lnTo>
                  <a:pt x="3900" y="7872"/>
                </a:lnTo>
                <a:lnTo>
                  <a:pt x="3904" y="7872"/>
                </a:lnTo>
                <a:lnTo>
                  <a:pt x="3908" y="7870"/>
                </a:lnTo>
                <a:lnTo>
                  <a:pt x="3912" y="7868"/>
                </a:lnTo>
                <a:lnTo>
                  <a:pt x="3910" y="7872"/>
                </a:lnTo>
                <a:lnTo>
                  <a:pt x="3908" y="7876"/>
                </a:lnTo>
                <a:lnTo>
                  <a:pt x="3910" y="7876"/>
                </a:lnTo>
                <a:lnTo>
                  <a:pt x="3912" y="7876"/>
                </a:lnTo>
                <a:lnTo>
                  <a:pt x="3916" y="7876"/>
                </a:lnTo>
                <a:lnTo>
                  <a:pt x="3918" y="7880"/>
                </a:lnTo>
                <a:lnTo>
                  <a:pt x="3920" y="7882"/>
                </a:lnTo>
                <a:lnTo>
                  <a:pt x="3924" y="7880"/>
                </a:lnTo>
                <a:lnTo>
                  <a:pt x="3928" y="7880"/>
                </a:lnTo>
                <a:lnTo>
                  <a:pt x="3934" y="7880"/>
                </a:lnTo>
                <a:lnTo>
                  <a:pt x="3938" y="7882"/>
                </a:lnTo>
                <a:lnTo>
                  <a:pt x="3942" y="7880"/>
                </a:lnTo>
                <a:lnTo>
                  <a:pt x="3946" y="7880"/>
                </a:lnTo>
                <a:lnTo>
                  <a:pt x="3948" y="7880"/>
                </a:lnTo>
                <a:lnTo>
                  <a:pt x="3950" y="7882"/>
                </a:lnTo>
                <a:lnTo>
                  <a:pt x="3952" y="7882"/>
                </a:lnTo>
                <a:lnTo>
                  <a:pt x="3954" y="7880"/>
                </a:lnTo>
                <a:lnTo>
                  <a:pt x="3958" y="7880"/>
                </a:lnTo>
                <a:lnTo>
                  <a:pt x="3960" y="7880"/>
                </a:lnTo>
                <a:lnTo>
                  <a:pt x="3962" y="7876"/>
                </a:lnTo>
                <a:lnTo>
                  <a:pt x="3962" y="7874"/>
                </a:lnTo>
                <a:lnTo>
                  <a:pt x="3964" y="7876"/>
                </a:lnTo>
                <a:lnTo>
                  <a:pt x="3966" y="7880"/>
                </a:lnTo>
                <a:lnTo>
                  <a:pt x="3974" y="7884"/>
                </a:lnTo>
                <a:lnTo>
                  <a:pt x="3994" y="7888"/>
                </a:lnTo>
                <a:lnTo>
                  <a:pt x="3998" y="7888"/>
                </a:lnTo>
                <a:lnTo>
                  <a:pt x="4000" y="7886"/>
                </a:lnTo>
                <a:lnTo>
                  <a:pt x="4000" y="7882"/>
                </a:lnTo>
                <a:lnTo>
                  <a:pt x="4002" y="7882"/>
                </a:lnTo>
                <a:lnTo>
                  <a:pt x="4006" y="7884"/>
                </a:lnTo>
                <a:lnTo>
                  <a:pt x="4006" y="7748"/>
                </a:lnTo>
                <a:lnTo>
                  <a:pt x="4004" y="7744"/>
                </a:lnTo>
                <a:lnTo>
                  <a:pt x="4000" y="7744"/>
                </a:lnTo>
                <a:lnTo>
                  <a:pt x="3996" y="7744"/>
                </a:lnTo>
                <a:lnTo>
                  <a:pt x="3992" y="7748"/>
                </a:lnTo>
                <a:lnTo>
                  <a:pt x="3988" y="7750"/>
                </a:lnTo>
                <a:close/>
                <a:moveTo>
                  <a:pt x="3812" y="7278"/>
                </a:moveTo>
                <a:lnTo>
                  <a:pt x="3812" y="7278"/>
                </a:lnTo>
                <a:lnTo>
                  <a:pt x="3812" y="7282"/>
                </a:lnTo>
                <a:lnTo>
                  <a:pt x="3814" y="7286"/>
                </a:lnTo>
                <a:lnTo>
                  <a:pt x="3814" y="7288"/>
                </a:lnTo>
                <a:lnTo>
                  <a:pt x="3814" y="7290"/>
                </a:lnTo>
                <a:lnTo>
                  <a:pt x="3816" y="7292"/>
                </a:lnTo>
                <a:lnTo>
                  <a:pt x="3820" y="7294"/>
                </a:lnTo>
                <a:lnTo>
                  <a:pt x="3826" y="7292"/>
                </a:lnTo>
                <a:lnTo>
                  <a:pt x="3834" y="7286"/>
                </a:lnTo>
                <a:lnTo>
                  <a:pt x="3836" y="7282"/>
                </a:lnTo>
                <a:lnTo>
                  <a:pt x="3834" y="7280"/>
                </a:lnTo>
                <a:lnTo>
                  <a:pt x="3834" y="7278"/>
                </a:lnTo>
                <a:lnTo>
                  <a:pt x="3838" y="7278"/>
                </a:lnTo>
                <a:lnTo>
                  <a:pt x="3840" y="7274"/>
                </a:lnTo>
                <a:lnTo>
                  <a:pt x="3840" y="7270"/>
                </a:lnTo>
                <a:lnTo>
                  <a:pt x="3834" y="7264"/>
                </a:lnTo>
                <a:lnTo>
                  <a:pt x="3830" y="7262"/>
                </a:lnTo>
                <a:lnTo>
                  <a:pt x="3826" y="7264"/>
                </a:lnTo>
                <a:lnTo>
                  <a:pt x="3826" y="7266"/>
                </a:lnTo>
                <a:lnTo>
                  <a:pt x="3824" y="7266"/>
                </a:lnTo>
                <a:lnTo>
                  <a:pt x="3822" y="7266"/>
                </a:lnTo>
                <a:lnTo>
                  <a:pt x="3820" y="7266"/>
                </a:lnTo>
                <a:lnTo>
                  <a:pt x="3820" y="7268"/>
                </a:lnTo>
                <a:lnTo>
                  <a:pt x="3820" y="7272"/>
                </a:lnTo>
                <a:lnTo>
                  <a:pt x="3818" y="7276"/>
                </a:lnTo>
                <a:lnTo>
                  <a:pt x="3816" y="7276"/>
                </a:lnTo>
                <a:lnTo>
                  <a:pt x="3814" y="7276"/>
                </a:lnTo>
                <a:lnTo>
                  <a:pt x="3812" y="7278"/>
                </a:lnTo>
                <a:close/>
                <a:moveTo>
                  <a:pt x="3916" y="7824"/>
                </a:moveTo>
                <a:lnTo>
                  <a:pt x="3916" y="7824"/>
                </a:lnTo>
                <a:lnTo>
                  <a:pt x="3916" y="7830"/>
                </a:lnTo>
                <a:lnTo>
                  <a:pt x="3920" y="7834"/>
                </a:lnTo>
                <a:lnTo>
                  <a:pt x="3938" y="7846"/>
                </a:lnTo>
                <a:lnTo>
                  <a:pt x="3940" y="7846"/>
                </a:lnTo>
                <a:lnTo>
                  <a:pt x="3940" y="7844"/>
                </a:lnTo>
                <a:lnTo>
                  <a:pt x="3938" y="7840"/>
                </a:lnTo>
                <a:lnTo>
                  <a:pt x="3934" y="7836"/>
                </a:lnTo>
                <a:lnTo>
                  <a:pt x="3926" y="7830"/>
                </a:lnTo>
                <a:lnTo>
                  <a:pt x="3928" y="7828"/>
                </a:lnTo>
                <a:lnTo>
                  <a:pt x="3930" y="7830"/>
                </a:lnTo>
                <a:lnTo>
                  <a:pt x="3936" y="7834"/>
                </a:lnTo>
                <a:lnTo>
                  <a:pt x="3938" y="7834"/>
                </a:lnTo>
                <a:lnTo>
                  <a:pt x="3938" y="7830"/>
                </a:lnTo>
                <a:lnTo>
                  <a:pt x="3936" y="7826"/>
                </a:lnTo>
                <a:lnTo>
                  <a:pt x="3932" y="7822"/>
                </a:lnTo>
                <a:lnTo>
                  <a:pt x="3932" y="7816"/>
                </a:lnTo>
                <a:lnTo>
                  <a:pt x="3932" y="7804"/>
                </a:lnTo>
                <a:lnTo>
                  <a:pt x="3930" y="7802"/>
                </a:lnTo>
                <a:lnTo>
                  <a:pt x="3926" y="7806"/>
                </a:lnTo>
                <a:lnTo>
                  <a:pt x="3924" y="7810"/>
                </a:lnTo>
                <a:lnTo>
                  <a:pt x="3922" y="7816"/>
                </a:lnTo>
                <a:lnTo>
                  <a:pt x="3924" y="7820"/>
                </a:lnTo>
                <a:lnTo>
                  <a:pt x="3922" y="7820"/>
                </a:lnTo>
                <a:lnTo>
                  <a:pt x="3918" y="7820"/>
                </a:lnTo>
                <a:lnTo>
                  <a:pt x="3916" y="7824"/>
                </a:lnTo>
                <a:close/>
                <a:moveTo>
                  <a:pt x="3886" y="7846"/>
                </a:moveTo>
                <a:lnTo>
                  <a:pt x="3886" y="7846"/>
                </a:lnTo>
                <a:lnTo>
                  <a:pt x="3890" y="7846"/>
                </a:lnTo>
                <a:lnTo>
                  <a:pt x="3890" y="7844"/>
                </a:lnTo>
                <a:lnTo>
                  <a:pt x="3892" y="7842"/>
                </a:lnTo>
                <a:lnTo>
                  <a:pt x="3896" y="7842"/>
                </a:lnTo>
                <a:lnTo>
                  <a:pt x="3898" y="7846"/>
                </a:lnTo>
                <a:lnTo>
                  <a:pt x="3898" y="7848"/>
                </a:lnTo>
                <a:lnTo>
                  <a:pt x="3898" y="7850"/>
                </a:lnTo>
                <a:lnTo>
                  <a:pt x="3904" y="7852"/>
                </a:lnTo>
                <a:lnTo>
                  <a:pt x="3906" y="7852"/>
                </a:lnTo>
                <a:lnTo>
                  <a:pt x="3908" y="7848"/>
                </a:lnTo>
                <a:lnTo>
                  <a:pt x="3908" y="7838"/>
                </a:lnTo>
                <a:lnTo>
                  <a:pt x="3908" y="7834"/>
                </a:lnTo>
                <a:lnTo>
                  <a:pt x="3904" y="7834"/>
                </a:lnTo>
                <a:lnTo>
                  <a:pt x="3902" y="7834"/>
                </a:lnTo>
                <a:lnTo>
                  <a:pt x="3900" y="7830"/>
                </a:lnTo>
                <a:lnTo>
                  <a:pt x="3896" y="7828"/>
                </a:lnTo>
                <a:lnTo>
                  <a:pt x="3890" y="7826"/>
                </a:lnTo>
                <a:lnTo>
                  <a:pt x="3886" y="7828"/>
                </a:lnTo>
                <a:lnTo>
                  <a:pt x="3884" y="7828"/>
                </a:lnTo>
                <a:lnTo>
                  <a:pt x="3886" y="7832"/>
                </a:lnTo>
                <a:lnTo>
                  <a:pt x="3886" y="7836"/>
                </a:lnTo>
                <a:lnTo>
                  <a:pt x="3884" y="7840"/>
                </a:lnTo>
                <a:lnTo>
                  <a:pt x="3884" y="7842"/>
                </a:lnTo>
                <a:lnTo>
                  <a:pt x="3886" y="7846"/>
                </a:lnTo>
                <a:close/>
                <a:moveTo>
                  <a:pt x="3794" y="7210"/>
                </a:moveTo>
                <a:lnTo>
                  <a:pt x="3794" y="7210"/>
                </a:lnTo>
                <a:lnTo>
                  <a:pt x="3800" y="7210"/>
                </a:lnTo>
                <a:lnTo>
                  <a:pt x="3802" y="7208"/>
                </a:lnTo>
                <a:lnTo>
                  <a:pt x="3802" y="7206"/>
                </a:lnTo>
                <a:lnTo>
                  <a:pt x="3802" y="7204"/>
                </a:lnTo>
                <a:lnTo>
                  <a:pt x="3800" y="7198"/>
                </a:lnTo>
                <a:lnTo>
                  <a:pt x="3800" y="7196"/>
                </a:lnTo>
                <a:lnTo>
                  <a:pt x="3804" y="7194"/>
                </a:lnTo>
                <a:lnTo>
                  <a:pt x="3808" y="7194"/>
                </a:lnTo>
                <a:lnTo>
                  <a:pt x="3808" y="7188"/>
                </a:lnTo>
                <a:lnTo>
                  <a:pt x="3804" y="7184"/>
                </a:lnTo>
                <a:lnTo>
                  <a:pt x="3804" y="7182"/>
                </a:lnTo>
                <a:lnTo>
                  <a:pt x="3806" y="7182"/>
                </a:lnTo>
                <a:lnTo>
                  <a:pt x="3810" y="7180"/>
                </a:lnTo>
                <a:lnTo>
                  <a:pt x="3810" y="7178"/>
                </a:lnTo>
                <a:lnTo>
                  <a:pt x="3802" y="7168"/>
                </a:lnTo>
                <a:lnTo>
                  <a:pt x="3798" y="7162"/>
                </a:lnTo>
                <a:lnTo>
                  <a:pt x="3800" y="7160"/>
                </a:lnTo>
                <a:lnTo>
                  <a:pt x="3802" y="7160"/>
                </a:lnTo>
                <a:lnTo>
                  <a:pt x="3804" y="7158"/>
                </a:lnTo>
                <a:lnTo>
                  <a:pt x="3802" y="7156"/>
                </a:lnTo>
                <a:lnTo>
                  <a:pt x="3802" y="7152"/>
                </a:lnTo>
                <a:lnTo>
                  <a:pt x="3802" y="7150"/>
                </a:lnTo>
                <a:lnTo>
                  <a:pt x="3812" y="7148"/>
                </a:lnTo>
                <a:lnTo>
                  <a:pt x="3814" y="7148"/>
                </a:lnTo>
                <a:lnTo>
                  <a:pt x="3816" y="7146"/>
                </a:lnTo>
                <a:lnTo>
                  <a:pt x="3816" y="7142"/>
                </a:lnTo>
                <a:lnTo>
                  <a:pt x="3810" y="7130"/>
                </a:lnTo>
                <a:lnTo>
                  <a:pt x="3808" y="7122"/>
                </a:lnTo>
                <a:lnTo>
                  <a:pt x="3804" y="7122"/>
                </a:lnTo>
                <a:lnTo>
                  <a:pt x="3800" y="7122"/>
                </a:lnTo>
                <a:lnTo>
                  <a:pt x="3794" y="7122"/>
                </a:lnTo>
                <a:lnTo>
                  <a:pt x="3794" y="7120"/>
                </a:lnTo>
                <a:lnTo>
                  <a:pt x="3792" y="7118"/>
                </a:lnTo>
                <a:lnTo>
                  <a:pt x="3790" y="7118"/>
                </a:lnTo>
                <a:lnTo>
                  <a:pt x="3786" y="7120"/>
                </a:lnTo>
                <a:lnTo>
                  <a:pt x="3786" y="7122"/>
                </a:lnTo>
                <a:lnTo>
                  <a:pt x="3786" y="7128"/>
                </a:lnTo>
                <a:lnTo>
                  <a:pt x="3788" y="7134"/>
                </a:lnTo>
                <a:lnTo>
                  <a:pt x="3786" y="7140"/>
                </a:lnTo>
                <a:lnTo>
                  <a:pt x="3782" y="7146"/>
                </a:lnTo>
                <a:lnTo>
                  <a:pt x="3780" y="7152"/>
                </a:lnTo>
                <a:lnTo>
                  <a:pt x="3780" y="7160"/>
                </a:lnTo>
                <a:lnTo>
                  <a:pt x="3782" y="7166"/>
                </a:lnTo>
                <a:lnTo>
                  <a:pt x="3782" y="7172"/>
                </a:lnTo>
                <a:lnTo>
                  <a:pt x="3778" y="7186"/>
                </a:lnTo>
                <a:lnTo>
                  <a:pt x="3774" y="7198"/>
                </a:lnTo>
                <a:lnTo>
                  <a:pt x="3776" y="7202"/>
                </a:lnTo>
                <a:lnTo>
                  <a:pt x="3776" y="7204"/>
                </a:lnTo>
                <a:lnTo>
                  <a:pt x="3784" y="7208"/>
                </a:lnTo>
                <a:lnTo>
                  <a:pt x="3794" y="7210"/>
                </a:lnTo>
                <a:close/>
                <a:moveTo>
                  <a:pt x="3820" y="7234"/>
                </a:moveTo>
                <a:lnTo>
                  <a:pt x="3820" y="7234"/>
                </a:lnTo>
                <a:lnTo>
                  <a:pt x="3818" y="7238"/>
                </a:lnTo>
                <a:lnTo>
                  <a:pt x="3818" y="7240"/>
                </a:lnTo>
                <a:lnTo>
                  <a:pt x="3820" y="7242"/>
                </a:lnTo>
                <a:lnTo>
                  <a:pt x="3822" y="7242"/>
                </a:lnTo>
                <a:lnTo>
                  <a:pt x="3822" y="7238"/>
                </a:lnTo>
                <a:lnTo>
                  <a:pt x="3822" y="7234"/>
                </a:lnTo>
                <a:lnTo>
                  <a:pt x="3820" y="7234"/>
                </a:lnTo>
                <a:close/>
                <a:moveTo>
                  <a:pt x="3798" y="7230"/>
                </a:moveTo>
                <a:lnTo>
                  <a:pt x="3798" y="7230"/>
                </a:lnTo>
                <a:lnTo>
                  <a:pt x="3796" y="7228"/>
                </a:lnTo>
                <a:lnTo>
                  <a:pt x="3794" y="7228"/>
                </a:lnTo>
                <a:lnTo>
                  <a:pt x="3792" y="7230"/>
                </a:lnTo>
                <a:lnTo>
                  <a:pt x="3788" y="7230"/>
                </a:lnTo>
                <a:lnTo>
                  <a:pt x="3784" y="7230"/>
                </a:lnTo>
                <a:lnTo>
                  <a:pt x="3782" y="7232"/>
                </a:lnTo>
                <a:lnTo>
                  <a:pt x="3784" y="7234"/>
                </a:lnTo>
                <a:lnTo>
                  <a:pt x="3788" y="7238"/>
                </a:lnTo>
                <a:lnTo>
                  <a:pt x="3790" y="7238"/>
                </a:lnTo>
                <a:lnTo>
                  <a:pt x="3792" y="7236"/>
                </a:lnTo>
                <a:lnTo>
                  <a:pt x="3798" y="7236"/>
                </a:lnTo>
                <a:lnTo>
                  <a:pt x="3798" y="7234"/>
                </a:lnTo>
                <a:lnTo>
                  <a:pt x="3798" y="7230"/>
                </a:lnTo>
                <a:close/>
                <a:moveTo>
                  <a:pt x="3790" y="7312"/>
                </a:moveTo>
                <a:lnTo>
                  <a:pt x="3790" y="7312"/>
                </a:lnTo>
                <a:lnTo>
                  <a:pt x="3792" y="7312"/>
                </a:lnTo>
                <a:lnTo>
                  <a:pt x="3796" y="7312"/>
                </a:lnTo>
                <a:lnTo>
                  <a:pt x="3798" y="7314"/>
                </a:lnTo>
                <a:lnTo>
                  <a:pt x="3802" y="7314"/>
                </a:lnTo>
                <a:lnTo>
                  <a:pt x="3802" y="7312"/>
                </a:lnTo>
                <a:lnTo>
                  <a:pt x="3798" y="7302"/>
                </a:lnTo>
                <a:lnTo>
                  <a:pt x="3796" y="7300"/>
                </a:lnTo>
                <a:lnTo>
                  <a:pt x="3794" y="7300"/>
                </a:lnTo>
                <a:lnTo>
                  <a:pt x="3790" y="7302"/>
                </a:lnTo>
                <a:lnTo>
                  <a:pt x="3786" y="7302"/>
                </a:lnTo>
                <a:lnTo>
                  <a:pt x="3782" y="7302"/>
                </a:lnTo>
                <a:lnTo>
                  <a:pt x="3780" y="7304"/>
                </a:lnTo>
                <a:lnTo>
                  <a:pt x="3782" y="7306"/>
                </a:lnTo>
                <a:lnTo>
                  <a:pt x="3784" y="7308"/>
                </a:lnTo>
                <a:lnTo>
                  <a:pt x="3788" y="7308"/>
                </a:lnTo>
                <a:lnTo>
                  <a:pt x="3790" y="7312"/>
                </a:lnTo>
                <a:close/>
                <a:moveTo>
                  <a:pt x="3774" y="7298"/>
                </a:moveTo>
                <a:lnTo>
                  <a:pt x="3774" y="7298"/>
                </a:lnTo>
                <a:lnTo>
                  <a:pt x="3774" y="7300"/>
                </a:lnTo>
                <a:lnTo>
                  <a:pt x="3778" y="7298"/>
                </a:lnTo>
                <a:lnTo>
                  <a:pt x="3782" y="7298"/>
                </a:lnTo>
                <a:lnTo>
                  <a:pt x="3790" y="7296"/>
                </a:lnTo>
                <a:lnTo>
                  <a:pt x="3792" y="7296"/>
                </a:lnTo>
                <a:lnTo>
                  <a:pt x="3790" y="7296"/>
                </a:lnTo>
                <a:lnTo>
                  <a:pt x="3786" y="7292"/>
                </a:lnTo>
                <a:lnTo>
                  <a:pt x="3782" y="7290"/>
                </a:lnTo>
                <a:lnTo>
                  <a:pt x="3778" y="7292"/>
                </a:lnTo>
                <a:lnTo>
                  <a:pt x="3774" y="7298"/>
                </a:lnTo>
                <a:close/>
                <a:moveTo>
                  <a:pt x="3778" y="7284"/>
                </a:moveTo>
                <a:lnTo>
                  <a:pt x="3778" y="7284"/>
                </a:lnTo>
                <a:lnTo>
                  <a:pt x="3782" y="7284"/>
                </a:lnTo>
                <a:lnTo>
                  <a:pt x="3786" y="7284"/>
                </a:lnTo>
                <a:lnTo>
                  <a:pt x="3792" y="7282"/>
                </a:lnTo>
                <a:lnTo>
                  <a:pt x="3794" y="7280"/>
                </a:lnTo>
                <a:lnTo>
                  <a:pt x="3794" y="7278"/>
                </a:lnTo>
                <a:lnTo>
                  <a:pt x="3792" y="7278"/>
                </a:lnTo>
                <a:lnTo>
                  <a:pt x="3788" y="7276"/>
                </a:lnTo>
                <a:lnTo>
                  <a:pt x="3778" y="7276"/>
                </a:lnTo>
                <a:lnTo>
                  <a:pt x="3774" y="7278"/>
                </a:lnTo>
                <a:lnTo>
                  <a:pt x="3772" y="7280"/>
                </a:lnTo>
                <a:lnTo>
                  <a:pt x="3774" y="7282"/>
                </a:lnTo>
                <a:lnTo>
                  <a:pt x="3778" y="7284"/>
                </a:lnTo>
                <a:close/>
                <a:moveTo>
                  <a:pt x="3800" y="7272"/>
                </a:moveTo>
                <a:lnTo>
                  <a:pt x="3800" y="7272"/>
                </a:lnTo>
                <a:lnTo>
                  <a:pt x="3796" y="7274"/>
                </a:lnTo>
                <a:lnTo>
                  <a:pt x="3796" y="7276"/>
                </a:lnTo>
                <a:lnTo>
                  <a:pt x="3798" y="7282"/>
                </a:lnTo>
                <a:lnTo>
                  <a:pt x="3800" y="7284"/>
                </a:lnTo>
                <a:lnTo>
                  <a:pt x="3804" y="7282"/>
                </a:lnTo>
                <a:lnTo>
                  <a:pt x="3806" y="7280"/>
                </a:lnTo>
                <a:lnTo>
                  <a:pt x="3806" y="7276"/>
                </a:lnTo>
                <a:lnTo>
                  <a:pt x="3802" y="7274"/>
                </a:lnTo>
                <a:lnTo>
                  <a:pt x="3800" y="7272"/>
                </a:lnTo>
                <a:close/>
                <a:moveTo>
                  <a:pt x="3804" y="7324"/>
                </a:moveTo>
                <a:lnTo>
                  <a:pt x="3804" y="7324"/>
                </a:lnTo>
                <a:lnTo>
                  <a:pt x="3800" y="7326"/>
                </a:lnTo>
                <a:lnTo>
                  <a:pt x="3798" y="7330"/>
                </a:lnTo>
                <a:lnTo>
                  <a:pt x="3798" y="7336"/>
                </a:lnTo>
                <a:lnTo>
                  <a:pt x="3800" y="7340"/>
                </a:lnTo>
                <a:lnTo>
                  <a:pt x="3802" y="7342"/>
                </a:lnTo>
                <a:lnTo>
                  <a:pt x="3804" y="7340"/>
                </a:lnTo>
                <a:lnTo>
                  <a:pt x="3804" y="7334"/>
                </a:lnTo>
                <a:lnTo>
                  <a:pt x="3806" y="7328"/>
                </a:lnTo>
                <a:lnTo>
                  <a:pt x="3806" y="7326"/>
                </a:lnTo>
                <a:lnTo>
                  <a:pt x="3804" y="7324"/>
                </a:lnTo>
                <a:close/>
                <a:moveTo>
                  <a:pt x="3774" y="7342"/>
                </a:moveTo>
                <a:lnTo>
                  <a:pt x="3774" y="7342"/>
                </a:lnTo>
                <a:lnTo>
                  <a:pt x="3776" y="7340"/>
                </a:lnTo>
                <a:lnTo>
                  <a:pt x="3780" y="7334"/>
                </a:lnTo>
                <a:lnTo>
                  <a:pt x="3782" y="7332"/>
                </a:lnTo>
                <a:lnTo>
                  <a:pt x="3780" y="7330"/>
                </a:lnTo>
                <a:lnTo>
                  <a:pt x="3776" y="7326"/>
                </a:lnTo>
                <a:lnTo>
                  <a:pt x="3772" y="7326"/>
                </a:lnTo>
                <a:lnTo>
                  <a:pt x="3770" y="7328"/>
                </a:lnTo>
                <a:lnTo>
                  <a:pt x="3770" y="7330"/>
                </a:lnTo>
                <a:lnTo>
                  <a:pt x="3770" y="7332"/>
                </a:lnTo>
                <a:lnTo>
                  <a:pt x="3772" y="7336"/>
                </a:lnTo>
                <a:lnTo>
                  <a:pt x="3772" y="7340"/>
                </a:lnTo>
                <a:lnTo>
                  <a:pt x="3772" y="7342"/>
                </a:lnTo>
                <a:lnTo>
                  <a:pt x="3774" y="7342"/>
                </a:lnTo>
                <a:close/>
                <a:moveTo>
                  <a:pt x="3792" y="7332"/>
                </a:moveTo>
                <a:lnTo>
                  <a:pt x="3792" y="7332"/>
                </a:lnTo>
                <a:lnTo>
                  <a:pt x="3790" y="7332"/>
                </a:lnTo>
                <a:lnTo>
                  <a:pt x="3786" y="7332"/>
                </a:lnTo>
                <a:lnTo>
                  <a:pt x="3786" y="7336"/>
                </a:lnTo>
                <a:lnTo>
                  <a:pt x="3786" y="7338"/>
                </a:lnTo>
                <a:lnTo>
                  <a:pt x="3788" y="7340"/>
                </a:lnTo>
                <a:lnTo>
                  <a:pt x="3792" y="7338"/>
                </a:lnTo>
                <a:lnTo>
                  <a:pt x="3792" y="7336"/>
                </a:lnTo>
                <a:lnTo>
                  <a:pt x="3792" y="7332"/>
                </a:lnTo>
                <a:close/>
                <a:moveTo>
                  <a:pt x="3796" y="7352"/>
                </a:moveTo>
                <a:lnTo>
                  <a:pt x="3796" y="7352"/>
                </a:lnTo>
                <a:lnTo>
                  <a:pt x="3800" y="7348"/>
                </a:lnTo>
                <a:lnTo>
                  <a:pt x="3802" y="7346"/>
                </a:lnTo>
                <a:lnTo>
                  <a:pt x="3800" y="7344"/>
                </a:lnTo>
                <a:lnTo>
                  <a:pt x="3796" y="7344"/>
                </a:lnTo>
                <a:lnTo>
                  <a:pt x="3794" y="7346"/>
                </a:lnTo>
                <a:lnTo>
                  <a:pt x="3792" y="7350"/>
                </a:lnTo>
                <a:lnTo>
                  <a:pt x="3792" y="7354"/>
                </a:lnTo>
                <a:lnTo>
                  <a:pt x="3796" y="7352"/>
                </a:lnTo>
                <a:close/>
                <a:moveTo>
                  <a:pt x="3746" y="7354"/>
                </a:moveTo>
                <a:lnTo>
                  <a:pt x="3746" y="7354"/>
                </a:lnTo>
                <a:lnTo>
                  <a:pt x="3746" y="7356"/>
                </a:lnTo>
                <a:lnTo>
                  <a:pt x="3746" y="7358"/>
                </a:lnTo>
                <a:lnTo>
                  <a:pt x="3744" y="7358"/>
                </a:lnTo>
                <a:lnTo>
                  <a:pt x="3746" y="7360"/>
                </a:lnTo>
                <a:lnTo>
                  <a:pt x="3748" y="7362"/>
                </a:lnTo>
                <a:lnTo>
                  <a:pt x="3750" y="7362"/>
                </a:lnTo>
                <a:lnTo>
                  <a:pt x="3756" y="7358"/>
                </a:lnTo>
                <a:lnTo>
                  <a:pt x="3758" y="7354"/>
                </a:lnTo>
                <a:lnTo>
                  <a:pt x="3758" y="7350"/>
                </a:lnTo>
                <a:lnTo>
                  <a:pt x="3758" y="7348"/>
                </a:lnTo>
                <a:lnTo>
                  <a:pt x="3758" y="7346"/>
                </a:lnTo>
                <a:lnTo>
                  <a:pt x="3754" y="7346"/>
                </a:lnTo>
                <a:lnTo>
                  <a:pt x="3746" y="7348"/>
                </a:lnTo>
                <a:lnTo>
                  <a:pt x="3744" y="7350"/>
                </a:lnTo>
                <a:lnTo>
                  <a:pt x="3746" y="7354"/>
                </a:lnTo>
                <a:close/>
                <a:moveTo>
                  <a:pt x="3772" y="7272"/>
                </a:moveTo>
                <a:lnTo>
                  <a:pt x="3772" y="7272"/>
                </a:lnTo>
                <a:lnTo>
                  <a:pt x="3776" y="7270"/>
                </a:lnTo>
                <a:lnTo>
                  <a:pt x="3778" y="7268"/>
                </a:lnTo>
                <a:lnTo>
                  <a:pt x="3780" y="7266"/>
                </a:lnTo>
                <a:lnTo>
                  <a:pt x="3778" y="7264"/>
                </a:lnTo>
                <a:lnTo>
                  <a:pt x="3776" y="7264"/>
                </a:lnTo>
                <a:lnTo>
                  <a:pt x="3770" y="7266"/>
                </a:lnTo>
                <a:lnTo>
                  <a:pt x="3768" y="7268"/>
                </a:lnTo>
                <a:lnTo>
                  <a:pt x="3768" y="7270"/>
                </a:lnTo>
                <a:lnTo>
                  <a:pt x="3768" y="7272"/>
                </a:lnTo>
                <a:lnTo>
                  <a:pt x="3772" y="7272"/>
                </a:lnTo>
                <a:close/>
                <a:moveTo>
                  <a:pt x="3786" y="7272"/>
                </a:moveTo>
                <a:lnTo>
                  <a:pt x="3786" y="7272"/>
                </a:lnTo>
                <a:lnTo>
                  <a:pt x="3792" y="7272"/>
                </a:lnTo>
                <a:lnTo>
                  <a:pt x="3792" y="7268"/>
                </a:lnTo>
                <a:lnTo>
                  <a:pt x="3790" y="7268"/>
                </a:lnTo>
                <a:lnTo>
                  <a:pt x="3786" y="7268"/>
                </a:lnTo>
                <a:lnTo>
                  <a:pt x="3778" y="7272"/>
                </a:lnTo>
                <a:lnTo>
                  <a:pt x="3786" y="7272"/>
                </a:lnTo>
                <a:close/>
                <a:moveTo>
                  <a:pt x="3786" y="7256"/>
                </a:moveTo>
                <a:lnTo>
                  <a:pt x="3786" y="7256"/>
                </a:lnTo>
                <a:lnTo>
                  <a:pt x="3788" y="7260"/>
                </a:lnTo>
                <a:lnTo>
                  <a:pt x="3790" y="7258"/>
                </a:lnTo>
                <a:lnTo>
                  <a:pt x="3792" y="7256"/>
                </a:lnTo>
                <a:lnTo>
                  <a:pt x="3790" y="7252"/>
                </a:lnTo>
                <a:lnTo>
                  <a:pt x="3786" y="7252"/>
                </a:lnTo>
                <a:lnTo>
                  <a:pt x="3786" y="7256"/>
                </a:lnTo>
                <a:close/>
                <a:moveTo>
                  <a:pt x="3800" y="7238"/>
                </a:moveTo>
                <a:lnTo>
                  <a:pt x="3800" y="7238"/>
                </a:lnTo>
                <a:lnTo>
                  <a:pt x="3800" y="7242"/>
                </a:lnTo>
                <a:lnTo>
                  <a:pt x="3800" y="7244"/>
                </a:lnTo>
                <a:lnTo>
                  <a:pt x="3802" y="7248"/>
                </a:lnTo>
                <a:lnTo>
                  <a:pt x="3804" y="7248"/>
                </a:lnTo>
                <a:lnTo>
                  <a:pt x="3806" y="7246"/>
                </a:lnTo>
                <a:lnTo>
                  <a:pt x="3804" y="7242"/>
                </a:lnTo>
                <a:lnTo>
                  <a:pt x="3802" y="7240"/>
                </a:lnTo>
                <a:lnTo>
                  <a:pt x="3800" y="7238"/>
                </a:lnTo>
                <a:close/>
                <a:moveTo>
                  <a:pt x="3756" y="7220"/>
                </a:moveTo>
                <a:lnTo>
                  <a:pt x="3756" y="7220"/>
                </a:lnTo>
                <a:lnTo>
                  <a:pt x="3758" y="7222"/>
                </a:lnTo>
                <a:lnTo>
                  <a:pt x="3762" y="7220"/>
                </a:lnTo>
                <a:lnTo>
                  <a:pt x="3764" y="7220"/>
                </a:lnTo>
                <a:lnTo>
                  <a:pt x="3762" y="7216"/>
                </a:lnTo>
                <a:lnTo>
                  <a:pt x="3760" y="7216"/>
                </a:lnTo>
                <a:lnTo>
                  <a:pt x="3756" y="7216"/>
                </a:lnTo>
                <a:lnTo>
                  <a:pt x="3754" y="7218"/>
                </a:lnTo>
                <a:lnTo>
                  <a:pt x="3756" y="7220"/>
                </a:lnTo>
                <a:close/>
                <a:moveTo>
                  <a:pt x="3762" y="7342"/>
                </a:moveTo>
                <a:lnTo>
                  <a:pt x="3762" y="7342"/>
                </a:lnTo>
                <a:lnTo>
                  <a:pt x="3766" y="7340"/>
                </a:lnTo>
                <a:lnTo>
                  <a:pt x="3766" y="7338"/>
                </a:lnTo>
                <a:lnTo>
                  <a:pt x="3766" y="7334"/>
                </a:lnTo>
                <a:lnTo>
                  <a:pt x="3764" y="7332"/>
                </a:lnTo>
                <a:lnTo>
                  <a:pt x="3762" y="7334"/>
                </a:lnTo>
                <a:lnTo>
                  <a:pt x="3760" y="7338"/>
                </a:lnTo>
                <a:lnTo>
                  <a:pt x="3760" y="7340"/>
                </a:lnTo>
                <a:lnTo>
                  <a:pt x="3762" y="7342"/>
                </a:lnTo>
                <a:close/>
                <a:moveTo>
                  <a:pt x="3790" y="7328"/>
                </a:moveTo>
                <a:lnTo>
                  <a:pt x="3790" y="7328"/>
                </a:lnTo>
                <a:lnTo>
                  <a:pt x="3792" y="7328"/>
                </a:lnTo>
                <a:lnTo>
                  <a:pt x="3794" y="7326"/>
                </a:lnTo>
                <a:lnTo>
                  <a:pt x="3796" y="7324"/>
                </a:lnTo>
                <a:lnTo>
                  <a:pt x="3794" y="7324"/>
                </a:lnTo>
                <a:lnTo>
                  <a:pt x="3790" y="7322"/>
                </a:lnTo>
                <a:lnTo>
                  <a:pt x="3788" y="7322"/>
                </a:lnTo>
                <a:lnTo>
                  <a:pt x="3786" y="7324"/>
                </a:lnTo>
                <a:lnTo>
                  <a:pt x="3786" y="7328"/>
                </a:lnTo>
                <a:lnTo>
                  <a:pt x="3790" y="7328"/>
                </a:lnTo>
                <a:close/>
                <a:moveTo>
                  <a:pt x="3800" y="7296"/>
                </a:moveTo>
                <a:lnTo>
                  <a:pt x="3800" y="7296"/>
                </a:lnTo>
                <a:lnTo>
                  <a:pt x="3800" y="7294"/>
                </a:lnTo>
                <a:lnTo>
                  <a:pt x="3798" y="7290"/>
                </a:lnTo>
                <a:lnTo>
                  <a:pt x="3796" y="7286"/>
                </a:lnTo>
                <a:lnTo>
                  <a:pt x="3794" y="7286"/>
                </a:lnTo>
                <a:lnTo>
                  <a:pt x="3792" y="7290"/>
                </a:lnTo>
                <a:lnTo>
                  <a:pt x="3794" y="7292"/>
                </a:lnTo>
                <a:lnTo>
                  <a:pt x="3796" y="7296"/>
                </a:lnTo>
                <a:lnTo>
                  <a:pt x="3800" y="7296"/>
                </a:lnTo>
                <a:close/>
                <a:moveTo>
                  <a:pt x="4018" y="7914"/>
                </a:moveTo>
                <a:lnTo>
                  <a:pt x="4018" y="7914"/>
                </a:lnTo>
                <a:lnTo>
                  <a:pt x="4014" y="7912"/>
                </a:lnTo>
                <a:lnTo>
                  <a:pt x="4016" y="7910"/>
                </a:lnTo>
                <a:lnTo>
                  <a:pt x="4020" y="7910"/>
                </a:lnTo>
                <a:lnTo>
                  <a:pt x="4022" y="7908"/>
                </a:lnTo>
                <a:lnTo>
                  <a:pt x="4020" y="7908"/>
                </a:lnTo>
                <a:lnTo>
                  <a:pt x="4016" y="7904"/>
                </a:lnTo>
                <a:lnTo>
                  <a:pt x="4006" y="7904"/>
                </a:lnTo>
                <a:lnTo>
                  <a:pt x="4002" y="7902"/>
                </a:lnTo>
                <a:lnTo>
                  <a:pt x="4010" y="7900"/>
                </a:lnTo>
                <a:lnTo>
                  <a:pt x="4016" y="7898"/>
                </a:lnTo>
                <a:lnTo>
                  <a:pt x="4018" y="7896"/>
                </a:lnTo>
                <a:lnTo>
                  <a:pt x="4016" y="7892"/>
                </a:lnTo>
                <a:lnTo>
                  <a:pt x="4014" y="7890"/>
                </a:lnTo>
                <a:lnTo>
                  <a:pt x="4008" y="7890"/>
                </a:lnTo>
                <a:lnTo>
                  <a:pt x="4002" y="7890"/>
                </a:lnTo>
                <a:lnTo>
                  <a:pt x="3994" y="7892"/>
                </a:lnTo>
                <a:lnTo>
                  <a:pt x="3988" y="7892"/>
                </a:lnTo>
                <a:lnTo>
                  <a:pt x="3982" y="7892"/>
                </a:lnTo>
                <a:lnTo>
                  <a:pt x="3976" y="7894"/>
                </a:lnTo>
                <a:lnTo>
                  <a:pt x="3958" y="7898"/>
                </a:lnTo>
                <a:lnTo>
                  <a:pt x="3952" y="7900"/>
                </a:lnTo>
                <a:lnTo>
                  <a:pt x="3950" y="7900"/>
                </a:lnTo>
                <a:lnTo>
                  <a:pt x="3950" y="7902"/>
                </a:lnTo>
                <a:lnTo>
                  <a:pt x="3960" y="7908"/>
                </a:lnTo>
                <a:lnTo>
                  <a:pt x="3962" y="7908"/>
                </a:lnTo>
                <a:lnTo>
                  <a:pt x="3962" y="7910"/>
                </a:lnTo>
                <a:lnTo>
                  <a:pt x="3960" y="7910"/>
                </a:lnTo>
                <a:lnTo>
                  <a:pt x="3958" y="7912"/>
                </a:lnTo>
                <a:lnTo>
                  <a:pt x="3966" y="7916"/>
                </a:lnTo>
                <a:lnTo>
                  <a:pt x="3972" y="7918"/>
                </a:lnTo>
                <a:lnTo>
                  <a:pt x="3976" y="7920"/>
                </a:lnTo>
                <a:lnTo>
                  <a:pt x="3982" y="7924"/>
                </a:lnTo>
                <a:lnTo>
                  <a:pt x="3986" y="7924"/>
                </a:lnTo>
                <a:lnTo>
                  <a:pt x="3986" y="7922"/>
                </a:lnTo>
                <a:lnTo>
                  <a:pt x="3978" y="7912"/>
                </a:lnTo>
                <a:lnTo>
                  <a:pt x="3976" y="7908"/>
                </a:lnTo>
                <a:lnTo>
                  <a:pt x="3978" y="7906"/>
                </a:lnTo>
                <a:lnTo>
                  <a:pt x="3982" y="7906"/>
                </a:lnTo>
                <a:lnTo>
                  <a:pt x="3986" y="7908"/>
                </a:lnTo>
                <a:lnTo>
                  <a:pt x="3990" y="7908"/>
                </a:lnTo>
                <a:lnTo>
                  <a:pt x="3994" y="7908"/>
                </a:lnTo>
                <a:lnTo>
                  <a:pt x="3996" y="7906"/>
                </a:lnTo>
                <a:lnTo>
                  <a:pt x="3996" y="7908"/>
                </a:lnTo>
                <a:lnTo>
                  <a:pt x="3994" y="7916"/>
                </a:lnTo>
                <a:lnTo>
                  <a:pt x="3994" y="7920"/>
                </a:lnTo>
                <a:lnTo>
                  <a:pt x="3996" y="7922"/>
                </a:lnTo>
                <a:lnTo>
                  <a:pt x="3998" y="7924"/>
                </a:lnTo>
                <a:lnTo>
                  <a:pt x="4000" y="7924"/>
                </a:lnTo>
                <a:lnTo>
                  <a:pt x="4002" y="7922"/>
                </a:lnTo>
                <a:lnTo>
                  <a:pt x="4006" y="7920"/>
                </a:lnTo>
                <a:lnTo>
                  <a:pt x="4008" y="7920"/>
                </a:lnTo>
                <a:lnTo>
                  <a:pt x="4008" y="7922"/>
                </a:lnTo>
                <a:lnTo>
                  <a:pt x="4012" y="7924"/>
                </a:lnTo>
                <a:lnTo>
                  <a:pt x="4014" y="7924"/>
                </a:lnTo>
                <a:lnTo>
                  <a:pt x="4018" y="7924"/>
                </a:lnTo>
                <a:lnTo>
                  <a:pt x="4020" y="7928"/>
                </a:lnTo>
                <a:lnTo>
                  <a:pt x="4020" y="7930"/>
                </a:lnTo>
                <a:lnTo>
                  <a:pt x="4022" y="7930"/>
                </a:lnTo>
                <a:lnTo>
                  <a:pt x="4026" y="7934"/>
                </a:lnTo>
                <a:lnTo>
                  <a:pt x="4028" y="7936"/>
                </a:lnTo>
                <a:lnTo>
                  <a:pt x="4030" y="7934"/>
                </a:lnTo>
                <a:lnTo>
                  <a:pt x="4032" y="7930"/>
                </a:lnTo>
                <a:lnTo>
                  <a:pt x="4030" y="7926"/>
                </a:lnTo>
                <a:lnTo>
                  <a:pt x="4028" y="7924"/>
                </a:lnTo>
                <a:lnTo>
                  <a:pt x="4028" y="7922"/>
                </a:lnTo>
                <a:lnTo>
                  <a:pt x="4026" y="7918"/>
                </a:lnTo>
                <a:lnTo>
                  <a:pt x="4018" y="7914"/>
                </a:lnTo>
                <a:close/>
                <a:moveTo>
                  <a:pt x="3972" y="7890"/>
                </a:moveTo>
                <a:lnTo>
                  <a:pt x="3972" y="7890"/>
                </a:lnTo>
                <a:lnTo>
                  <a:pt x="3980" y="7888"/>
                </a:lnTo>
                <a:lnTo>
                  <a:pt x="3968" y="7886"/>
                </a:lnTo>
                <a:lnTo>
                  <a:pt x="3962" y="7884"/>
                </a:lnTo>
                <a:lnTo>
                  <a:pt x="3956" y="7886"/>
                </a:lnTo>
                <a:lnTo>
                  <a:pt x="3946" y="7888"/>
                </a:lnTo>
                <a:lnTo>
                  <a:pt x="3944" y="7890"/>
                </a:lnTo>
                <a:lnTo>
                  <a:pt x="3944" y="7892"/>
                </a:lnTo>
                <a:lnTo>
                  <a:pt x="3952" y="7894"/>
                </a:lnTo>
                <a:lnTo>
                  <a:pt x="3958" y="7894"/>
                </a:lnTo>
                <a:lnTo>
                  <a:pt x="3972" y="7890"/>
                </a:lnTo>
                <a:close/>
                <a:moveTo>
                  <a:pt x="3932" y="7886"/>
                </a:moveTo>
                <a:lnTo>
                  <a:pt x="3932" y="7886"/>
                </a:lnTo>
                <a:lnTo>
                  <a:pt x="3924" y="7888"/>
                </a:lnTo>
                <a:lnTo>
                  <a:pt x="3922" y="7890"/>
                </a:lnTo>
                <a:lnTo>
                  <a:pt x="3918" y="7890"/>
                </a:lnTo>
                <a:lnTo>
                  <a:pt x="3910" y="7890"/>
                </a:lnTo>
                <a:lnTo>
                  <a:pt x="3910" y="7892"/>
                </a:lnTo>
                <a:lnTo>
                  <a:pt x="3910" y="7894"/>
                </a:lnTo>
                <a:lnTo>
                  <a:pt x="3912" y="7896"/>
                </a:lnTo>
                <a:lnTo>
                  <a:pt x="3914" y="7898"/>
                </a:lnTo>
                <a:lnTo>
                  <a:pt x="3924" y="7898"/>
                </a:lnTo>
                <a:lnTo>
                  <a:pt x="3928" y="7900"/>
                </a:lnTo>
                <a:lnTo>
                  <a:pt x="3928" y="7904"/>
                </a:lnTo>
                <a:lnTo>
                  <a:pt x="3928" y="7906"/>
                </a:lnTo>
                <a:lnTo>
                  <a:pt x="3934" y="7904"/>
                </a:lnTo>
                <a:lnTo>
                  <a:pt x="3938" y="7902"/>
                </a:lnTo>
                <a:lnTo>
                  <a:pt x="3938" y="7898"/>
                </a:lnTo>
                <a:lnTo>
                  <a:pt x="3938" y="7896"/>
                </a:lnTo>
                <a:lnTo>
                  <a:pt x="3934" y="7894"/>
                </a:lnTo>
                <a:lnTo>
                  <a:pt x="3928" y="7894"/>
                </a:lnTo>
                <a:lnTo>
                  <a:pt x="3930" y="7892"/>
                </a:lnTo>
                <a:lnTo>
                  <a:pt x="3934" y="7892"/>
                </a:lnTo>
                <a:lnTo>
                  <a:pt x="3940" y="7890"/>
                </a:lnTo>
                <a:lnTo>
                  <a:pt x="3940" y="7888"/>
                </a:lnTo>
                <a:lnTo>
                  <a:pt x="3938" y="7886"/>
                </a:lnTo>
                <a:lnTo>
                  <a:pt x="3932" y="7886"/>
                </a:lnTo>
                <a:close/>
                <a:moveTo>
                  <a:pt x="3908" y="7882"/>
                </a:moveTo>
                <a:lnTo>
                  <a:pt x="3908" y="7882"/>
                </a:lnTo>
                <a:lnTo>
                  <a:pt x="3902" y="7880"/>
                </a:lnTo>
                <a:lnTo>
                  <a:pt x="3898" y="7880"/>
                </a:lnTo>
                <a:lnTo>
                  <a:pt x="3894" y="7882"/>
                </a:lnTo>
                <a:lnTo>
                  <a:pt x="3892" y="7884"/>
                </a:lnTo>
                <a:lnTo>
                  <a:pt x="3892" y="7886"/>
                </a:lnTo>
                <a:lnTo>
                  <a:pt x="3894" y="7886"/>
                </a:lnTo>
                <a:lnTo>
                  <a:pt x="3898" y="7886"/>
                </a:lnTo>
                <a:lnTo>
                  <a:pt x="3902" y="7884"/>
                </a:lnTo>
                <a:lnTo>
                  <a:pt x="3904" y="7884"/>
                </a:lnTo>
                <a:lnTo>
                  <a:pt x="3906" y="7886"/>
                </a:lnTo>
                <a:lnTo>
                  <a:pt x="3910" y="7886"/>
                </a:lnTo>
                <a:lnTo>
                  <a:pt x="3912" y="7886"/>
                </a:lnTo>
                <a:lnTo>
                  <a:pt x="3912" y="7884"/>
                </a:lnTo>
                <a:lnTo>
                  <a:pt x="3910" y="7882"/>
                </a:lnTo>
                <a:lnTo>
                  <a:pt x="3908" y="7882"/>
                </a:lnTo>
                <a:close/>
                <a:moveTo>
                  <a:pt x="4038" y="7944"/>
                </a:moveTo>
                <a:lnTo>
                  <a:pt x="4038" y="7944"/>
                </a:lnTo>
                <a:lnTo>
                  <a:pt x="4040" y="7946"/>
                </a:lnTo>
                <a:lnTo>
                  <a:pt x="4046" y="7946"/>
                </a:lnTo>
                <a:lnTo>
                  <a:pt x="4050" y="7944"/>
                </a:lnTo>
                <a:lnTo>
                  <a:pt x="4052" y="7942"/>
                </a:lnTo>
                <a:lnTo>
                  <a:pt x="4048" y="7940"/>
                </a:lnTo>
                <a:lnTo>
                  <a:pt x="4044" y="7940"/>
                </a:lnTo>
                <a:lnTo>
                  <a:pt x="4038" y="7942"/>
                </a:lnTo>
                <a:lnTo>
                  <a:pt x="4038" y="7944"/>
                </a:lnTo>
                <a:close/>
                <a:moveTo>
                  <a:pt x="4056" y="7930"/>
                </a:moveTo>
                <a:lnTo>
                  <a:pt x="4056" y="7930"/>
                </a:lnTo>
                <a:lnTo>
                  <a:pt x="4054" y="7932"/>
                </a:lnTo>
                <a:lnTo>
                  <a:pt x="4052" y="7932"/>
                </a:lnTo>
                <a:lnTo>
                  <a:pt x="4050" y="7934"/>
                </a:lnTo>
                <a:lnTo>
                  <a:pt x="4050" y="7936"/>
                </a:lnTo>
                <a:lnTo>
                  <a:pt x="4056" y="7940"/>
                </a:lnTo>
                <a:lnTo>
                  <a:pt x="4060" y="7940"/>
                </a:lnTo>
                <a:lnTo>
                  <a:pt x="4060" y="7938"/>
                </a:lnTo>
                <a:lnTo>
                  <a:pt x="4058" y="7932"/>
                </a:lnTo>
                <a:lnTo>
                  <a:pt x="4056" y="7928"/>
                </a:lnTo>
                <a:lnTo>
                  <a:pt x="4056" y="7930"/>
                </a:lnTo>
                <a:close/>
                <a:moveTo>
                  <a:pt x="3872" y="7846"/>
                </a:moveTo>
                <a:lnTo>
                  <a:pt x="3872" y="7846"/>
                </a:lnTo>
                <a:lnTo>
                  <a:pt x="3872" y="7850"/>
                </a:lnTo>
                <a:lnTo>
                  <a:pt x="3874" y="7850"/>
                </a:lnTo>
                <a:lnTo>
                  <a:pt x="3876" y="7850"/>
                </a:lnTo>
                <a:lnTo>
                  <a:pt x="3876" y="7848"/>
                </a:lnTo>
                <a:lnTo>
                  <a:pt x="3876" y="7846"/>
                </a:lnTo>
                <a:lnTo>
                  <a:pt x="3878" y="7844"/>
                </a:lnTo>
                <a:lnTo>
                  <a:pt x="3880" y="7844"/>
                </a:lnTo>
                <a:lnTo>
                  <a:pt x="3880" y="7840"/>
                </a:lnTo>
                <a:lnTo>
                  <a:pt x="3882" y="7838"/>
                </a:lnTo>
                <a:lnTo>
                  <a:pt x="3882" y="7836"/>
                </a:lnTo>
                <a:lnTo>
                  <a:pt x="3882" y="7834"/>
                </a:lnTo>
                <a:lnTo>
                  <a:pt x="3882" y="7832"/>
                </a:lnTo>
                <a:lnTo>
                  <a:pt x="3882" y="7828"/>
                </a:lnTo>
                <a:lnTo>
                  <a:pt x="3884" y="7826"/>
                </a:lnTo>
                <a:lnTo>
                  <a:pt x="3880" y="7824"/>
                </a:lnTo>
                <a:lnTo>
                  <a:pt x="3874" y="7822"/>
                </a:lnTo>
                <a:lnTo>
                  <a:pt x="3872" y="7822"/>
                </a:lnTo>
                <a:lnTo>
                  <a:pt x="3870" y="7824"/>
                </a:lnTo>
                <a:lnTo>
                  <a:pt x="3868" y="7826"/>
                </a:lnTo>
                <a:lnTo>
                  <a:pt x="3866" y="7826"/>
                </a:lnTo>
                <a:lnTo>
                  <a:pt x="3864" y="7824"/>
                </a:lnTo>
                <a:lnTo>
                  <a:pt x="3860" y="7824"/>
                </a:lnTo>
                <a:lnTo>
                  <a:pt x="3860" y="7826"/>
                </a:lnTo>
                <a:lnTo>
                  <a:pt x="3860" y="7828"/>
                </a:lnTo>
                <a:lnTo>
                  <a:pt x="3864" y="7836"/>
                </a:lnTo>
                <a:lnTo>
                  <a:pt x="3872" y="7840"/>
                </a:lnTo>
                <a:lnTo>
                  <a:pt x="3874" y="7842"/>
                </a:lnTo>
                <a:lnTo>
                  <a:pt x="3872" y="7846"/>
                </a:lnTo>
                <a:close/>
                <a:moveTo>
                  <a:pt x="3834" y="7700"/>
                </a:moveTo>
                <a:lnTo>
                  <a:pt x="3834" y="7700"/>
                </a:lnTo>
                <a:lnTo>
                  <a:pt x="3828" y="7706"/>
                </a:lnTo>
                <a:lnTo>
                  <a:pt x="3826" y="7708"/>
                </a:lnTo>
                <a:lnTo>
                  <a:pt x="3826" y="7710"/>
                </a:lnTo>
                <a:lnTo>
                  <a:pt x="3828" y="7710"/>
                </a:lnTo>
                <a:lnTo>
                  <a:pt x="3830" y="7710"/>
                </a:lnTo>
                <a:lnTo>
                  <a:pt x="3834" y="7706"/>
                </a:lnTo>
                <a:lnTo>
                  <a:pt x="3836" y="7702"/>
                </a:lnTo>
                <a:lnTo>
                  <a:pt x="3834" y="7700"/>
                </a:lnTo>
                <a:close/>
                <a:moveTo>
                  <a:pt x="3852" y="7832"/>
                </a:moveTo>
                <a:lnTo>
                  <a:pt x="3852" y="7832"/>
                </a:lnTo>
                <a:lnTo>
                  <a:pt x="3854" y="7834"/>
                </a:lnTo>
                <a:lnTo>
                  <a:pt x="3856" y="7834"/>
                </a:lnTo>
                <a:lnTo>
                  <a:pt x="3854" y="7828"/>
                </a:lnTo>
                <a:lnTo>
                  <a:pt x="3854" y="7826"/>
                </a:lnTo>
                <a:lnTo>
                  <a:pt x="3856" y="7824"/>
                </a:lnTo>
                <a:lnTo>
                  <a:pt x="3858" y="7822"/>
                </a:lnTo>
                <a:lnTo>
                  <a:pt x="3862" y="7820"/>
                </a:lnTo>
                <a:lnTo>
                  <a:pt x="3864" y="7818"/>
                </a:lnTo>
                <a:lnTo>
                  <a:pt x="3862" y="7816"/>
                </a:lnTo>
                <a:lnTo>
                  <a:pt x="3860" y="7814"/>
                </a:lnTo>
                <a:lnTo>
                  <a:pt x="3856" y="7812"/>
                </a:lnTo>
                <a:lnTo>
                  <a:pt x="3854" y="7812"/>
                </a:lnTo>
                <a:lnTo>
                  <a:pt x="3852" y="7808"/>
                </a:lnTo>
                <a:lnTo>
                  <a:pt x="3852" y="7806"/>
                </a:lnTo>
                <a:lnTo>
                  <a:pt x="3848" y="7804"/>
                </a:lnTo>
                <a:lnTo>
                  <a:pt x="3846" y="7802"/>
                </a:lnTo>
                <a:lnTo>
                  <a:pt x="3842" y="7802"/>
                </a:lnTo>
                <a:lnTo>
                  <a:pt x="3840" y="7804"/>
                </a:lnTo>
                <a:lnTo>
                  <a:pt x="3840" y="7802"/>
                </a:lnTo>
                <a:lnTo>
                  <a:pt x="3838" y="7800"/>
                </a:lnTo>
                <a:lnTo>
                  <a:pt x="3836" y="7802"/>
                </a:lnTo>
                <a:lnTo>
                  <a:pt x="3834" y="7804"/>
                </a:lnTo>
                <a:lnTo>
                  <a:pt x="3834" y="7802"/>
                </a:lnTo>
                <a:lnTo>
                  <a:pt x="3834" y="7798"/>
                </a:lnTo>
                <a:lnTo>
                  <a:pt x="3830" y="7794"/>
                </a:lnTo>
                <a:lnTo>
                  <a:pt x="3826" y="7792"/>
                </a:lnTo>
                <a:lnTo>
                  <a:pt x="3824" y="7796"/>
                </a:lnTo>
                <a:lnTo>
                  <a:pt x="3824" y="7798"/>
                </a:lnTo>
                <a:lnTo>
                  <a:pt x="3818" y="7798"/>
                </a:lnTo>
                <a:lnTo>
                  <a:pt x="3816" y="7796"/>
                </a:lnTo>
                <a:lnTo>
                  <a:pt x="3814" y="7798"/>
                </a:lnTo>
                <a:lnTo>
                  <a:pt x="3816" y="7802"/>
                </a:lnTo>
                <a:lnTo>
                  <a:pt x="3818" y="7804"/>
                </a:lnTo>
                <a:lnTo>
                  <a:pt x="3818" y="7806"/>
                </a:lnTo>
                <a:lnTo>
                  <a:pt x="3816" y="7806"/>
                </a:lnTo>
                <a:lnTo>
                  <a:pt x="3810" y="7804"/>
                </a:lnTo>
                <a:lnTo>
                  <a:pt x="3808" y="7804"/>
                </a:lnTo>
                <a:lnTo>
                  <a:pt x="3804" y="7808"/>
                </a:lnTo>
                <a:lnTo>
                  <a:pt x="3804" y="7810"/>
                </a:lnTo>
                <a:lnTo>
                  <a:pt x="3806" y="7810"/>
                </a:lnTo>
                <a:lnTo>
                  <a:pt x="3808" y="7812"/>
                </a:lnTo>
                <a:lnTo>
                  <a:pt x="3808" y="7814"/>
                </a:lnTo>
                <a:lnTo>
                  <a:pt x="3808" y="7816"/>
                </a:lnTo>
                <a:lnTo>
                  <a:pt x="3812" y="7814"/>
                </a:lnTo>
                <a:lnTo>
                  <a:pt x="3816" y="7814"/>
                </a:lnTo>
                <a:lnTo>
                  <a:pt x="3818" y="7814"/>
                </a:lnTo>
                <a:lnTo>
                  <a:pt x="3818" y="7818"/>
                </a:lnTo>
                <a:lnTo>
                  <a:pt x="3818" y="7824"/>
                </a:lnTo>
                <a:lnTo>
                  <a:pt x="3820" y="7828"/>
                </a:lnTo>
                <a:lnTo>
                  <a:pt x="3824" y="7830"/>
                </a:lnTo>
                <a:lnTo>
                  <a:pt x="3826" y="7832"/>
                </a:lnTo>
                <a:lnTo>
                  <a:pt x="3828" y="7830"/>
                </a:lnTo>
                <a:lnTo>
                  <a:pt x="3828" y="7826"/>
                </a:lnTo>
                <a:lnTo>
                  <a:pt x="3828" y="7822"/>
                </a:lnTo>
                <a:lnTo>
                  <a:pt x="3828" y="7820"/>
                </a:lnTo>
                <a:lnTo>
                  <a:pt x="3830" y="7822"/>
                </a:lnTo>
                <a:lnTo>
                  <a:pt x="3834" y="7822"/>
                </a:lnTo>
                <a:lnTo>
                  <a:pt x="3836" y="7822"/>
                </a:lnTo>
                <a:lnTo>
                  <a:pt x="3838" y="7822"/>
                </a:lnTo>
                <a:lnTo>
                  <a:pt x="3838" y="7826"/>
                </a:lnTo>
                <a:lnTo>
                  <a:pt x="3836" y="7830"/>
                </a:lnTo>
                <a:lnTo>
                  <a:pt x="3832" y="7834"/>
                </a:lnTo>
                <a:lnTo>
                  <a:pt x="3830" y="7836"/>
                </a:lnTo>
                <a:lnTo>
                  <a:pt x="3834" y="7838"/>
                </a:lnTo>
                <a:lnTo>
                  <a:pt x="3838" y="7838"/>
                </a:lnTo>
                <a:lnTo>
                  <a:pt x="3842" y="7836"/>
                </a:lnTo>
                <a:lnTo>
                  <a:pt x="3844" y="7834"/>
                </a:lnTo>
                <a:lnTo>
                  <a:pt x="3846" y="7834"/>
                </a:lnTo>
                <a:lnTo>
                  <a:pt x="3848" y="7834"/>
                </a:lnTo>
                <a:lnTo>
                  <a:pt x="3848" y="7832"/>
                </a:lnTo>
                <a:lnTo>
                  <a:pt x="3850" y="7832"/>
                </a:lnTo>
                <a:lnTo>
                  <a:pt x="3852" y="7832"/>
                </a:lnTo>
                <a:close/>
                <a:moveTo>
                  <a:pt x="3856" y="7838"/>
                </a:moveTo>
                <a:lnTo>
                  <a:pt x="3856" y="7838"/>
                </a:lnTo>
                <a:lnTo>
                  <a:pt x="3854" y="7840"/>
                </a:lnTo>
                <a:lnTo>
                  <a:pt x="3850" y="7842"/>
                </a:lnTo>
                <a:lnTo>
                  <a:pt x="3850" y="7846"/>
                </a:lnTo>
                <a:lnTo>
                  <a:pt x="3852" y="7846"/>
                </a:lnTo>
                <a:lnTo>
                  <a:pt x="3854" y="7846"/>
                </a:lnTo>
                <a:lnTo>
                  <a:pt x="3860" y="7842"/>
                </a:lnTo>
                <a:lnTo>
                  <a:pt x="3860" y="7838"/>
                </a:lnTo>
                <a:lnTo>
                  <a:pt x="3860" y="7836"/>
                </a:lnTo>
                <a:lnTo>
                  <a:pt x="3858" y="7836"/>
                </a:lnTo>
                <a:lnTo>
                  <a:pt x="3856" y="7838"/>
                </a:lnTo>
                <a:close/>
                <a:moveTo>
                  <a:pt x="3780" y="7788"/>
                </a:moveTo>
                <a:lnTo>
                  <a:pt x="3780" y="7788"/>
                </a:lnTo>
                <a:lnTo>
                  <a:pt x="3782" y="7788"/>
                </a:lnTo>
                <a:lnTo>
                  <a:pt x="3786" y="7788"/>
                </a:lnTo>
                <a:lnTo>
                  <a:pt x="3786" y="7784"/>
                </a:lnTo>
                <a:lnTo>
                  <a:pt x="3786" y="7782"/>
                </a:lnTo>
                <a:lnTo>
                  <a:pt x="3784" y="7782"/>
                </a:lnTo>
                <a:lnTo>
                  <a:pt x="3782" y="7784"/>
                </a:lnTo>
                <a:lnTo>
                  <a:pt x="3780" y="7786"/>
                </a:lnTo>
                <a:lnTo>
                  <a:pt x="3780" y="7788"/>
                </a:lnTo>
                <a:close/>
                <a:moveTo>
                  <a:pt x="3800" y="7744"/>
                </a:moveTo>
                <a:lnTo>
                  <a:pt x="3800" y="7744"/>
                </a:lnTo>
                <a:lnTo>
                  <a:pt x="3800" y="7742"/>
                </a:lnTo>
                <a:lnTo>
                  <a:pt x="3802" y="7740"/>
                </a:lnTo>
                <a:lnTo>
                  <a:pt x="3802" y="7738"/>
                </a:lnTo>
                <a:lnTo>
                  <a:pt x="3802" y="7734"/>
                </a:lnTo>
                <a:lnTo>
                  <a:pt x="3800" y="7732"/>
                </a:lnTo>
                <a:lnTo>
                  <a:pt x="3798" y="7732"/>
                </a:lnTo>
                <a:lnTo>
                  <a:pt x="3790" y="7740"/>
                </a:lnTo>
                <a:lnTo>
                  <a:pt x="3788" y="7742"/>
                </a:lnTo>
                <a:lnTo>
                  <a:pt x="3788" y="7744"/>
                </a:lnTo>
                <a:lnTo>
                  <a:pt x="3792" y="7752"/>
                </a:lnTo>
                <a:lnTo>
                  <a:pt x="3794" y="7752"/>
                </a:lnTo>
                <a:lnTo>
                  <a:pt x="3796" y="7752"/>
                </a:lnTo>
                <a:lnTo>
                  <a:pt x="3798" y="7748"/>
                </a:lnTo>
                <a:lnTo>
                  <a:pt x="3800" y="7744"/>
                </a:lnTo>
                <a:close/>
                <a:moveTo>
                  <a:pt x="3808" y="7788"/>
                </a:moveTo>
                <a:lnTo>
                  <a:pt x="3808" y="7788"/>
                </a:lnTo>
                <a:lnTo>
                  <a:pt x="3810" y="7790"/>
                </a:lnTo>
                <a:lnTo>
                  <a:pt x="3812" y="7788"/>
                </a:lnTo>
                <a:lnTo>
                  <a:pt x="3814" y="7788"/>
                </a:lnTo>
                <a:lnTo>
                  <a:pt x="3818" y="7790"/>
                </a:lnTo>
                <a:lnTo>
                  <a:pt x="3822" y="7792"/>
                </a:lnTo>
                <a:lnTo>
                  <a:pt x="3824" y="7790"/>
                </a:lnTo>
                <a:lnTo>
                  <a:pt x="3820" y="7786"/>
                </a:lnTo>
                <a:lnTo>
                  <a:pt x="3814" y="7780"/>
                </a:lnTo>
                <a:lnTo>
                  <a:pt x="3812" y="7778"/>
                </a:lnTo>
                <a:lnTo>
                  <a:pt x="3810" y="7778"/>
                </a:lnTo>
                <a:lnTo>
                  <a:pt x="3808" y="7776"/>
                </a:lnTo>
                <a:lnTo>
                  <a:pt x="3806" y="7774"/>
                </a:lnTo>
                <a:lnTo>
                  <a:pt x="3804" y="7772"/>
                </a:lnTo>
                <a:lnTo>
                  <a:pt x="3804" y="7774"/>
                </a:lnTo>
                <a:lnTo>
                  <a:pt x="3802" y="7774"/>
                </a:lnTo>
                <a:lnTo>
                  <a:pt x="3800" y="7774"/>
                </a:lnTo>
                <a:lnTo>
                  <a:pt x="3792" y="7768"/>
                </a:lnTo>
                <a:lnTo>
                  <a:pt x="3780" y="7764"/>
                </a:lnTo>
                <a:lnTo>
                  <a:pt x="3776" y="7762"/>
                </a:lnTo>
                <a:lnTo>
                  <a:pt x="3770" y="7758"/>
                </a:lnTo>
                <a:lnTo>
                  <a:pt x="3764" y="7754"/>
                </a:lnTo>
                <a:lnTo>
                  <a:pt x="3760" y="7752"/>
                </a:lnTo>
                <a:lnTo>
                  <a:pt x="3762" y="7756"/>
                </a:lnTo>
                <a:lnTo>
                  <a:pt x="3766" y="7760"/>
                </a:lnTo>
                <a:lnTo>
                  <a:pt x="3766" y="7762"/>
                </a:lnTo>
                <a:lnTo>
                  <a:pt x="3766" y="7764"/>
                </a:lnTo>
                <a:lnTo>
                  <a:pt x="3768" y="7766"/>
                </a:lnTo>
                <a:lnTo>
                  <a:pt x="3772" y="7768"/>
                </a:lnTo>
                <a:lnTo>
                  <a:pt x="3774" y="7770"/>
                </a:lnTo>
                <a:lnTo>
                  <a:pt x="3778" y="7772"/>
                </a:lnTo>
                <a:lnTo>
                  <a:pt x="3784" y="7774"/>
                </a:lnTo>
                <a:lnTo>
                  <a:pt x="3790" y="7776"/>
                </a:lnTo>
                <a:lnTo>
                  <a:pt x="3792" y="7778"/>
                </a:lnTo>
                <a:lnTo>
                  <a:pt x="3796" y="7780"/>
                </a:lnTo>
                <a:lnTo>
                  <a:pt x="3798" y="7782"/>
                </a:lnTo>
                <a:lnTo>
                  <a:pt x="3800" y="7782"/>
                </a:lnTo>
                <a:lnTo>
                  <a:pt x="3800" y="7780"/>
                </a:lnTo>
                <a:lnTo>
                  <a:pt x="3804" y="7782"/>
                </a:lnTo>
                <a:lnTo>
                  <a:pt x="3806" y="7784"/>
                </a:lnTo>
                <a:lnTo>
                  <a:pt x="3806" y="7786"/>
                </a:lnTo>
                <a:lnTo>
                  <a:pt x="3806" y="7788"/>
                </a:lnTo>
                <a:lnTo>
                  <a:pt x="3808" y="7788"/>
                </a:lnTo>
                <a:close/>
                <a:moveTo>
                  <a:pt x="3790" y="7696"/>
                </a:moveTo>
                <a:lnTo>
                  <a:pt x="3790" y="7696"/>
                </a:lnTo>
                <a:lnTo>
                  <a:pt x="3790" y="7694"/>
                </a:lnTo>
                <a:lnTo>
                  <a:pt x="3790" y="7690"/>
                </a:lnTo>
                <a:lnTo>
                  <a:pt x="3786" y="7680"/>
                </a:lnTo>
                <a:lnTo>
                  <a:pt x="3784" y="7682"/>
                </a:lnTo>
                <a:lnTo>
                  <a:pt x="3784" y="7686"/>
                </a:lnTo>
                <a:lnTo>
                  <a:pt x="3782" y="7688"/>
                </a:lnTo>
                <a:lnTo>
                  <a:pt x="3780" y="7692"/>
                </a:lnTo>
                <a:lnTo>
                  <a:pt x="3784" y="7694"/>
                </a:lnTo>
                <a:lnTo>
                  <a:pt x="3786" y="7696"/>
                </a:lnTo>
                <a:lnTo>
                  <a:pt x="3790" y="7696"/>
                </a:lnTo>
                <a:close/>
                <a:moveTo>
                  <a:pt x="3758" y="7690"/>
                </a:moveTo>
                <a:lnTo>
                  <a:pt x="3758" y="7690"/>
                </a:lnTo>
                <a:lnTo>
                  <a:pt x="3756" y="7686"/>
                </a:lnTo>
                <a:lnTo>
                  <a:pt x="3754" y="7688"/>
                </a:lnTo>
                <a:lnTo>
                  <a:pt x="3754" y="7692"/>
                </a:lnTo>
                <a:lnTo>
                  <a:pt x="3754" y="7696"/>
                </a:lnTo>
                <a:lnTo>
                  <a:pt x="3750" y="7692"/>
                </a:lnTo>
                <a:lnTo>
                  <a:pt x="3750" y="7690"/>
                </a:lnTo>
                <a:lnTo>
                  <a:pt x="3748" y="7690"/>
                </a:lnTo>
                <a:lnTo>
                  <a:pt x="3746" y="7694"/>
                </a:lnTo>
                <a:lnTo>
                  <a:pt x="3746" y="7698"/>
                </a:lnTo>
                <a:lnTo>
                  <a:pt x="3746" y="7702"/>
                </a:lnTo>
                <a:lnTo>
                  <a:pt x="3748" y="7704"/>
                </a:lnTo>
                <a:lnTo>
                  <a:pt x="3748" y="7706"/>
                </a:lnTo>
                <a:lnTo>
                  <a:pt x="3746" y="7708"/>
                </a:lnTo>
                <a:lnTo>
                  <a:pt x="3748" y="7712"/>
                </a:lnTo>
                <a:lnTo>
                  <a:pt x="3750" y="7714"/>
                </a:lnTo>
                <a:lnTo>
                  <a:pt x="3750" y="7716"/>
                </a:lnTo>
                <a:lnTo>
                  <a:pt x="3754" y="7708"/>
                </a:lnTo>
                <a:lnTo>
                  <a:pt x="3758" y="7698"/>
                </a:lnTo>
                <a:lnTo>
                  <a:pt x="3758" y="7694"/>
                </a:lnTo>
                <a:lnTo>
                  <a:pt x="3758" y="7690"/>
                </a:lnTo>
                <a:close/>
                <a:moveTo>
                  <a:pt x="3778" y="7704"/>
                </a:moveTo>
                <a:lnTo>
                  <a:pt x="3778" y="7704"/>
                </a:lnTo>
                <a:lnTo>
                  <a:pt x="3782" y="7704"/>
                </a:lnTo>
                <a:lnTo>
                  <a:pt x="3782" y="7702"/>
                </a:lnTo>
                <a:lnTo>
                  <a:pt x="3782" y="7700"/>
                </a:lnTo>
                <a:lnTo>
                  <a:pt x="3778" y="7694"/>
                </a:lnTo>
                <a:lnTo>
                  <a:pt x="3774" y="7692"/>
                </a:lnTo>
                <a:lnTo>
                  <a:pt x="3772" y="7690"/>
                </a:lnTo>
                <a:lnTo>
                  <a:pt x="3770" y="7692"/>
                </a:lnTo>
                <a:lnTo>
                  <a:pt x="3772" y="7694"/>
                </a:lnTo>
                <a:lnTo>
                  <a:pt x="3772" y="7696"/>
                </a:lnTo>
                <a:lnTo>
                  <a:pt x="3772" y="7698"/>
                </a:lnTo>
                <a:lnTo>
                  <a:pt x="3774" y="7700"/>
                </a:lnTo>
                <a:lnTo>
                  <a:pt x="3778" y="7704"/>
                </a:lnTo>
                <a:close/>
                <a:moveTo>
                  <a:pt x="3786" y="7706"/>
                </a:moveTo>
                <a:lnTo>
                  <a:pt x="3786" y="7706"/>
                </a:lnTo>
                <a:lnTo>
                  <a:pt x="3786" y="7708"/>
                </a:lnTo>
                <a:lnTo>
                  <a:pt x="3788" y="7710"/>
                </a:lnTo>
                <a:lnTo>
                  <a:pt x="3796" y="7716"/>
                </a:lnTo>
                <a:lnTo>
                  <a:pt x="3800" y="7722"/>
                </a:lnTo>
                <a:lnTo>
                  <a:pt x="3802" y="7720"/>
                </a:lnTo>
                <a:lnTo>
                  <a:pt x="3798" y="7714"/>
                </a:lnTo>
                <a:lnTo>
                  <a:pt x="3792" y="7706"/>
                </a:lnTo>
                <a:lnTo>
                  <a:pt x="3788" y="7704"/>
                </a:lnTo>
                <a:lnTo>
                  <a:pt x="3786" y="7706"/>
                </a:lnTo>
                <a:close/>
                <a:moveTo>
                  <a:pt x="3782" y="7732"/>
                </a:moveTo>
                <a:lnTo>
                  <a:pt x="3782" y="7732"/>
                </a:lnTo>
                <a:lnTo>
                  <a:pt x="3784" y="7732"/>
                </a:lnTo>
                <a:lnTo>
                  <a:pt x="3786" y="7732"/>
                </a:lnTo>
                <a:lnTo>
                  <a:pt x="3792" y="7728"/>
                </a:lnTo>
                <a:lnTo>
                  <a:pt x="3794" y="7726"/>
                </a:lnTo>
                <a:lnTo>
                  <a:pt x="3792" y="7724"/>
                </a:lnTo>
                <a:lnTo>
                  <a:pt x="3782" y="7718"/>
                </a:lnTo>
                <a:lnTo>
                  <a:pt x="3778" y="7714"/>
                </a:lnTo>
                <a:lnTo>
                  <a:pt x="3774" y="7714"/>
                </a:lnTo>
                <a:lnTo>
                  <a:pt x="3772" y="7714"/>
                </a:lnTo>
                <a:lnTo>
                  <a:pt x="3774" y="7718"/>
                </a:lnTo>
                <a:lnTo>
                  <a:pt x="3776" y="7718"/>
                </a:lnTo>
                <a:lnTo>
                  <a:pt x="3778" y="7718"/>
                </a:lnTo>
                <a:lnTo>
                  <a:pt x="3780" y="7720"/>
                </a:lnTo>
                <a:lnTo>
                  <a:pt x="3782" y="7722"/>
                </a:lnTo>
                <a:lnTo>
                  <a:pt x="3780" y="7724"/>
                </a:lnTo>
                <a:lnTo>
                  <a:pt x="3780" y="7726"/>
                </a:lnTo>
                <a:lnTo>
                  <a:pt x="3782" y="7732"/>
                </a:lnTo>
                <a:close/>
                <a:moveTo>
                  <a:pt x="3760" y="7702"/>
                </a:moveTo>
                <a:lnTo>
                  <a:pt x="3760" y="7702"/>
                </a:lnTo>
                <a:lnTo>
                  <a:pt x="3756" y="7712"/>
                </a:lnTo>
                <a:lnTo>
                  <a:pt x="3756" y="7716"/>
                </a:lnTo>
                <a:lnTo>
                  <a:pt x="3758" y="7714"/>
                </a:lnTo>
                <a:lnTo>
                  <a:pt x="3760" y="7710"/>
                </a:lnTo>
                <a:lnTo>
                  <a:pt x="3764" y="7704"/>
                </a:lnTo>
                <a:lnTo>
                  <a:pt x="3764" y="7700"/>
                </a:lnTo>
                <a:lnTo>
                  <a:pt x="3764" y="7698"/>
                </a:lnTo>
                <a:lnTo>
                  <a:pt x="3762" y="7698"/>
                </a:lnTo>
                <a:lnTo>
                  <a:pt x="3760" y="7702"/>
                </a:lnTo>
                <a:close/>
                <a:moveTo>
                  <a:pt x="3764" y="7720"/>
                </a:moveTo>
                <a:lnTo>
                  <a:pt x="3764" y="7720"/>
                </a:lnTo>
                <a:lnTo>
                  <a:pt x="3756" y="7720"/>
                </a:lnTo>
                <a:lnTo>
                  <a:pt x="3754" y="7720"/>
                </a:lnTo>
                <a:lnTo>
                  <a:pt x="3752" y="7722"/>
                </a:lnTo>
                <a:lnTo>
                  <a:pt x="3754" y="7724"/>
                </a:lnTo>
                <a:lnTo>
                  <a:pt x="3758" y="7726"/>
                </a:lnTo>
                <a:lnTo>
                  <a:pt x="3762" y="7726"/>
                </a:lnTo>
                <a:lnTo>
                  <a:pt x="3764" y="7724"/>
                </a:lnTo>
                <a:lnTo>
                  <a:pt x="3766" y="7722"/>
                </a:lnTo>
                <a:lnTo>
                  <a:pt x="3764" y="7720"/>
                </a:lnTo>
                <a:close/>
                <a:moveTo>
                  <a:pt x="3744" y="7666"/>
                </a:moveTo>
                <a:lnTo>
                  <a:pt x="3744" y="7666"/>
                </a:lnTo>
                <a:lnTo>
                  <a:pt x="3742" y="7666"/>
                </a:lnTo>
                <a:lnTo>
                  <a:pt x="3740" y="7668"/>
                </a:lnTo>
                <a:lnTo>
                  <a:pt x="3740" y="7676"/>
                </a:lnTo>
                <a:lnTo>
                  <a:pt x="3736" y="7682"/>
                </a:lnTo>
                <a:lnTo>
                  <a:pt x="3736" y="7686"/>
                </a:lnTo>
                <a:lnTo>
                  <a:pt x="3740" y="7686"/>
                </a:lnTo>
                <a:lnTo>
                  <a:pt x="3742" y="7684"/>
                </a:lnTo>
                <a:lnTo>
                  <a:pt x="3744" y="7682"/>
                </a:lnTo>
                <a:lnTo>
                  <a:pt x="3744" y="7678"/>
                </a:lnTo>
                <a:lnTo>
                  <a:pt x="3746" y="7674"/>
                </a:lnTo>
                <a:lnTo>
                  <a:pt x="3748" y="7670"/>
                </a:lnTo>
                <a:lnTo>
                  <a:pt x="3744" y="7666"/>
                </a:lnTo>
                <a:close/>
                <a:moveTo>
                  <a:pt x="3780" y="7668"/>
                </a:moveTo>
                <a:lnTo>
                  <a:pt x="3780" y="7668"/>
                </a:lnTo>
                <a:lnTo>
                  <a:pt x="3778" y="7668"/>
                </a:lnTo>
                <a:lnTo>
                  <a:pt x="3778" y="7670"/>
                </a:lnTo>
                <a:lnTo>
                  <a:pt x="3778" y="7672"/>
                </a:lnTo>
                <a:lnTo>
                  <a:pt x="3782" y="7674"/>
                </a:lnTo>
                <a:lnTo>
                  <a:pt x="3784" y="7674"/>
                </a:lnTo>
                <a:lnTo>
                  <a:pt x="3784" y="7672"/>
                </a:lnTo>
                <a:lnTo>
                  <a:pt x="3782" y="7668"/>
                </a:lnTo>
                <a:lnTo>
                  <a:pt x="3780" y="7668"/>
                </a:lnTo>
                <a:close/>
                <a:moveTo>
                  <a:pt x="3792" y="7664"/>
                </a:moveTo>
                <a:lnTo>
                  <a:pt x="3792" y="7664"/>
                </a:lnTo>
                <a:lnTo>
                  <a:pt x="3790" y="7662"/>
                </a:lnTo>
                <a:lnTo>
                  <a:pt x="3788" y="7662"/>
                </a:lnTo>
                <a:lnTo>
                  <a:pt x="3784" y="7664"/>
                </a:lnTo>
                <a:lnTo>
                  <a:pt x="3784" y="7668"/>
                </a:lnTo>
                <a:lnTo>
                  <a:pt x="3786" y="7670"/>
                </a:lnTo>
                <a:lnTo>
                  <a:pt x="3788" y="7670"/>
                </a:lnTo>
                <a:lnTo>
                  <a:pt x="3790" y="7668"/>
                </a:lnTo>
                <a:lnTo>
                  <a:pt x="3792" y="7664"/>
                </a:lnTo>
                <a:close/>
                <a:moveTo>
                  <a:pt x="3766" y="7668"/>
                </a:moveTo>
                <a:lnTo>
                  <a:pt x="3766" y="7668"/>
                </a:lnTo>
                <a:lnTo>
                  <a:pt x="3766" y="7664"/>
                </a:lnTo>
                <a:lnTo>
                  <a:pt x="3766" y="7662"/>
                </a:lnTo>
                <a:lnTo>
                  <a:pt x="3762" y="7662"/>
                </a:lnTo>
                <a:lnTo>
                  <a:pt x="3758" y="7662"/>
                </a:lnTo>
                <a:lnTo>
                  <a:pt x="3756" y="7664"/>
                </a:lnTo>
                <a:lnTo>
                  <a:pt x="3752" y="7670"/>
                </a:lnTo>
                <a:lnTo>
                  <a:pt x="3748" y="7674"/>
                </a:lnTo>
                <a:lnTo>
                  <a:pt x="3750" y="7676"/>
                </a:lnTo>
                <a:lnTo>
                  <a:pt x="3756" y="7674"/>
                </a:lnTo>
                <a:lnTo>
                  <a:pt x="3758" y="7674"/>
                </a:lnTo>
                <a:lnTo>
                  <a:pt x="3760" y="7670"/>
                </a:lnTo>
                <a:lnTo>
                  <a:pt x="3760" y="7668"/>
                </a:lnTo>
                <a:lnTo>
                  <a:pt x="3762" y="7670"/>
                </a:lnTo>
                <a:lnTo>
                  <a:pt x="3764" y="7672"/>
                </a:lnTo>
                <a:lnTo>
                  <a:pt x="3766" y="7672"/>
                </a:lnTo>
                <a:lnTo>
                  <a:pt x="3766" y="7670"/>
                </a:lnTo>
                <a:lnTo>
                  <a:pt x="3766" y="7668"/>
                </a:lnTo>
                <a:close/>
                <a:moveTo>
                  <a:pt x="3780" y="7662"/>
                </a:moveTo>
                <a:lnTo>
                  <a:pt x="3780" y="7662"/>
                </a:lnTo>
                <a:lnTo>
                  <a:pt x="3780" y="7660"/>
                </a:lnTo>
                <a:lnTo>
                  <a:pt x="3780" y="7652"/>
                </a:lnTo>
                <a:lnTo>
                  <a:pt x="3778" y="7646"/>
                </a:lnTo>
                <a:lnTo>
                  <a:pt x="3776" y="7644"/>
                </a:lnTo>
                <a:lnTo>
                  <a:pt x="3774" y="7648"/>
                </a:lnTo>
                <a:lnTo>
                  <a:pt x="3776" y="7654"/>
                </a:lnTo>
                <a:lnTo>
                  <a:pt x="3776" y="7660"/>
                </a:lnTo>
                <a:lnTo>
                  <a:pt x="3778" y="7662"/>
                </a:lnTo>
                <a:lnTo>
                  <a:pt x="3780" y="7662"/>
                </a:lnTo>
                <a:close/>
                <a:moveTo>
                  <a:pt x="3770" y="7568"/>
                </a:moveTo>
                <a:lnTo>
                  <a:pt x="3770" y="7568"/>
                </a:lnTo>
                <a:lnTo>
                  <a:pt x="3768" y="7570"/>
                </a:lnTo>
                <a:lnTo>
                  <a:pt x="3766" y="7568"/>
                </a:lnTo>
                <a:lnTo>
                  <a:pt x="3768" y="7562"/>
                </a:lnTo>
                <a:lnTo>
                  <a:pt x="3770" y="7558"/>
                </a:lnTo>
                <a:lnTo>
                  <a:pt x="3770" y="7552"/>
                </a:lnTo>
                <a:lnTo>
                  <a:pt x="3770" y="7534"/>
                </a:lnTo>
                <a:lnTo>
                  <a:pt x="3770" y="7520"/>
                </a:lnTo>
                <a:lnTo>
                  <a:pt x="3768" y="7516"/>
                </a:lnTo>
                <a:lnTo>
                  <a:pt x="3766" y="7514"/>
                </a:lnTo>
                <a:lnTo>
                  <a:pt x="3762" y="7514"/>
                </a:lnTo>
                <a:lnTo>
                  <a:pt x="3760" y="7514"/>
                </a:lnTo>
                <a:lnTo>
                  <a:pt x="3758" y="7512"/>
                </a:lnTo>
                <a:lnTo>
                  <a:pt x="3756" y="7514"/>
                </a:lnTo>
                <a:lnTo>
                  <a:pt x="3748" y="7520"/>
                </a:lnTo>
                <a:lnTo>
                  <a:pt x="3746" y="7522"/>
                </a:lnTo>
                <a:lnTo>
                  <a:pt x="3748" y="7524"/>
                </a:lnTo>
                <a:lnTo>
                  <a:pt x="3750" y="7526"/>
                </a:lnTo>
                <a:lnTo>
                  <a:pt x="3750" y="7528"/>
                </a:lnTo>
                <a:lnTo>
                  <a:pt x="3752" y="7530"/>
                </a:lnTo>
                <a:lnTo>
                  <a:pt x="3756" y="7534"/>
                </a:lnTo>
                <a:lnTo>
                  <a:pt x="3756" y="7538"/>
                </a:lnTo>
                <a:lnTo>
                  <a:pt x="3754" y="7548"/>
                </a:lnTo>
                <a:lnTo>
                  <a:pt x="3752" y="7550"/>
                </a:lnTo>
                <a:lnTo>
                  <a:pt x="3748" y="7548"/>
                </a:lnTo>
                <a:lnTo>
                  <a:pt x="3746" y="7546"/>
                </a:lnTo>
                <a:lnTo>
                  <a:pt x="3742" y="7546"/>
                </a:lnTo>
                <a:lnTo>
                  <a:pt x="3740" y="7548"/>
                </a:lnTo>
                <a:lnTo>
                  <a:pt x="3740" y="7546"/>
                </a:lnTo>
                <a:lnTo>
                  <a:pt x="3738" y="7546"/>
                </a:lnTo>
                <a:lnTo>
                  <a:pt x="3734" y="7546"/>
                </a:lnTo>
                <a:lnTo>
                  <a:pt x="3732" y="7548"/>
                </a:lnTo>
                <a:lnTo>
                  <a:pt x="3730" y="7550"/>
                </a:lnTo>
                <a:lnTo>
                  <a:pt x="3732" y="7556"/>
                </a:lnTo>
                <a:lnTo>
                  <a:pt x="3736" y="7560"/>
                </a:lnTo>
                <a:lnTo>
                  <a:pt x="3738" y="7568"/>
                </a:lnTo>
                <a:lnTo>
                  <a:pt x="3740" y="7572"/>
                </a:lnTo>
                <a:lnTo>
                  <a:pt x="3742" y="7578"/>
                </a:lnTo>
                <a:lnTo>
                  <a:pt x="3746" y="7582"/>
                </a:lnTo>
                <a:lnTo>
                  <a:pt x="3748" y="7584"/>
                </a:lnTo>
                <a:lnTo>
                  <a:pt x="3750" y="7580"/>
                </a:lnTo>
                <a:lnTo>
                  <a:pt x="3750" y="7572"/>
                </a:lnTo>
                <a:lnTo>
                  <a:pt x="3748" y="7568"/>
                </a:lnTo>
                <a:lnTo>
                  <a:pt x="3748" y="7564"/>
                </a:lnTo>
                <a:lnTo>
                  <a:pt x="3748" y="7562"/>
                </a:lnTo>
                <a:lnTo>
                  <a:pt x="3750" y="7562"/>
                </a:lnTo>
                <a:lnTo>
                  <a:pt x="3754" y="7564"/>
                </a:lnTo>
                <a:lnTo>
                  <a:pt x="3758" y="7568"/>
                </a:lnTo>
                <a:lnTo>
                  <a:pt x="3756" y="7570"/>
                </a:lnTo>
                <a:lnTo>
                  <a:pt x="3754" y="7572"/>
                </a:lnTo>
                <a:lnTo>
                  <a:pt x="3754" y="7576"/>
                </a:lnTo>
                <a:lnTo>
                  <a:pt x="3756" y="7578"/>
                </a:lnTo>
                <a:lnTo>
                  <a:pt x="3754" y="7580"/>
                </a:lnTo>
                <a:lnTo>
                  <a:pt x="3754" y="7586"/>
                </a:lnTo>
                <a:lnTo>
                  <a:pt x="3754" y="7588"/>
                </a:lnTo>
                <a:lnTo>
                  <a:pt x="3756" y="7590"/>
                </a:lnTo>
                <a:lnTo>
                  <a:pt x="3762" y="7592"/>
                </a:lnTo>
                <a:lnTo>
                  <a:pt x="3766" y="7590"/>
                </a:lnTo>
                <a:lnTo>
                  <a:pt x="3768" y="7588"/>
                </a:lnTo>
                <a:lnTo>
                  <a:pt x="3770" y="7584"/>
                </a:lnTo>
                <a:lnTo>
                  <a:pt x="3770" y="7578"/>
                </a:lnTo>
                <a:lnTo>
                  <a:pt x="3772" y="7574"/>
                </a:lnTo>
                <a:lnTo>
                  <a:pt x="3774" y="7572"/>
                </a:lnTo>
                <a:lnTo>
                  <a:pt x="3774" y="7570"/>
                </a:lnTo>
                <a:lnTo>
                  <a:pt x="3772" y="7568"/>
                </a:lnTo>
                <a:lnTo>
                  <a:pt x="3770" y="7568"/>
                </a:lnTo>
                <a:close/>
                <a:moveTo>
                  <a:pt x="3742" y="7626"/>
                </a:moveTo>
                <a:lnTo>
                  <a:pt x="3742" y="7626"/>
                </a:lnTo>
                <a:lnTo>
                  <a:pt x="3744" y="7622"/>
                </a:lnTo>
                <a:lnTo>
                  <a:pt x="3746" y="7620"/>
                </a:lnTo>
                <a:lnTo>
                  <a:pt x="3742" y="7618"/>
                </a:lnTo>
                <a:lnTo>
                  <a:pt x="3736" y="7618"/>
                </a:lnTo>
                <a:lnTo>
                  <a:pt x="3730" y="7618"/>
                </a:lnTo>
                <a:lnTo>
                  <a:pt x="3730" y="7620"/>
                </a:lnTo>
                <a:lnTo>
                  <a:pt x="3732" y="7624"/>
                </a:lnTo>
                <a:lnTo>
                  <a:pt x="3732" y="7626"/>
                </a:lnTo>
                <a:lnTo>
                  <a:pt x="3728" y="7632"/>
                </a:lnTo>
                <a:lnTo>
                  <a:pt x="3730" y="7634"/>
                </a:lnTo>
                <a:lnTo>
                  <a:pt x="3734" y="7636"/>
                </a:lnTo>
                <a:lnTo>
                  <a:pt x="3738" y="7636"/>
                </a:lnTo>
                <a:lnTo>
                  <a:pt x="3738" y="7634"/>
                </a:lnTo>
                <a:lnTo>
                  <a:pt x="3738" y="7630"/>
                </a:lnTo>
                <a:lnTo>
                  <a:pt x="3742" y="7626"/>
                </a:lnTo>
                <a:close/>
                <a:moveTo>
                  <a:pt x="3778" y="7630"/>
                </a:moveTo>
                <a:lnTo>
                  <a:pt x="3778" y="7630"/>
                </a:lnTo>
                <a:lnTo>
                  <a:pt x="3776" y="7626"/>
                </a:lnTo>
                <a:lnTo>
                  <a:pt x="3776" y="7622"/>
                </a:lnTo>
                <a:lnTo>
                  <a:pt x="3774" y="7620"/>
                </a:lnTo>
                <a:lnTo>
                  <a:pt x="3772" y="7616"/>
                </a:lnTo>
                <a:lnTo>
                  <a:pt x="3768" y="7616"/>
                </a:lnTo>
                <a:lnTo>
                  <a:pt x="3766" y="7616"/>
                </a:lnTo>
                <a:lnTo>
                  <a:pt x="3766" y="7618"/>
                </a:lnTo>
                <a:lnTo>
                  <a:pt x="3770" y="7622"/>
                </a:lnTo>
                <a:lnTo>
                  <a:pt x="3770" y="7624"/>
                </a:lnTo>
                <a:lnTo>
                  <a:pt x="3768" y="7624"/>
                </a:lnTo>
                <a:lnTo>
                  <a:pt x="3768" y="7628"/>
                </a:lnTo>
                <a:lnTo>
                  <a:pt x="3772" y="7636"/>
                </a:lnTo>
                <a:lnTo>
                  <a:pt x="3776" y="7638"/>
                </a:lnTo>
                <a:lnTo>
                  <a:pt x="3780" y="7638"/>
                </a:lnTo>
                <a:lnTo>
                  <a:pt x="3782" y="7638"/>
                </a:lnTo>
                <a:lnTo>
                  <a:pt x="3784" y="7636"/>
                </a:lnTo>
                <a:lnTo>
                  <a:pt x="3778" y="7630"/>
                </a:lnTo>
                <a:close/>
                <a:moveTo>
                  <a:pt x="3736" y="7582"/>
                </a:moveTo>
                <a:lnTo>
                  <a:pt x="3736" y="7582"/>
                </a:lnTo>
                <a:lnTo>
                  <a:pt x="3738" y="7584"/>
                </a:lnTo>
                <a:lnTo>
                  <a:pt x="3740" y="7584"/>
                </a:lnTo>
                <a:lnTo>
                  <a:pt x="3738" y="7576"/>
                </a:lnTo>
                <a:lnTo>
                  <a:pt x="3736" y="7568"/>
                </a:lnTo>
                <a:lnTo>
                  <a:pt x="3734" y="7566"/>
                </a:lnTo>
                <a:lnTo>
                  <a:pt x="3730" y="7566"/>
                </a:lnTo>
                <a:lnTo>
                  <a:pt x="3728" y="7566"/>
                </a:lnTo>
                <a:lnTo>
                  <a:pt x="3726" y="7568"/>
                </a:lnTo>
                <a:lnTo>
                  <a:pt x="3726" y="7578"/>
                </a:lnTo>
                <a:lnTo>
                  <a:pt x="3726" y="7580"/>
                </a:lnTo>
                <a:lnTo>
                  <a:pt x="3728" y="7580"/>
                </a:lnTo>
                <a:lnTo>
                  <a:pt x="3732" y="7576"/>
                </a:lnTo>
                <a:lnTo>
                  <a:pt x="3734" y="7576"/>
                </a:lnTo>
                <a:lnTo>
                  <a:pt x="3734" y="7578"/>
                </a:lnTo>
                <a:lnTo>
                  <a:pt x="3734" y="7580"/>
                </a:lnTo>
                <a:lnTo>
                  <a:pt x="3736" y="7582"/>
                </a:lnTo>
                <a:close/>
                <a:moveTo>
                  <a:pt x="3742" y="7612"/>
                </a:moveTo>
                <a:lnTo>
                  <a:pt x="3742" y="7612"/>
                </a:lnTo>
                <a:lnTo>
                  <a:pt x="3746" y="7610"/>
                </a:lnTo>
                <a:lnTo>
                  <a:pt x="3746" y="7612"/>
                </a:lnTo>
                <a:lnTo>
                  <a:pt x="3748" y="7612"/>
                </a:lnTo>
                <a:lnTo>
                  <a:pt x="3752" y="7610"/>
                </a:lnTo>
                <a:lnTo>
                  <a:pt x="3754" y="7608"/>
                </a:lnTo>
                <a:lnTo>
                  <a:pt x="3752" y="7606"/>
                </a:lnTo>
                <a:lnTo>
                  <a:pt x="3752" y="7604"/>
                </a:lnTo>
                <a:lnTo>
                  <a:pt x="3754" y="7602"/>
                </a:lnTo>
                <a:lnTo>
                  <a:pt x="3758" y="7600"/>
                </a:lnTo>
                <a:lnTo>
                  <a:pt x="3758" y="7598"/>
                </a:lnTo>
                <a:lnTo>
                  <a:pt x="3756" y="7598"/>
                </a:lnTo>
                <a:lnTo>
                  <a:pt x="3752" y="7598"/>
                </a:lnTo>
                <a:lnTo>
                  <a:pt x="3750" y="7600"/>
                </a:lnTo>
                <a:lnTo>
                  <a:pt x="3750" y="7598"/>
                </a:lnTo>
                <a:lnTo>
                  <a:pt x="3750" y="7596"/>
                </a:lnTo>
                <a:lnTo>
                  <a:pt x="3748" y="7594"/>
                </a:lnTo>
                <a:lnTo>
                  <a:pt x="3746" y="7594"/>
                </a:lnTo>
                <a:lnTo>
                  <a:pt x="3742" y="7592"/>
                </a:lnTo>
                <a:lnTo>
                  <a:pt x="3740" y="7590"/>
                </a:lnTo>
                <a:lnTo>
                  <a:pt x="3734" y="7590"/>
                </a:lnTo>
                <a:lnTo>
                  <a:pt x="3732" y="7592"/>
                </a:lnTo>
                <a:lnTo>
                  <a:pt x="3736" y="7596"/>
                </a:lnTo>
                <a:lnTo>
                  <a:pt x="3740" y="7598"/>
                </a:lnTo>
                <a:lnTo>
                  <a:pt x="3742" y="7600"/>
                </a:lnTo>
                <a:lnTo>
                  <a:pt x="3742" y="7602"/>
                </a:lnTo>
                <a:lnTo>
                  <a:pt x="3738" y="7602"/>
                </a:lnTo>
                <a:lnTo>
                  <a:pt x="3736" y="7600"/>
                </a:lnTo>
                <a:lnTo>
                  <a:pt x="3732" y="7600"/>
                </a:lnTo>
                <a:lnTo>
                  <a:pt x="3730" y="7606"/>
                </a:lnTo>
                <a:lnTo>
                  <a:pt x="3730" y="7608"/>
                </a:lnTo>
                <a:lnTo>
                  <a:pt x="3730" y="7610"/>
                </a:lnTo>
                <a:lnTo>
                  <a:pt x="3734" y="7610"/>
                </a:lnTo>
                <a:lnTo>
                  <a:pt x="3738" y="7608"/>
                </a:lnTo>
                <a:lnTo>
                  <a:pt x="3738" y="7610"/>
                </a:lnTo>
                <a:lnTo>
                  <a:pt x="3736" y="7612"/>
                </a:lnTo>
                <a:lnTo>
                  <a:pt x="3738" y="7614"/>
                </a:lnTo>
                <a:lnTo>
                  <a:pt x="3740" y="7614"/>
                </a:lnTo>
                <a:lnTo>
                  <a:pt x="3742" y="7612"/>
                </a:lnTo>
                <a:close/>
                <a:moveTo>
                  <a:pt x="3758" y="7644"/>
                </a:moveTo>
                <a:lnTo>
                  <a:pt x="3758" y="7644"/>
                </a:lnTo>
                <a:lnTo>
                  <a:pt x="3754" y="7644"/>
                </a:lnTo>
                <a:lnTo>
                  <a:pt x="3750" y="7644"/>
                </a:lnTo>
                <a:lnTo>
                  <a:pt x="3750" y="7646"/>
                </a:lnTo>
                <a:lnTo>
                  <a:pt x="3752" y="7646"/>
                </a:lnTo>
                <a:lnTo>
                  <a:pt x="3756" y="7648"/>
                </a:lnTo>
                <a:lnTo>
                  <a:pt x="3756" y="7650"/>
                </a:lnTo>
                <a:lnTo>
                  <a:pt x="3756" y="7652"/>
                </a:lnTo>
                <a:lnTo>
                  <a:pt x="3760" y="7654"/>
                </a:lnTo>
                <a:lnTo>
                  <a:pt x="3762" y="7654"/>
                </a:lnTo>
                <a:lnTo>
                  <a:pt x="3764" y="7652"/>
                </a:lnTo>
                <a:lnTo>
                  <a:pt x="3768" y="7650"/>
                </a:lnTo>
                <a:lnTo>
                  <a:pt x="3770" y="7650"/>
                </a:lnTo>
                <a:lnTo>
                  <a:pt x="3772" y="7650"/>
                </a:lnTo>
                <a:lnTo>
                  <a:pt x="3772" y="7648"/>
                </a:lnTo>
                <a:lnTo>
                  <a:pt x="3772" y="7642"/>
                </a:lnTo>
                <a:lnTo>
                  <a:pt x="3770" y="7638"/>
                </a:lnTo>
                <a:lnTo>
                  <a:pt x="3766" y="7634"/>
                </a:lnTo>
                <a:lnTo>
                  <a:pt x="3764" y="7634"/>
                </a:lnTo>
                <a:lnTo>
                  <a:pt x="3762" y="7636"/>
                </a:lnTo>
                <a:lnTo>
                  <a:pt x="3764" y="7642"/>
                </a:lnTo>
                <a:lnTo>
                  <a:pt x="3764" y="7644"/>
                </a:lnTo>
                <a:lnTo>
                  <a:pt x="3758" y="7644"/>
                </a:lnTo>
                <a:close/>
                <a:moveTo>
                  <a:pt x="3752" y="7630"/>
                </a:moveTo>
                <a:lnTo>
                  <a:pt x="3752" y="7630"/>
                </a:lnTo>
                <a:lnTo>
                  <a:pt x="3750" y="7634"/>
                </a:lnTo>
                <a:lnTo>
                  <a:pt x="3752" y="7636"/>
                </a:lnTo>
                <a:lnTo>
                  <a:pt x="3754" y="7640"/>
                </a:lnTo>
                <a:lnTo>
                  <a:pt x="3758" y="7640"/>
                </a:lnTo>
                <a:lnTo>
                  <a:pt x="3760" y="7640"/>
                </a:lnTo>
                <a:lnTo>
                  <a:pt x="3760" y="7636"/>
                </a:lnTo>
                <a:lnTo>
                  <a:pt x="3756" y="7632"/>
                </a:lnTo>
                <a:lnTo>
                  <a:pt x="3754" y="7630"/>
                </a:lnTo>
                <a:lnTo>
                  <a:pt x="3752" y="7630"/>
                </a:lnTo>
                <a:close/>
                <a:moveTo>
                  <a:pt x="3770" y="7654"/>
                </a:moveTo>
                <a:lnTo>
                  <a:pt x="3770" y="7654"/>
                </a:lnTo>
                <a:lnTo>
                  <a:pt x="3768" y="7654"/>
                </a:lnTo>
                <a:lnTo>
                  <a:pt x="3766" y="7654"/>
                </a:lnTo>
                <a:lnTo>
                  <a:pt x="3766" y="7656"/>
                </a:lnTo>
                <a:lnTo>
                  <a:pt x="3770" y="7660"/>
                </a:lnTo>
                <a:lnTo>
                  <a:pt x="3772" y="7660"/>
                </a:lnTo>
                <a:lnTo>
                  <a:pt x="3772" y="7658"/>
                </a:lnTo>
                <a:lnTo>
                  <a:pt x="3772" y="7656"/>
                </a:lnTo>
                <a:lnTo>
                  <a:pt x="3770" y="7654"/>
                </a:lnTo>
                <a:close/>
                <a:moveTo>
                  <a:pt x="3750" y="7544"/>
                </a:moveTo>
                <a:lnTo>
                  <a:pt x="3750" y="7544"/>
                </a:lnTo>
                <a:lnTo>
                  <a:pt x="3752" y="7542"/>
                </a:lnTo>
                <a:lnTo>
                  <a:pt x="3752" y="7536"/>
                </a:lnTo>
                <a:lnTo>
                  <a:pt x="3750" y="7534"/>
                </a:lnTo>
                <a:lnTo>
                  <a:pt x="3746" y="7534"/>
                </a:lnTo>
                <a:lnTo>
                  <a:pt x="3742" y="7534"/>
                </a:lnTo>
                <a:lnTo>
                  <a:pt x="3740" y="7538"/>
                </a:lnTo>
                <a:lnTo>
                  <a:pt x="3740" y="7540"/>
                </a:lnTo>
                <a:lnTo>
                  <a:pt x="3742" y="7540"/>
                </a:lnTo>
                <a:lnTo>
                  <a:pt x="3746" y="7540"/>
                </a:lnTo>
                <a:lnTo>
                  <a:pt x="3750" y="7544"/>
                </a:lnTo>
                <a:close/>
                <a:moveTo>
                  <a:pt x="3750" y="7500"/>
                </a:moveTo>
                <a:lnTo>
                  <a:pt x="3750" y="7500"/>
                </a:lnTo>
                <a:lnTo>
                  <a:pt x="3748" y="7504"/>
                </a:lnTo>
                <a:lnTo>
                  <a:pt x="3750" y="7506"/>
                </a:lnTo>
                <a:lnTo>
                  <a:pt x="3762" y="7510"/>
                </a:lnTo>
                <a:lnTo>
                  <a:pt x="3768" y="7512"/>
                </a:lnTo>
                <a:lnTo>
                  <a:pt x="3770" y="7508"/>
                </a:lnTo>
                <a:lnTo>
                  <a:pt x="3772" y="7506"/>
                </a:lnTo>
                <a:lnTo>
                  <a:pt x="3770" y="7506"/>
                </a:lnTo>
                <a:lnTo>
                  <a:pt x="3768" y="7506"/>
                </a:lnTo>
                <a:lnTo>
                  <a:pt x="3766" y="7504"/>
                </a:lnTo>
                <a:lnTo>
                  <a:pt x="3766" y="7502"/>
                </a:lnTo>
                <a:lnTo>
                  <a:pt x="3766" y="7500"/>
                </a:lnTo>
                <a:lnTo>
                  <a:pt x="3766" y="7496"/>
                </a:lnTo>
                <a:lnTo>
                  <a:pt x="3766" y="7492"/>
                </a:lnTo>
                <a:lnTo>
                  <a:pt x="3762" y="7482"/>
                </a:lnTo>
                <a:lnTo>
                  <a:pt x="3760" y="7482"/>
                </a:lnTo>
                <a:lnTo>
                  <a:pt x="3758" y="7484"/>
                </a:lnTo>
                <a:lnTo>
                  <a:pt x="3758" y="7490"/>
                </a:lnTo>
                <a:lnTo>
                  <a:pt x="3758" y="7492"/>
                </a:lnTo>
                <a:lnTo>
                  <a:pt x="3760" y="7498"/>
                </a:lnTo>
                <a:lnTo>
                  <a:pt x="3758" y="7500"/>
                </a:lnTo>
                <a:lnTo>
                  <a:pt x="3756" y="7498"/>
                </a:lnTo>
                <a:lnTo>
                  <a:pt x="3754" y="7498"/>
                </a:lnTo>
                <a:lnTo>
                  <a:pt x="3750" y="7500"/>
                </a:lnTo>
                <a:close/>
                <a:moveTo>
                  <a:pt x="3790" y="7468"/>
                </a:moveTo>
                <a:lnTo>
                  <a:pt x="3790" y="7468"/>
                </a:lnTo>
                <a:lnTo>
                  <a:pt x="3794" y="7470"/>
                </a:lnTo>
                <a:lnTo>
                  <a:pt x="3796" y="7466"/>
                </a:lnTo>
                <a:lnTo>
                  <a:pt x="3794" y="7464"/>
                </a:lnTo>
                <a:lnTo>
                  <a:pt x="3788" y="7462"/>
                </a:lnTo>
                <a:lnTo>
                  <a:pt x="3784" y="7462"/>
                </a:lnTo>
                <a:lnTo>
                  <a:pt x="3778" y="7462"/>
                </a:lnTo>
                <a:lnTo>
                  <a:pt x="3772" y="7462"/>
                </a:lnTo>
                <a:lnTo>
                  <a:pt x="3770" y="7464"/>
                </a:lnTo>
                <a:lnTo>
                  <a:pt x="3770" y="7466"/>
                </a:lnTo>
                <a:lnTo>
                  <a:pt x="3772" y="7468"/>
                </a:lnTo>
                <a:lnTo>
                  <a:pt x="3778" y="7468"/>
                </a:lnTo>
                <a:lnTo>
                  <a:pt x="3784" y="7466"/>
                </a:lnTo>
                <a:lnTo>
                  <a:pt x="3790" y="7468"/>
                </a:lnTo>
                <a:close/>
                <a:moveTo>
                  <a:pt x="3742" y="7476"/>
                </a:moveTo>
                <a:lnTo>
                  <a:pt x="3742" y="7476"/>
                </a:lnTo>
                <a:lnTo>
                  <a:pt x="3740" y="7476"/>
                </a:lnTo>
                <a:lnTo>
                  <a:pt x="3738" y="7478"/>
                </a:lnTo>
                <a:lnTo>
                  <a:pt x="3740" y="7482"/>
                </a:lnTo>
                <a:lnTo>
                  <a:pt x="3746" y="7496"/>
                </a:lnTo>
                <a:lnTo>
                  <a:pt x="3748" y="7496"/>
                </a:lnTo>
                <a:lnTo>
                  <a:pt x="3750" y="7496"/>
                </a:lnTo>
                <a:lnTo>
                  <a:pt x="3754" y="7494"/>
                </a:lnTo>
                <a:lnTo>
                  <a:pt x="3754" y="7492"/>
                </a:lnTo>
                <a:lnTo>
                  <a:pt x="3754" y="7490"/>
                </a:lnTo>
                <a:lnTo>
                  <a:pt x="3756" y="7484"/>
                </a:lnTo>
                <a:lnTo>
                  <a:pt x="3754" y="7482"/>
                </a:lnTo>
                <a:lnTo>
                  <a:pt x="3752" y="7480"/>
                </a:lnTo>
                <a:lnTo>
                  <a:pt x="3742" y="7476"/>
                </a:lnTo>
                <a:close/>
                <a:moveTo>
                  <a:pt x="3730" y="7544"/>
                </a:moveTo>
                <a:lnTo>
                  <a:pt x="3730" y="7544"/>
                </a:lnTo>
                <a:lnTo>
                  <a:pt x="3730" y="7542"/>
                </a:lnTo>
                <a:lnTo>
                  <a:pt x="3732" y="7540"/>
                </a:lnTo>
                <a:lnTo>
                  <a:pt x="3734" y="7538"/>
                </a:lnTo>
                <a:lnTo>
                  <a:pt x="3734" y="7534"/>
                </a:lnTo>
                <a:lnTo>
                  <a:pt x="3734" y="7532"/>
                </a:lnTo>
                <a:lnTo>
                  <a:pt x="3732" y="7534"/>
                </a:lnTo>
                <a:lnTo>
                  <a:pt x="3730" y="7536"/>
                </a:lnTo>
                <a:lnTo>
                  <a:pt x="3726" y="7538"/>
                </a:lnTo>
                <a:lnTo>
                  <a:pt x="3724" y="7538"/>
                </a:lnTo>
                <a:lnTo>
                  <a:pt x="3722" y="7540"/>
                </a:lnTo>
                <a:lnTo>
                  <a:pt x="3722" y="7542"/>
                </a:lnTo>
                <a:lnTo>
                  <a:pt x="3724" y="7546"/>
                </a:lnTo>
                <a:lnTo>
                  <a:pt x="3728" y="7548"/>
                </a:lnTo>
                <a:lnTo>
                  <a:pt x="3730" y="7544"/>
                </a:lnTo>
                <a:close/>
                <a:moveTo>
                  <a:pt x="3742" y="7474"/>
                </a:moveTo>
                <a:lnTo>
                  <a:pt x="3742" y="7474"/>
                </a:lnTo>
                <a:lnTo>
                  <a:pt x="3746" y="7472"/>
                </a:lnTo>
                <a:lnTo>
                  <a:pt x="3748" y="7474"/>
                </a:lnTo>
                <a:lnTo>
                  <a:pt x="3750" y="7476"/>
                </a:lnTo>
                <a:lnTo>
                  <a:pt x="3754" y="7476"/>
                </a:lnTo>
                <a:lnTo>
                  <a:pt x="3756" y="7474"/>
                </a:lnTo>
                <a:lnTo>
                  <a:pt x="3758" y="7468"/>
                </a:lnTo>
                <a:lnTo>
                  <a:pt x="3756" y="7462"/>
                </a:lnTo>
                <a:lnTo>
                  <a:pt x="3756" y="7460"/>
                </a:lnTo>
                <a:lnTo>
                  <a:pt x="3754" y="7460"/>
                </a:lnTo>
                <a:lnTo>
                  <a:pt x="3752" y="7464"/>
                </a:lnTo>
                <a:lnTo>
                  <a:pt x="3750" y="7466"/>
                </a:lnTo>
                <a:lnTo>
                  <a:pt x="3744" y="7468"/>
                </a:lnTo>
                <a:lnTo>
                  <a:pt x="3740" y="7470"/>
                </a:lnTo>
                <a:lnTo>
                  <a:pt x="3738" y="7472"/>
                </a:lnTo>
                <a:lnTo>
                  <a:pt x="3738" y="7474"/>
                </a:lnTo>
                <a:lnTo>
                  <a:pt x="3742" y="7474"/>
                </a:lnTo>
                <a:close/>
                <a:moveTo>
                  <a:pt x="3732" y="7494"/>
                </a:moveTo>
                <a:lnTo>
                  <a:pt x="3732" y="7494"/>
                </a:lnTo>
                <a:lnTo>
                  <a:pt x="3734" y="7494"/>
                </a:lnTo>
                <a:lnTo>
                  <a:pt x="3736" y="7494"/>
                </a:lnTo>
                <a:lnTo>
                  <a:pt x="3736" y="7502"/>
                </a:lnTo>
                <a:lnTo>
                  <a:pt x="3738" y="7510"/>
                </a:lnTo>
                <a:lnTo>
                  <a:pt x="3738" y="7512"/>
                </a:lnTo>
                <a:lnTo>
                  <a:pt x="3740" y="7512"/>
                </a:lnTo>
                <a:lnTo>
                  <a:pt x="3744" y="7508"/>
                </a:lnTo>
                <a:lnTo>
                  <a:pt x="3746" y="7504"/>
                </a:lnTo>
                <a:lnTo>
                  <a:pt x="3740" y="7492"/>
                </a:lnTo>
                <a:lnTo>
                  <a:pt x="3738" y="7486"/>
                </a:lnTo>
                <a:lnTo>
                  <a:pt x="3736" y="7480"/>
                </a:lnTo>
                <a:lnTo>
                  <a:pt x="3734" y="7472"/>
                </a:lnTo>
                <a:lnTo>
                  <a:pt x="3732" y="7472"/>
                </a:lnTo>
                <a:lnTo>
                  <a:pt x="3728" y="7474"/>
                </a:lnTo>
                <a:lnTo>
                  <a:pt x="3726" y="7478"/>
                </a:lnTo>
                <a:lnTo>
                  <a:pt x="3726" y="7480"/>
                </a:lnTo>
                <a:lnTo>
                  <a:pt x="3728" y="7484"/>
                </a:lnTo>
                <a:lnTo>
                  <a:pt x="3728" y="7488"/>
                </a:lnTo>
                <a:lnTo>
                  <a:pt x="3726" y="7490"/>
                </a:lnTo>
                <a:lnTo>
                  <a:pt x="3726" y="7494"/>
                </a:lnTo>
                <a:lnTo>
                  <a:pt x="3728" y="7494"/>
                </a:lnTo>
                <a:lnTo>
                  <a:pt x="3732" y="7494"/>
                </a:lnTo>
                <a:close/>
                <a:moveTo>
                  <a:pt x="3722" y="7504"/>
                </a:moveTo>
                <a:lnTo>
                  <a:pt x="3722" y="7504"/>
                </a:lnTo>
                <a:lnTo>
                  <a:pt x="3722" y="7508"/>
                </a:lnTo>
                <a:lnTo>
                  <a:pt x="3724" y="7510"/>
                </a:lnTo>
                <a:lnTo>
                  <a:pt x="3728" y="7510"/>
                </a:lnTo>
                <a:lnTo>
                  <a:pt x="3732" y="7510"/>
                </a:lnTo>
                <a:lnTo>
                  <a:pt x="3734" y="7506"/>
                </a:lnTo>
                <a:lnTo>
                  <a:pt x="3734" y="7502"/>
                </a:lnTo>
                <a:lnTo>
                  <a:pt x="3732" y="7498"/>
                </a:lnTo>
                <a:lnTo>
                  <a:pt x="3730" y="7498"/>
                </a:lnTo>
                <a:lnTo>
                  <a:pt x="3728" y="7500"/>
                </a:lnTo>
                <a:lnTo>
                  <a:pt x="3724" y="7498"/>
                </a:lnTo>
                <a:lnTo>
                  <a:pt x="3722" y="7500"/>
                </a:lnTo>
                <a:lnTo>
                  <a:pt x="3722" y="7504"/>
                </a:lnTo>
                <a:close/>
                <a:moveTo>
                  <a:pt x="3732" y="7530"/>
                </a:moveTo>
                <a:lnTo>
                  <a:pt x="3732" y="7530"/>
                </a:lnTo>
                <a:lnTo>
                  <a:pt x="3734" y="7530"/>
                </a:lnTo>
                <a:lnTo>
                  <a:pt x="3736" y="7530"/>
                </a:lnTo>
                <a:lnTo>
                  <a:pt x="3738" y="7532"/>
                </a:lnTo>
                <a:lnTo>
                  <a:pt x="3738" y="7530"/>
                </a:lnTo>
                <a:lnTo>
                  <a:pt x="3738" y="7524"/>
                </a:lnTo>
                <a:lnTo>
                  <a:pt x="3732" y="7522"/>
                </a:lnTo>
                <a:lnTo>
                  <a:pt x="3728" y="7522"/>
                </a:lnTo>
                <a:lnTo>
                  <a:pt x="3724" y="7522"/>
                </a:lnTo>
                <a:lnTo>
                  <a:pt x="3722" y="7524"/>
                </a:lnTo>
                <a:lnTo>
                  <a:pt x="3722" y="7528"/>
                </a:lnTo>
                <a:lnTo>
                  <a:pt x="3722" y="7530"/>
                </a:lnTo>
                <a:lnTo>
                  <a:pt x="3726" y="7530"/>
                </a:lnTo>
                <a:lnTo>
                  <a:pt x="3732" y="7530"/>
                </a:lnTo>
                <a:close/>
                <a:moveTo>
                  <a:pt x="3746" y="7456"/>
                </a:moveTo>
                <a:lnTo>
                  <a:pt x="3746" y="7456"/>
                </a:lnTo>
                <a:lnTo>
                  <a:pt x="3742" y="7454"/>
                </a:lnTo>
                <a:lnTo>
                  <a:pt x="3740" y="7456"/>
                </a:lnTo>
                <a:lnTo>
                  <a:pt x="3738" y="7458"/>
                </a:lnTo>
                <a:lnTo>
                  <a:pt x="3740" y="7462"/>
                </a:lnTo>
                <a:lnTo>
                  <a:pt x="3742" y="7462"/>
                </a:lnTo>
                <a:lnTo>
                  <a:pt x="3744" y="7462"/>
                </a:lnTo>
                <a:lnTo>
                  <a:pt x="3746" y="7460"/>
                </a:lnTo>
                <a:lnTo>
                  <a:pt x="3746" y="7456"/>
                </a:lnTo>
                <a:close/>
                <a:moveTo>
                  <a:pt x="3788" y="7418"/>
                </a:moveTo>
                <a:lnTo>
                  <a:pt x="3788" y="7418"/>
                </a:lnTo>
                <a:lnTo>
                  <a:pt x="3788" y="7414"/>
                </a:lnTo>
                <a:lnTo>
                  <a:pt x="3784" y="7414"/>
                </a:lnTo>
                <a:lnTo>
                  <a:pt x="3780" y="7414"/>
                </a:lnTo>
                <a:lnTo>
                  <a:pt x="3780" y="7416"/>
                </a:lnTo>
                <a:lnTo>
                  <a:pt x="3780" y="7420"/>
                </a:lnTo>
                <a:lnTo>
                  <a:pt x="3782" y="7420"/>
                </a:lnTo>
                <a:lnTo>
                  <a:pt x="3786" y="7420"/>
                </a:lnTo>
                <a:lnTo>
                  <a:pt x="3788" y="7418"/>
                </a:lnTo>
                <a:close/>
                <a:moveTo>
                  <a:pt x="3732" y="7512"/>
                </a:moveTo>
                <a:lnTo>
                  <a:pt x="3732" y="7512"/>
                </a:lnTo>
                <a:lnTo>
                  <a:pt x="3724" y="7514"/>
                </a:lnTo>
                <a:lnTo>
                  <a:pt x="3722" y="7518"/>
                </a:lnTo>
                <a:lnTo>
                  <a:pt x="3724" y="7518"/>
                </a:lnTo>
                <a:lnTo>
                  <a:pt x="3732" y="7516"/>
                </a:lnTo>
                <a:lnTo>
                  <a:pt x="3736" y="7514"/>
                </a:lnTo>
                <a:lnTo>
                  <a:pt x="3736" y="7512"/>
                </a:lnTo>
                <a:lnTo>
                  <a:pt x="3734" y="7512"/>
                </a:lnTo>
                <a:lnTo>
                  <a:pt x="3732" y="7512"/>
                </a:lnTo>
                <a:close/>
                <a:moveTo>
                  <a:pt x="3746" y="7528"/>
                </a:moveTo>
                <a:lnTo>
                  <a:pt x="3746" y="7528"/>
                </a:lnTo>
                <a:lnTo>
                  <a:pt x="3746" y="7526"/>
                </a:lnTo>
                <a:lnTo>
                  <a:pt x="3740" y="7520"/>
                </a:lnTo>
                <a:lnTo>
                  <a:pt x="3738" y="7518"/>
                </a:lnTo>
                <a:lnTo>
                  <a:pt x="3738" y="7520"/>
                </a:lnTo>
                <a:lnTo>
                  <a:pt x="3740" y="7524"/>
                </a:lnTo>
                <a:lnTo>
                  <a:pt x="3742" y="7528"/>
                </a:lnTo>
                <a:lnTo>
                  <a:pt x="3744" y="7530"/>
                </a:lnTo>
                <a:lnTo>
                  <a:pt x="3746" y="7528"/>
                </a:lnTo>
                <a:close/>
                <a:moveTo>
                  <a:pt x="3772" y="7494"/>
                </a:moveTo>
                <a:lnTo>
                  <a:pt x="3772" y="7494"/>
                </a:lnTo>
                <a:lnTo>
                  <a:pt x="3782" y="7496"/>
                </a:lnTo>
                <a:lnTo>
                  <a:pt x="3786" y="7496"/>
                </a:lnTo>
                <a:lnTo>
                  <a:pt x="3780" y="7492"/>
                </a:lnTo>
                <a:lnTo>
                  <a:pt x="3772" y="7486"/>
                </a:lnTo>
                <a:lnTo>
                  <a:pt x="3768" y="7480"/>
                </a:lnTo>
                <a:lnTo>
                  <a:pt x="3766" y="7482"/>
                </a:lnTo>
                <a:lnTo>
                  <a:pt x="3766" y="7486"/>
                </a:lnTo>
                <a:lnTo>
                  <a:pt x="3768" y="7492"/>
                </a:lnTo>
                <a:lnTo>
                  <a:pt x="3772" y="7494"/>
                </a:lnTo>
                <a:close/>
                <a:moveTo>
                  <a:pt x="4194" y="7874"/>
                </a:moveTo>
                <a:lnTo>
                  <a:pt x="4194" y="7874"/>
                </a:lnTo>
                <a:lnTo>
                  <a:pt x="4188" y="7874"/>
                </a:lnTo>
                <a:lnTo>
                  <a:pt x="4184" y="7874"/>
                </a:lnTo>
                <a:lnTo>
                  <a:pt x="4180" y="7874"/>
                </a:lnTo>
                <a:lnTo>
                  <a:pt x="4176" y="7876"/>
                </a:lnTo>
                <a:lnTo>
                  <a:pt x="4166" y="7878"/>
                </a:lnTo>
                <a:lnTo>
                  <a:pt x="4164" y="7880"/>
                </a:lnTo>
                <a:lnTo>
                  <a:pt x="4166" y="7884"/>
                </a:lnTo>
                <a:lnTo>
                  <a:pt x="4170" y="7884"/>
                </a:lnTo>
                <a:lnTo>
                  <a:pt x="4174" y="7880"/>
                </a:lnTo>
                <a:lnTo>
                  <a:pt x="4178" y="7878"/>
                </a:lnTo>
                <a:lnTo>
                  <a:pt x="4180" y="7878"/>
                </a:lnTo>
                <a:lnTo>
                  <a:pt x="4182" y="7880"/>
                </a:lnTo>
                <a:lnTo>
                  <a:pt x="4186" y="7880"/>
                </a:lnTo>
                <a:lnTo>
                  <a:pt x="4190" y="7878"/>
                </a:lnTo>
                <a:lnTo>
                  <a:pt x="4192" y="7880"/>
                </a:lnTo>
                <a:lnTo>
                  <a:pt x="4196" y="7880"/>
                </a:lnTo>
                <a:lnTo>
                  <a:pt x="4200" y="7878"/>
                </a:lnTo>
                <a:lnTo>
                  <a:pt x="4200" y="7876"/>
                </a:lnTo>
                <a:lnTo>
                  <a:pt x="4198" y="7874"/>
                </a:lnTo>
                <a:lnTo>
                  <a:pt x="4194" y="7874"/>
                </a:lnTo>
                <a:close/>
                <a:moveTo>
                  <a:pt x="4054" y="7888"/>
                </a:moveTo>
                <a:lnTo>
                  <a:pt x="4054" y="7888"/>
                </a:lnTo>
                <a:lnTo>
                  <a:pt x="4026" y="7886"/>
                </a:lnTo>
                <a:lnTo>
                  <a:pt x="4018" y="7888"/>
                </a:lnTo>
                <a:lnTo>
                  <a:pt x="4020" y="7890"/>
                </a:lnTo>
                <a:lnTo>
                  <a:pt x="4022" y="7892"/>
                </a:lnTo>
                <a:lnTo>
                  <a:pt x="4024" y="7894"/>
                </a:lnTo>
                <a:lnTo>
                  <a:pt x="4024" y="7896"/>
                </a:lnTo>
                <a:lnTo>
                  <a:pt x="4024" y="7898"/>
                </a:lnTo>
                <a:lnTo>
                  <a:pt x="4026" y="7906"/>
                </a:lnTo>
                <a:lnTo>
                  <a:pt x="4028" y="7906"/>
                </a:lnTo>
                <a:lnTo>
                  <a:pt x="4032" y="7908"/>
                </a:lnTo>
                <a:lnTo>
                  <a:pt x="4042" y="7908"/>
                </a:lnTo>
                <a:lnTo>
                  <a:pt x="4046" y="7906"/>
                </a:lnTo>
                <a:lnTo>
                  <a:pt x="4046" y="7904"/>
                </a:lnTo>
                <a:lnTo>
                  <a:pt x="4046" y="7902"/>
                </a:lnTo>
                <a:lnTo>
                  <a:pt x="4050" y="7902"/>
                </a:lnTo>
                <a:lnTo>
                  <a:pt x="4054" y="7904"/>
                </a:lnTo>
                <a:lnTo>
                  <a:pt x="4054" y="7906"/>
                </a:lnTo>
                <a:lnTo>
                  <a:pt x="4054" y="7910"/>
                </a:lnTo>
                <a:lnTo>
                  <a:pt x="4058" y="7910"/>
                </a:lnTo>
                <a:lnTo>
                  <a:pt x="4062" y="7910"/>
                </a:lnTo>
                <a:lnTo>
                  <a:pt x="4066" y="7908"/>
                </a:lnTo>
                <a:lnTo>
                  <a:pt x="4068" y="7898"/>
                </a:lnTo>
                <a:lnTo>
                  <a:pt x="4070" y="7894"/>
                </a:lnTo>
                <a:lnTo>
                  <a:pt x="4068" y="7892"/>
                </a:lnTo>
                <a:lnTo>
                  <a:pt x="4064" y="7890"/>
                </a:lnTo>
                <a:lnTo>
                  <a:pt x="4060" y="7888"/>
                </a:lnTo>
                <a:lnTo>
                  <a:pt x="4054" y="7888"/>
                </a:lnTo>
                <a:close/>
                <a:moveTo>
                  <a:pt x="4070" y="7910"/>
                </a:moveTo>
                <a:lnTo>
                  <a:pt x="4070" y="7910"/>
                </a:lnTo>
                <a:lnTo>
                  <a:pt x="4070" y="7912"/>
                </a:lnTo>
                <a:lnTo>
                  <a:pt x="4074" y="7912"/>
                </a:lnTo>
                <a:lnTo>
                  <a:pt x="4076" y="7910"/>
                </a:lnTo>
                <a:lnTo>
                  <a:pt x="4078" y="7908"/>
                </a:lnTo>
                <a:lnTo>
                  <a:pt x="4076" y="7904"/>
                </a:lnTo>
                <a:lnTo>
                  <a:pt x="4074" y="7906"/>
                </a:lnTo>
                <a:lnTo>
                  <a:pt x="4070" y="7908"/>
                </a:lnTo>
                <a:lnTo>
                  <a:pt x="4070" y="7910"/>
                </a:lnTo>
                <a:close/>
                <a:moveTo>
                  <a:pt x="4088" y="7908"/>
                </a:moveTo>
                <a:lnTo>
                  <a:pt x="4088" y="7908"/>
                </a:lnTo>
                <a:lnTo>
                  <a:pt x="4092" y="7908"/>
                </a:lnTo>
                <a:lnTo>
                  <a:pt x="4094" y="7906"/>
                </a:lnTo>
                <a:lnTo>
                  <a:pt x="4094" y="7904"/>
                </a:lnTo>
                <a:lnTo>
                  <a:pt x="4092" y="7902"/>
                </a:lnTo>
                <a:lnTo>
                  <a:pt x="4090" y="7902"/>
                </a:lnTo>
                <a:lnTo>
                  <a:pt x="4088" y="7904"/>
                </a:lnTo>
                <a:lnTo>
                  <a:pt x="4086" y="7906"/>
                </a:lnTo>
                <a:lnTo>
                  <a:pt x="4088" y="7908"/>
                </a:lnTo>
                <a:close/>
                <a:moveTo>
                  <a:pt x="1488" y="2116"/>
                </a:moveTo>
                <a:lnTo>
                  <a:pt x="1488" y="2116"/>
                </a:lnTo>
                <a:lnTo>
                  <a:pt x="1490" y="2118"/>
                </a:lnTo>
                <a:lnTo>
                  <a:pt x="1492" y="2118"/>
                </a:lnTo>
                <a:lnTo>
                  <a:pt x="1494" y="2118"/>
                </a:lnTo>
                <a:lnTo>
                  <a:pt x="1498" y="2114"/>
                </a:lnTo>
                <a:lnTo>
                  <a:pt x="1498" y="2110"/>
                </a:lnTo>
                <a:lnTo>
                  <a:pt x="1496" y="2108"/>
                </a:lnTo>
                <a:lnTo>
                  <a:pt x="1492" y="2110"/>
                </a:lnTo>
                <a:lnTo>
                  <a:pt x="1490" y="2112"/>
                </a:lnTo>
                <a:lnTo>
                  <a:pt x="1488" y="2116"/>
                </a:lnTo>
                <a:close/>
                <a:moveTo>
                  <a:pt x="1514" y="2102"/>
                </a:moveTo>
                <a:lnTo>
                  <a:pt x="1514" y="2102"/>
                </a:lnTo>
                <a:lnTo>
                  <a:pt x="1518" y="2098"/>
                </a:lnTo>
                <a:lnTo>
                  <a:pt x="1522" y="2092"/>
                </a:lnTo>
                <a:lnTo>
                  <a:pt x="1524" y="2088"/>
                </a:lnTo>
                <a:lnTo>
                  <a:pt x="1522" y="2088"/>
                </a:lnTo>
                <a:lnTo>
                  <a:pt x="1516" y="2094"/>
                </a:lnTo>
                <a:lnTo>
                  <a:pt x="1508" y="2100"/>
                </a:lnTo>
                <a:lnTo>
                  <a:pt x="1506" y="2102"/>
                </a:lnTo>
                <a:lnTo>
                  <a:pt x="1508" y="2106"/>
                </a:lnTo>
                <a:lnTo>
                  <a:pt x="1510" y="2106"/>
                </a:lnTo>
                <a:lnTo>
                  <a:pt x="1514" y="2102"/>
                </a:lnTo>
                <a:close/>
                <a:moveTo>
                  <a:pt x="1474" y="2094"/>
                </a:moveTo>
                <a:lnTo>
                  <a:pt x="1474" y="2094"/>
                </a:lnTo>
                <a:lnTo>
                  <a:pt x="1476" y="2096"/>
                </a:lnTo>
                <a:lnTo>
                  <a:pt x="1480" y="2092"/>
                </a:lnTo>
                <a:lnTo>
                  <a:pt x="1478" y="2088"/>
                </a:lnTo>
                <a:lnTo>
                  <a:pt x="1474" y="2088"/>
                </a:lnTo>
                <a:lnTo>
                  <a:pt x="1470" y="2090"/>
                </a:lnTo>
                <a:lnTo>
                  <a:pt x="1470" y="2092"/>
                </a:lnTo>
                <a:lnTo>
                  <a:pt x="1474" y="2094"/>
                </a:lnTo>
                <a:close/>
                <a:moveTo>
                  <a:pt x="1420" y="2104"/>
                </a:moveTo>
                <a:lnTo>
                  <a:pt x="1420" y="2104"/>
                </a:lnTo>
                <a:lnTo>
                  <a:pt x="1418" y="2100"/>
                </a:lnTo>
                <a:lnTo>
                  <a:pt x="1416" y="2096"/>
                </a:lnTo>
                <a:lnTo>
                  <a:pt x="1408" y="2088"/>
                </a:lnTo>
                <a:lnTo>
                  <a:pt x="1406" y="2084"/>
                </a:lnTo>
                <a:lnTo>
                  <a:pt x="1406" y="2082"/>
                </a:lnTo>
                <a:lnTo>
                  <a:pt x="1408" y="2080"/>
                </a:lnTo>
                <a:lnTo>
                  <a:pt x="1406" y="2078"/>
                </a:lnTo>
                <a:lnTo>
                  <a:pt x="1404" y="2072"/>
                </a:lnTo>
                <a:lnTo>
                  <a:pt x="1402" y="2074"/>
                </a:lnTo>
                <a:lnTo>
                  <a:pt x="1400" y="2076"/>
                </a:lnTo>
                <a:lnTo>
                  <a:pt x="1398" y="2080"/>
                </a:lnTo>
                <a:lnTo>
                  <a:pt x="1402" y="2088"/>
                </a:lnTo>
                <a:lnTo>
                  <a:pt x="1410" y="2100"/>
                </a:lnTo>
                <a:lnTo>
                  <a:pt x="1414" y="2106"/>
                </a:lnTo>
                <a:lnTo>
                  <a:pt x="1418" y="2108"/>
                </a:lnTo>
                <a:lnTo>
                  <a:pt x="1420" y="2108"/>
                </a:lnTo>
                <a:lnTo>
                  <a:pt x="1420" y="2104"/>
                </a:lnTo>
                <a:close/>
                <a:moveTo>
                  <a:pt x="628" y="1922"/>
                </a:moveTo>
                <a:lnTo>
                  <a:pt x="628" y="1922"/>
                </a:lnTo>
                <a:lnTo>
                  <a:pt x="624" y="1918"/>
                </a:lnTo>
                <a:lnTo>
                  <a:pt x="624" y="1916"/>
                </a:lnTo>
                <a:lnTo>
                  <a:pt x="624" y="1912"/>
                </a:lnTo>
                <a:lnTo>
                  <a:pt x="622" y="1908"/>
                </a:lnTo>
                <a:lnTo>
                  <a:pt x="618" y="1906"/>
                </a:lnTo>
                <a:lnTo>
                  <a:pt x="616" y="1906"/>
                </a:lnTo>
                <a:lnTo>
                  <a:pt x="612" y="1908"/>
                </a:lnTo>
                <a:lnTo>
                  <a:pt x="608" y="1906"/>
                </a:lnTo>
                <a:lnTo>
                  <a:pt x="602" y="1902"/>
                </a:lnTo>
                <a:lnTo>
                  <a:pt x="596" y="1900"/>
                </a:lnTo>
                <a:lnTo>
                  <a:pt x="592" y="1900"/>
                </a:lnTo>
                <a:lnTo>
                  <a:pt x="592" y="1902"/>
                </a:lnTo>
                <a:lnTo>
                  <a:pt x="592" y="1904"/>
                </a:lnTo>
                <a:lnTo>
                  <a:pt x="594" y="1908"/>
                </a:lnTo>
                <a:lnTo>
                  <a:pt x="592" y="1910"/>
                </a:lnTo>
                <a:lnTo>
                  <a:pt x="588" y="1914"/>
                </a:lnTo>
                <a:lnTo>
                  <a:pt x="580" y="1914"/>
                </a:lnTo>
                <a:lnTo>
                  <a:pt x="578" y="1912"/>
                </a:lnTo>
                <a:lnTo>
                  <a:pt x="574" y="1908"/>
                </a:lnTo>
                <a:lnTo>
                  <a:pt x="570" y="1904"/>
                </a:lnTo>
                <a:lnTo>
                  <a:pt x="568" y="1906"/>
                </a:lnTo>
                <a:lnTo>
                  <a:pt x="566" y="1912"/>
                </a:lnTo>
                <a:lnTo>
                  <a:pt x="564" y="1918"/>
                </a:lnTo>
                <a:lnTo>
                  <a:pt x="564" y="1922"/>
                </a:lnTo>
                <a:lnTo>
                  <a:pt x="562" y="1924"/>
                </a:lnTo>
                <a:lnTo>
                  <a:pt x="558" y="1922"/>
                </a:lnTo>
                <a:lnTo>
                  <a:pt x="550" y="1922"/>
                </a:lnTo>
                <a:lnTo>
                  <a:pt x="544" y="1924"/>
                </a:lnTo>
                <a:lnTo>
                  <a:pt x="538" y="1926"/>
                </a:lnTo>
                <a:lnTo>
                  <a:pt x="534" y="1932"/>
                </a:lnTo>
                <a:lnTo>
                  <a:pt x="530" y="1936"/>
                </a:lnTo>
                <a:lnTo>
                  <a:pt x="530" y="1940"/>
                </a:lnTo>
                <a:lnTo>
                  <a:pt x="530" y="1944"/>
                </a:lnTo>
                <a:lnTo>
                  <a:pt x="534" y="1952"/>
                </a:lnTo>
                <a:lnTo>
                  <a:pt x="538" y="1962"/>
                </a:lnTo>
                <a:lnTo>
                  <a:pt x="542" y="1968"/>
                </a:lnTo>
                <a:lnTo>
                  <a:pt x="544" y="1970"/>
                </a:lnTo>
                <a:lnTo>
                  <a:pt x="548" y="1970"/>
                </a:lnTo>
                <a:lnTo>
                  <a:pt x="550" y="1968"/>
                </a:lnTo>
                <a:lnTo>
                  <a:pt x="556" y="1964"/>
                </a:lnTo>
                <a:lnTo>
                  <a:pt x="560" y="1964"/>
                </a:lnTo>
                <a:lnTo>
                  <a:pt x="562" y="1964"/>
                </a:lnTo>
                <a:lnTo>
                  <a:pt x="564" y="1966"/>
                </a:lnTo>
                <a:lnTo>
                  <a:pt x="562" y="1968"/>
                </a:lnTo>
                <a:lnTo>
                  <a:pt x="560" y="1972"/>
                </a:lnTo>
                <a:lnTo>
                  <a:pt x="556" y="1978"/>
                </a:lnTo>
                <a:lnTo>
                  <a:pt x="556" y="1980"/>
                </a:lnTo>
                <a:lnTo>
                  <a:pt x="560" y="1980"/>
                </a:lnTo>
                <a:lnTo>
                  <a:pt x="566" y="1976"/>
                </a:lnTo>
                <a:lnTo>
                  <a:pt x="574" y="1970"/>
                </a:lnTo>
                <a:lnTo>
                  <a:pt x="576" y="1966"/>
                </a:lnTo>
                <a:lnTo>
                  <a:pt x="576" y="1962"/>
                </a:lnTo>
                <a:lnTo>
                  <a:pt x="578" y="1956"/>
                </a:lnTo>
                <a:lnTo>
                  <a:pt x="580" y="1954"/>
                </a:lnTo>
                <a:lnTo>
                  <a:pt x="586" y="1950"/>
                </a:lnTo>
                <a:lnTo>
                  <a:pt x="596" y="1948"/>
                </a:lnTo>
                <a:lnTo>
                  <a:pt x="610" y="1946"/>
                </a:lnTo>
                <a:lnTo>
                  <a:pt x="620" y="1940"/>
                </a:lnTo>
                <a:lnTo>
                  <a:pt x="628" y="1936"/>
                </a:lnTo>
                <a:lnTo>
                  <a:pt x="632" y="1930"/>
                </a:lnTo>
                <a:lnTo>
                  <a:pt x="632" y="1924"/>
                </a:lnTo>
                <a:lnTo>
                  <a:pt x="632" y="1922"/>
                </a:lnTo>
                <a:lnTo>
                  <a:pt x="628" y="1922"/>
                </a:lnTo>
                <a:close/>
                <a:moveTo>
                  <a:pt x="620" y="1874"/>
                </a:moveTo>
                <a:lnTo>
                  <a:pt x="620" y="1874"/>
                </a:lnTo>
                <a:lnTo>
                  <a:pt x="616" y="1870"/>
                </a:lnTo>
                <a:lnTo>
                  <a:pt x="612" y="1868"/>
                </a:lnTo>
                <a:lnTo>
                  <a:pt x="608" y="1870"/>
                </a:lnTo>
                <a:lnTo>
                  <a:pt x="608" y="1876"/>
                </a:lnTo>
                <a:lnTo>
                  <a:pt x="608" y="1880"/>
                </a:lnTo>
                <a:lnTo>
                  <a:pt x="606" y="1880"/>
                </a:lnTo>
                <a:lnTo>
                  <a:pt x="602" y="1880"/>
                </a:lnTo>
                <a:lnTo>
                  <a:pt x="596" y="1882"/>
                </a:lnTo>
                <a:lnTo>
                  <a:pt x="592" y="1886"/>
                </a:lnTo>
                <a:lnTo>
                  <a:pt x="592" y="1890"/>
                </a:lnTo>
                <a:lnTo>
                  <a:pt x="594" y="1894"/>
                </a:lnTo>
                <a:lnTo>
                  <a:pt x="600" y="1898"/>
                </a:lnTo>
                <a:lnTo>
                  <a:pt x="606" y="1900"/>
                </a:lnTo>
                <a:lnTo>
                  <a:pt x="610" y="1898"/>
                </a:lnTo>
                <a:lnTo>
                  <a:pt x="614" y="1894"/>
                </a:lnTo>
                <a:lnTo>
                  <a:pt x="618" y="1890"/>
                </a:lnTo>
                <a:lnTo>
                  <a:pt x="622" y="1890"/>
                </a:lnTo>
                <a:lnTo>
                  <a:pt x="632" y="1888"/>
                </a:lnTo>
                <a:lnTo>
                  <a:pt x="636" y="1886"/>
                </a:lnTo>
                <a:lnTo>
                  <a:pt x="640" y="1884"/>
                </a:lnTo>
                <a:lnTo>
                  <a:pt x="640" y="1880"/>
                </a:lnTo>
                <a:lnTo>
                  <a:pt x="636" y="1874"/>
                </a:lnTo>
                <a:lnTo>
                  <a:pt x="634" y="1872"/>
                </a:lnTo>
                <a:lnTo>
                  <a:pt x="632" y="1872"/>
                </a:lnTo>
                <a:lnTo>
                  <a:pt x="628" y="1874"/>
                </a:lnTo>
                <a:lnTo>
                  <a:pt x="624" y="1876"/>
                </a:lnTo>
                <a:lnTo>
                  <a:pt x="622" y="1876"/>
                </a:lnTo>
                <a:lnTo>
                  <a:pt x="620" y="1874"/>
                </a:lnTo>
                <a:close/>
                <a:moveTo>
                  <a:pt x="830" y="1754"/>
                </a:moveTo>
                <a:lnTo>
                  <a:pt x="830" y="1754"/>
                </a:lnTo>
                <a:lnTo>
                  <a:pt x="820" y="1766"/>
                </a:lnTo>
                <a:lnTo>
                  <a:pt x="804" y="1784"/>
                </a:lnTo>
                <a:lnTo>
                  <a:pt x="802" y="1786"/>
                </a:lnTo>
                <a:lnTo>
                  <a:pt x="806" y="1786"/>
                </a:lnTo>
                <a:lnTo>
                  <a:pt x="818" y="1782"/>
                </a:lnTo>
                <a:lnTo>
                  <a:pt x="822" y="1780"/>
                </a:lnTo>
                <a:lnTo>
                  <a:pt x="826" y="1776"/>
                </a:lnTo>
                <a:lnTo>
                  <a:pt x="828" y="1772"/>
                </a:lnTo>
                <a:lnTo>
                  <a:pt x="834" y="1764"/>
                </a:lnTo>
                <a:lnTo>
                  <a:pt x="840" y="1756"/>
                </a:lnTo>
                <a:lnTo>
                  <a:pt x="840" y="1752"/>
                </a:lnTo>
                <a:lnTo>
                  <a:pt x="838" y="1752"/>
                </a:lnTo>
                <a:lnTo>
                  <a:pt x="836" y="1750"/>
                </a:lnTo>
                <a:lnTo>
                  <a:pt x="830" y="1754"/>
                </a:lnTo>
                <a:close/>
                <a:moveTo>
                  <a:pt x="864" y="1744"/>
                </a:moveTo>
                <a:lnTo>
                  <a:pt x="864" y="1744"/>
                </a:lnTo>
                <a:lnTo>
                  <a:pt x="856" y="1742"/>
                </a:lnTo>
                <a:lnTo>
                  <a:pt x="852" y="1744"/>
                </a:lnTo>
                <a:lnTo>
                  <a:pt x="852" y="1748"/>
                </a:lnTo>
                <a:lnTo>
                  <a:pt x="852" y="1756"/>
                </a:lnTo>
                <a:lnTo>
                  <a:pt x="856" y="1758"/>
                </a:lnTo>
                <a:lnTo>
                  <a:pt x="860" y="1756"/>
                </a:lnTo>
                <a:lnTo>
                  <a:pt x="870" y="1752"/>
                </a:lnTo>
                <a:lnTo>
                  <a:pt x="874" y="1750"/>
                </a:lnTo>
                <a:lnTo>
                  <a:pt x="874" y="1748"/>
                </a:lnTo>
                <a:lnTo>
                  <a:pt x="872" y="1746"/>
                </a:lnTo>
                <a:lnTo>
                  <a:pt x="864" y="1744"/>
                </a:lnTo>
                <a:close/>
                <a:moveTo>
                  <a:pt x="1368" y="1942"/>
                </a:moveTo>
                <a:lnTo>
                  <a:pt x="1368" y="1942"/>
                </a:lnTo>
                <a:lnTo>
                  <a:pt x="1372" y="1942"/>
                </a:lnTo>
                <a:lnTo>
                  <a:pt x="1372" y="1940"/>
                </a:lnTo>
                <a:lnTo>
                  <a:pt x="1372" y="1934"/>
                </a:lnTo>
                <a:lnTo>
                  <a:pt x="1370" y="1928"/>
                </a:lnTo>
                <a:lnTo>
                  <a:pt x="1370" y="1924"/>
                </a:lnTo>
                <a:lnTo>
                  <a:pt x="1372" y="1922"/>
                </a:lnTo>
                <a:lnTo>
                  <a:pt x="1372" y="1920"/>
                </a:lnTo>
                <a:lnTo>
                  <a:pt x="1370" y="1912"/>
                </a:lnTo>
                <a:lnTo>
                  <a:pt x="1360" y="1892"/>
                </a:lnTo>
                <a:lnTo>
                  <a:pt x="1358" y="1888"/>
                </a:lnTo>
                <a:lnTo>
                  <a:pt x="1356" y="1886"/>
                </a:lnTo>
                <a:lnTo>
                  <a:pt x="1350" y="1886"/>
                </a:lnTo>
                <a:lnTo>
                  <a:pt x="1344" y="1884"/>
                </a:lnTo>
                <a:lnTo>
                  <a:pt x="1342" y="1884"/>
                </a:lnTo>
                <a:lnTo>
                  <a:pt x="1338" y="1880"/>
                </a:lnTo>
                <a:lnTo>
                  <a:pt x="1332" y="1876"/>
                </a:lnTo>
                <a:lnTo>
                  <a:pt x="1332" y="1878"/>
                </a:lnTo>
                <a:lnTo>
                  <a:pt x="1334" y="1894"/>
                </a:lnTo>
                <a:lnTo>
                  <a:pt x="1338" y="1912"/>
                </a:lnTo>
                <a:lnTo>
                  <a:pt x="1340" y="1922"/>
                </a:lnTo>
                <a:lnTo>
                  <a:pt x="1344" y="1932"/>
                </a:lnTo>
                <a:lnTo>
                  <a:pt x="1348" y="1940"/>
                </a:lnTo>
                <a:lnTo>
                  <a:pt x="1346" y="1942"/>
                </a:lnTo>
                <a:lnTo>
                  <a:pt x="1342" y="1946"/>
                </a:lnTo>
                <a:lnTo>
                  <a:pt x="1342" y="1950"/>
                </a:lnTo>
                <a:lnTo>
                  <a:pt x="1342" y="1956"/>
                </a:lnTo>
                <a:lnTo>
                  <a:pt x="1342" y="1960"/>
                </a:lnTo>
                <a:lnTo>
                  <a:pt x="1346" y="1960"/>
                </a:lnTo>
                <a:lnTo>
                  <a:pt x="1358" y="1954"/>
                </a:lnTo>
                <a:lnTo>
                  <a:pt x="1360" y="1952"/>
                </a:lnTo>
                <a:lnTo>
                  <a:pt x="1362" y="1950"/>
                </a:lnTo>
                <a:lnTo>
                  <a:pt x="1362" y="1946"/>
                </a:lnTo>
                <a:lnTo>
                  <a:pt x="1362" y="1944"/>
                </a:lnTo>
                <a:lnTo>
                  <a:pt x="1368" y="1942"/>
                </a:lnTo>
                <a:close/>
                <a:moveTo>
                  <a:pt x="1338" y="1970"/>
                </a:moveTo>
                <a:lnTo>
                  <a:pt x="1338" y="1970"/>
                </a:lnTo>
                <a:lnTo>
                  <a:pt x="1334" y="1956"/>
                </a:lnTo>
                <a:lnTo>
                  <a:pt x="1332" y="1946"/>
                </a:lnTo>
                <a:lnTo>
                  <a:pt x="1326" y="1938"/>
                </a:lnTo>
                <a:lnTo>
                  <a:pt x="1316" y="1932"/>
                </a:lnTo>
                <a:lnTo>
                  <a:pt x="1312" y="1930"/>
                </a:lnTo>
                <a:lnTo>
                  <a:pt x="1308" y="1930"/>
                </a:lnTo>
                <a:lnTo>
                  <a:pt x="1304" y="1932"/>
                </a:lnTo>
                <a:lnTo>
                  <a:pt x="1302" y="1934"/>
                </a:lnTo>
                <a:lnTo>
                  <a:pt x="1302" y="1942"/>
                </a:lnTo>
                <a:lnTo>
                  <a:pt x="1302" y="1946"/>
                </a:lnTo>
                <a:lnTo>
                  <a:pt x="1310" y="1952"/>
                </a:lnTo>
                <a:lnTo>
                  <a:pt x="1312" y="1958"/>
                </a:lnTo>
                <a:lnTo>
                  <a:pt x="1312" y="1966"/>
                </a:lnTo>
                <a:lnTo>
                  <a:pt x="1312" y="1970"/>
                </a:lnTo>
                <a:lnTo>
                  <a:pt x="1312" y="1972"/>
                </a:lnTo>
                <a:lnTo>
                  <a:pt x="1316" y="1976"/>
                </a:lnTo>
                <a:lnTo>
                  <a:pt x="1320" y="1978"/>
                </a:lnTo>
                <a:lnTo>
                  <a:pt x="1320" y="1980"/>
                </a:lnTo>
                <a:lnTo>
                  <a:pt x="1320" y="1984"/>
                </a:lnTo>
                <a:lnTo>
                  <a:pt x="1322" y="1988"/>
                </a:lnTo>
                <a:lnTo>
                  <a:pt x="1324" y="1988"/>
                </a:lnTo>
                <a:lnTo>
                  <a:pt x="1326" y="1988"/>
                </a:lnTo>
                <a:lnTo>
                  <a:pt x="1326" y="1992"/>
                </a:lnTo>
                <a:lnTo>
                  <a:pt x="1326" y="1998"/>
                </a:lnTo>
                <a:lnTo>
                  <a:pt x="1326" y="2002"/>
                </a:lnTo>
                <a:lnTo>
                  <a:pt x="1332" y="2006"/>
                </a:lnTo>
                <a:lnTo>
                  <a:pt x="1338" y="2016"/>
                </a:lnTo>
                <a:lnTo>
                  <a:pt x="1340" y="2016"/>
                </a:lnTo>
                <a:lnTo>
                  <a:pt x="1342" y="2014"/>
                </a:lnTo>
                <a:lnTo>
                  <a:pt x="1342" y="2008"/>
                </a:lnTo>
                <a:lnTo>
                  <a:pt x="1340" y="1998"/>
                </a:lnTo>
                <a:lnTo>
                  <a:pt x="1340" y="1992"/>
                </a:lnTo>
                <a:lnTo>
                  <a:pt x="1340" y="1990"/>
                </a:lnTo>
                <a:lnTo>
                  <a:pt x="1342" y="1984"/>
                </a:lnTo>
                <a:lnTo>
                  <a:pt x="1338" y="1970"/>
                </a:lnTo>
                <a:close/>
                <a:moveTo>
                  <a:pt x="1294" y="1940"/>
                </a:moveTo>
                <a:lnTo>
                  <a:pt x="1294" y="1940"/>
                </a:lnTo>
                <a:lnTo>
                  <a:pt x="1292" y="1942"/>
                </a:lnTo>
                <a:lnTo>
                  <a:pt x="1292" y="1946"/>
                </a:lnTo>
                <a:lnTo>
                  <a:pt x="1292" y="1954"/>
                </a:lnTo>
                <a:lnTo>
                  <a:pt x="1292" y="1962"/>
                </a:lnTo>
                <a:lnTo>
                  <a:pt x="1294" y="1962"/>
                </a:lnTo>
                <a:lnTo>
                  <a:pt x="1298" y="1962"/>
                </a:lnTo>
                <a:lnTo>
                  <a:pt x="1300" y="1960"/>
                </a:lnTo>
                <a:lnTo>
                  <a:pt x="1300" y="1956"/>
                </a:lnTo>
                <a:lnTo>
                  <a:pt x="1300" y="1948"/>
                </a:lnTo>
                <a:lnTo>
                  <a:pt x="1296" y="1942"/>
                </a:lnTo>
                <a:lnTo>
                  <a:pt x="1294" y="1940"/>
                </a:lnTo>
                <a:close/>
                <a:moveTo>
                  <a:pt x="1300" y="1922"/>
                </a:moveTo>
                <a:lnTo>
                  <a:pt x="1300" y="1922"/>
                </a:lnTo>
                <a:lnTo>
                  <a:pt x="1298" y="1916"/>
                </a:lnTo>
                <a:lnTo>
                  <a:pt x="1300" y="1914"/>
                </a:lnTo>
                <a:lnTo>
                  <a:pt x="1304" y="1916"/>
                </a:lnTo>
                <a:lnTo>
                  <a:pt x="1314" y="1922"/>
                </a:lnTo>
                <a:lnTo>
                  <a:pt x="1324" y="1928"/>
                </a:lnTo>
                <a:lnTo>
                  <a:pt x="1330" y="1930"/>
                </a:lnTo>
                <a:lnTo>
                  <a:pt x="1332" y="1930"/>
                </a:lnTo>
                <a:lnTo>
                  <a:pt x="1334" y="1928"/>
                </a:lnTo>
                <a:lnTo>
                  <a:pt x="1332" y="1920"/>
                </a:lnTo>
                <a:lnTo>
                  <a:pt x="1328" y="1910"/>
                </a:lnTo>
                <a:lnTo>
                  <a:pt x="1328" y="1908"/>
                </a:lnTo>
                <a:lnTo>
                  <a:pt x="1330" y="1902"/>
                </a:lnTo>
                <a:lnTo>
                  <a:pt x="1330" y="1900"/>
                </a:lnTo>
                <a:lnTo>
                  <a:pt x="1328" y="1896"/>
                </a:lnTo>
                <a:lnTo>
                  <a:pt x="1320" y="1890"/>
                </a:lnTo>
                <a:lnTo>
                  <a:pt x="1302" y="1882"/>
                </a:lnTo>
                <a:lnTo>
                  <a:pt x="1294" y="1880"/>
                </a:lnTo>
                <a:lnTo>
                  <a:pt x="1288" y="1882"/>
                </a:lnTo>
                <a:lnTo>
                  <a:pt x="1284" y="1884"/>
                </a:lnTo>
                <a:lnTo>
                  <a:pt x="1278" y="1884"/>
                </a:lnTo>
                <a:lnTo>
                  <a:pt x="1274" y="1884"/>
                </a:lnTo>
                <a:lnTo>
                  <a:pt x="1272" y="1886"/>
                </a:lnTo>
                <a:lnTo>
                  <a:pt x="1268" y="1892"/>
                </a:lnTo>
                <a:lnTo>
                  <a:pt x="1266" y="1898"/>
                </a:lnTo>
                <a:lnTo>
                  <a:pt x="1266" y="1902"/>
                </a:lnTo>
                <a:lnTo>
                  <a:pt x="1268" y="1906"/>
                </a:lnTo>
                <a:lnTo>
                  <a:pt x="1276" y="1910"/>
                </a:lnTo>
                <a:lnTo>
                  <a:pt x="1278" y="1912"/>
                </a:lnTo>
                <a:lnTo>
                  <a:pt x="1280" y="1914"/>
                </a:lnTo>
                <a:lnTo>
                  <a:pt x="1280" y="1918"/>
                </a:lnTo>
                <a:lnTo>
                  <a:pt x="1280" y="1924"/>
                </a:lnTo>
                <a:lnTo>
                  <a:pt x="1284" y="1928"/>
                </a:lnTo>
                <a:lnTo>
                  <a:pt x="1288" y="1932"/>
                </a:lnTo>
                <a:lnTo>
                  <a:pt x="1294" y="1934"/>
                </a:lnTo>
                <a:lnTo>
                  <a:pt x="1298" y="1932"/>
                </a:lnTo>
                <a:lnTo>
                  <a:pt x="1302" y="1926"/>
                </a:lnTo>
                <a:lnTo>
                  <a:pt x="1302" y="1924"/>
                </a:lnTo>
                <a:lnTo>
                  <a:pt x="1300" y="1922"/>
                </a:lnTo>
                <a:close/>
                <a:moveTo>
                  <a:pt x="1404" y="1984"/>
                </a:moveTo>
                <a:lnTo>
                  <a:pt x="1404" y="1984"/>
                </a:lnTo>
                <a:lnTo>
                  <a:pt x="1406" y="1982"/>
                </a:lnTo>
                <a:lnTo>
                  <a:pt x="1408" y="1976"/>
                </a:lnTo>
                <a:lnTo>
                  <a:pt x="1410" y="1970"/>
                </a:lnTo>
                <a:lnTo>
                  <a:pt x="1408" y="1964"/>
                </a:lnTo>
                <a:lnTo>
                  <a:pt x="1404" y="1962"/>
                </a:lnTo>
                <a:lnTo>
                  <a:pt x="1400" y="1962"/>
                </a:lnTo>
                <a:lnTo>
                  <a:pt x="1394" y="1962"/>
                </a:lnTo>
                <a:lnTo>
                  <a:pt x="1388" y="1960"/>
                </a:lnTo>
                <a:lnTo>
                  <a:pt x="1382" y="1956"/>
                </a:lnTo>
                <a:lnTo>
                  <a:pt x="1374" y="1956"/>
                </a:lnTo>
                <a:lnTo>
                  <a:pt x="1370" y="1958"/>
                </a:lnTo>
                <a:lnTo>
                  <a:pt x="1370" y="1962"/>
                </a:lnTo>
                <a:lnTo>
                  <a:pt x="1370" y="1966"/>
                </a:lnTo>
                <a:lnTo>
                  <a:pt x="1370" y="1970"/>
                </a:lnTo>
                <a:lnTo>
                  <a:pt x="1372" y="1970"/>
                </a:lnTo>
                <a:lnTo>
                  <a:pt x="1378" y="1970"/>
                </a:lnTo>
                <a:lnTo>
                  <a:pt x="1380" y="1970"/>
                </a:lnTo>
                <a:lnTo>
                  <a:pt x="1382" y="1972"/>
                </a:lnTo>
                <a:lnTo>
                  <a:pt x="1382" y="1976"/>
                </a:lnTo>
                <a:lnTo>
                  <a:pt x="1382" y="1982"/>
                </a:lnTo>
                <a:lnTo>
                  <a:pt x="1382" y="1992"/>
                </a:lnTo>
                <a:lnTo>
                  <a:pt x="1384" y="1994"/>
                </a:lnTo>
                <a:lnTo>
                  <a:pt x="1386" y="1996"/>
                </a:lnTo>
                <a:lnTo>
                  <a:pt x="1390" y="1996"/>
                </a:lnTo>
                <a:lnTo>
                  <a:pt x="1398" y="1996"/>
                </a:lnTo>
                <a:lnTo>
                  <a:pt x="1402" y="1996"/>
                </a:lnTo>
                <a:lnTo>
                  <a:pt x="1404" y="1996"/>
                </a:lnTo>
                <a:lnTo>
                  <a:pt x="1404" y="1992"/>
                </a:lnTo>
                <a:lnTo>
                  <a:pt x="1404" y="1988"/>
                </a:lnTo>
                <a:lnTo>
                  <a:pt x="1404" y="1986"/>
                </a:lnTo>
                <a:lnTo>
                  <a:pt x="1404" y="1984"/>
                </a:lnTo>
                <a:close/>
                <a:moveTo>
                  <a:pt x="1376" y="1988"/>
                </a:moveTo>
                <a:lnTo>
                  <a:pt x="1376" y="1988"/>
                </a:lnTo>
                <a:lnTo>
                  <a:pt x="1378" y="1980"/>
                </a:lnTo>
                <a:lnTo>
                  <a:pt x="1376" y="1978"/>
                </a:lnTo>
                <a:lnTo>
                  <a:pt x="1374" y="1976"/>
                </a:lnTo>
                <a:lnTo>
                  <a:pt x="1370" y="1974"/>
                </a:lnTo>
                <a:lnTo>
                  <a:pt x="1366" y="1970"/>
                </a:lnTo>
                <a:lnTo>
                  <a:pt x="1364" y="1966"/>
                </a:lnTo>
                <a:lnTo>
                  <a:pt x="1360" y="1966"/>
                </a:lnTo>
                <a:lnTo>
                  <a:pt x="1356" y="1968"/>
                </a:lnTo>
                <a:lnTo>
                  <a:pt x="1352" y="1972"/>
                </a:lnTo>
                <a:lnTo>
                  <a:pt x="1350" y="1974"/>
                </a:lnTo>
                <a:lnTo>
                  <a:pt x="1350" y="1978"/>
                </a:lnTo>
                <a:lnTo>
                  <a:pt x="1354" y="1984"/>
                </a:lnTo>
                <a:lnTo>
                  <a:pt x="1364" y="1996"/>
                </a:lnTo>
                <a:lnTo>
                  <a:pt x="1366" y="2000"/>
                </a:lnTo>
                <a:lnTo>
                  <a:pt x="1364" y="2000"/>
                </a:lnTo>
                <a:lnTo>
                  <a:pt x="1362" y="2000"/>
                </a:lnTo>
                <a:lnTo>
                  <a:pt x="1358" y="2000"/>
                </a:lnTo>
                <a:lnTo>
                  <a:pt x="1356" y="2004"/>
                </a:lnTo>
                <a:lnTo>
                  <a:pt x="1356" y="2010"/>
                </a:lnTo>
                <a:lnTo>
                  <a:pt x="1358" y="2020"/>
                </a:lnTo>
                <a:lnTo>
                  <a:pt x="1360" y="2022"/>
                </a:lnTo>
                <a:lnTo>
                  <a:pt x="1362" y="2022"/>
                </a:lnTo>
                <a:lnTo>
                  <a:pt x="1362" y="2018"/>
                </a:lnTo>
                <a:lnTo>
                  <a:pt x="1364" y="2014"/>
                </a:lnTo>
                <a:lnTo>
                  <a:pt x="1364" y="2012"/>
                </a:lnTo>
                <a:lnTo>
                  <a:pt x="1366" y="2014"/>
                </a:lnTo>
                <a:lnTo>
                  <a:pt x="1368" y="2020"/>
                </a:lnTo>
                <a:lnTo>
                  <a:pt x="1370" y="2020"/>
                </a:lnTo>
                <a:lnTo>
                  <a:pt x="1372" y="2012"/>
                </a:lnTo>
                <a:lnTo>
                  <a:pt x="1374" y="2008"/>
                </a:lnTo>
                <a:lnTo>
                  <a:pt x="1374" y="2002"/>
                </a:lnTo>
                <a:lnTo>
                  <a:pt x="1374" y="1996"/>
                </a:lnTo>
                <a:lnTo>
                  <a:pt x="1376" y="1988"/>
                </a:lnTo>
                <a:close/>
                <a:moveTo>
                  <a:pt x="1392" y="2016"/>
                </a:moveTo>
                <a:lnTo>
                  <a:pt x="1392" y="2016"/>
                </a:lnTo>
                <a:lnTo>
                  <a:pt x="1384" y="2016"/>
                </a:lnTo>
                <a:lnTo>
                  <a:pt x="1382" y="2016"/>
                </a:lnTo>
                <a:lnTo>
                  <a:pt x="1384" y="2018"/>
                </a:lnTo>
                <a:lnTo>
                  <a:pt x="1384" y="2020"/>
                </a:lnTo>
                <a:lnTo>
                  <a:pt x="1382" y="2020"/>
                </a:lnTo>
                <a:lnTo>
                  <a:pt x="1378" y="2022"/>
                </a:lnTo>
                <a:lnTo>
                  <a:pt x="1376" y="2024"/>
                </a:lnTo>
                <a:lnTo>
                  <a:pt x="1376" y="2028"/>
                </a:lnTo>
                <a:lnTo>
                  <a:pt x="1376" y="2030"/>
                </a:lnTo>
                <a:lnTo>
                  <a:pt x="1378" y="2030"/>
                </a:lnTo>
                <a:lnTo>
                  <a:pt x="1384" y="2028"/>
                </a:lnTo>
                <a:lnTo>
                  <a:pt x="1386" y="2026"/>
                </a:lnTo>
                <a:lnTo>
                  <a:pt x="1392" y="2026"/>
                </a:lnTo>
                <a:lnTo>
                  <a:pt x="1396" y="2024"/>
                </a:lnTo>
                <a:lnTo>
                  <a:pt x="1396" y="2022"/>
                </a:lnTo>
                <a:lnTo>
                  <a:pt x="1396" y="2018"/>
                </a:lnTo>
                <a:lnTo>
                  <a:pt x="1392" y="2016"/>
                </a:lnTo>
                <a:close/>
                <a:moveTo>
                  <a:pt x="1406" y="2070"/>
                </a:moveTo>
                <a:lnTo>
                  <a:pt x="1406" y="2070"/>
                </a:lnTo>
                <a:lnTo>
                  <a:pt x="1410" y="2070"/>
                </a:lnTo>
                <a:lnTo>
                  <a:pt x="1410" y="2072"/>
                </a:lnTo>
                <a:lnTo>
                  <a:pt x="1412" y="2074"/>
                </a:lnTo>
                <a:lnTo>
                  <a:pt x="1416" y="2072"/>
                </a:lnTo>
                <a:lnTo>
                  <a:pt x="1418" y="2074"/>
                </a:lnTo>
                <a:lnTo>
                  <a:pt x="1424" y="2080"/>
                </a:lnTo>
                <a:lnTo>
                  <a:pt x="1426" y="2084"/>
                </a:lnTo>
                <a:lnTo>
                  <a:pt x="1426" y="2086"/>
                </a:lnTo>
                <a:lnTo>
                  <a:pt x="1426" y="2088"/>
                </a:lnTo>
                <a:lnTo>
                  <a:pt x="1428" y="2090"/>
                </a:lnTo>
                <a:lnTo>
                  <a:pt x="1430" y="2092"/>
                </a:lnTo>
                <a:lnTo>
                  <a:pt x="1432" y="2090"/>
                </a:lnTo>
                <a:lnTo>
                  <a:pt x="1434" y="2090"/>
                </a:lnTo>
                <a:lnTo>
                  <a:pt x="1434" y="2094"/>
                </a:lnTo>
                <a:lnTo>
                  <a:pt x="1436" y="2102"/>
                </a:lnTo>
                <a:lnTo>
                  <a:pt x="1440" y="2106"/>
                </a:lnTo>
                <a:lnTo>
                  <a:pt x="1444" y="2106"/>
                </a:lnTo>
                <a:lnTo>
                  <a:pt x="1448" y="2104"/>
                </a:lnTo>
                <a:lnTo>
                  <a:pt x="1450" y="2100"/>
                </a:lnTo>
                <a:lnTo>
                  <a:pt x="1450" y="2096"/>
                </a:lnTo>
                <a:lnTo>
                  <a:pt x="1450" y="2092"/>
                </a:lnTo>
                <a:lnTo>
                  <a:pt x="1450" y="2088"/>
                </a:lnTo>
                <a:lnTo>
                  <a:pt x="1450" y="2084"/>
                </a:lnTo>
                <a:lnTo>
                  <a:pt x="1448" y="2084"/>
                </a:lnTo>
                <a:lnTo>
                  <a:pt x="1448" y="2082"/>
                </a:lnTo>
                <a:lnTo>
                  <a:pt x="1448" y="2076"/>
                </a:lnTo>
                <a:lnTo>
                  <a:pt x="1450" y="2070"/>
                </a:lnTo>
                <a:lnTo>
                  <a:pt x="1448" y="2070"/>
                </a:lnTo>
                <a:lnTo>
                  <a:pt x="1446" y="2070"/>
                </a:lnTo>
                <a:lnTo>
                  <a:pt x="1444" y="2068"/>
                </a:lnTo>
                <a:lnTo>
                  <a:pt x="1444" y="2066"/>
                </a:lnTo>
                <a:lnTo>
                  <a:pt x="1442" y="2062"/>
                </a:lnTo>
                <a:lnTo>
                  <a:pt x="1440" y="2062"/>
                </a:lnTo>
                <a:lnTo>
                  <a:pt x="1438" y="2062"/>
                </a:lnTo>
                <a:lnTo>
                  <a:pt x="1434" y="2060"/>
                </a:lnTo>
                <a:lnTo>
                  <a:pt x="1432" y="2058"/>
                </a:lnTo>
                <a:lnTo>
                  <a:pt x="1428" y="2058"/>
                </a:lnTo>
                <a:lnTo>
                  <a:pt x="1424" y="2060"/>
                </a:lnTo>
                <a:lnTo>
                  <a:pt x="1422" y="2058"/>
                </a:lnTo>
                <a:lnTo>
                  <a:pt x="1422" y="2056"/>
                </a:lnTo>
                <a:lnTo>
                  <a:pt x="1424" y="2052"/>
                </a:lnTo>
                <a:lnTo>
                  <a:pt x="1430" y="2052"/>
                </a:lnTo>
                <a:lnTo>
                  <a:pt x="1436" y="2056"/>
                </a:lnTo>
                <a:lnTo>
                  <a:pt x="1440" y="2058"/>
                </a:lnTo>
                <a:lnTo>
                  <a:pt x="1442" y="2058"/>
                </a:lnTo>
                <a:lnTo>
                  <a:pt x="1434" y="2050"/>
                </a:lnTo>
                <a:lnTo>
                  <a:pt x="1430" y="2044"/>
                </a:lnTo>
                <a:lnTo>
                  <a:pt x="1428" y="2038"/>
                </a:lnTo>
                <a:lnTo>
                  <a:pt x="1426" y="2032"/>
                </a:lnTo>
                <a:lnTo>
                  <a:pt x="1422" y="2026"/>
                </a:lnTo>
                <a:lnTo>
                  <a:pt x="1416" y="2022"/>
                </a:lnTo>
                <a:lnTo>
                  <a:pt x="1410" y="2022"/>
                </a:lnTo>
                <a:lnTo>
                  <a:pt x="1406" y="2022"/>
                </a:lnTo>
                <a:lnTo>
                  <a:pt x="1404" y="2020"/>
                </a:lnTo>
                <a:lnTo>
                  <a:pt x="1404" y="2018"/>
                </a:lnTo>
                <a:lnTo>
                  <a:pt x="1404" y="2014"/>
                </a:lnTo>
                <a:lnTo>
                  <a:pt x="1404" y="2008"/>
                </a:lnTo>
                <a:lnTo>
                  <a:pt x="1402" y="2004"/>
                </a:lnTo>
                <a:lnTo>
                  <a:pt x="1400" y="2002"/>
                </a:lnTo>
                <a:lnTo>
                  <a:pt x="1398" y="2002"/>
                </a:lnTo>
                <a:lnTo>
                  <a:pt x="1396" y="2004"/>
                </a:lnTo>
                <a:lnTo>
                  <a:pt x="1390" y="2004"/>
                </a:lnTo>
                <a:lnTo>
                  <a:pt x="1386" y="2002"/>
                </a:lnTo>
                <a:lnTo>
                  <a:pt x="1386" y="2004"/>
                </a:lnTo>
                <a:lnTo>
                  <a:pt x="1384" y="2006"/>
                </a:lnTo>
                <a:lnTo>
                  <a:pt x="1382" y="2008"/>
                </a:lnTo>
                <a:lnTo>
                  <a:pt x="1382" y="2010"/>
                </a:lnTo>
                <a:lnTo>
                  <a:pt x="1390" y="2012"/>
                </a:lnTo>
                <a:lnTo>
                  <a:pt x="1396" y="2014"/>
                </a:lnTo>
                <a:lnTo>
                  <a:pt x="1398" y="2018"/>
                </a:lnTo>
                <a:lnTo>
                  <a:pt x="1398" y="2022"/>
                </a:lnTo>
                <a:lnTo>
                  <a:pt x="1398" y="2028"/>
                </a:lnTo>
                <a:lnTo>
                  <a:pt x="1400" y="2030"/>
                </a:lnTo>
                <a:lnTo>
                  <a:pt x="1402" y="2034"/>
                </a:lnTo>
                <a:lnTo>
                  <a:pt x="1402" y="2038"/>
                </a:lnTo>
                <a:lnTo>
                  <a:pt x="1400" y="2040"/>
                </a:lnTo>
                <a:lnTo>
                  <a:pt x="1398" y="2040"/>
                </a:lnTo>
                <a:lnTo>
                  <a:pt x="1396" y="2040"/>
                </a:lnTo>
                <a:lnTo>
                  <a:pt x="1394" y="2042"/>
                </a:lnTo>
                <a:lnTo>
                  <a:pt x="1392" y="2046"/>
                </a:lnTo>
                <a:lnTo>
                  <a:pt x="1394" y="2048"/>
                </a:lnTo>
                <a:lnTo>
                  <a:pt x="1402" y="2050"/>
                </a:lnTo>
                <a:lnTo>
                  <a:pt x="1406" y="2050"/>
                </a:lnTo>
                <a:lnTo>
                  <a:pt x="1404" y="2052"/>
                </a:lnTo>
                <a:lnTo>
                  <a:pt x="1404" y="2056"/>
                </a:lnTo>
                <a:lnTo>
                  <a:pt x="1406" y="2060"/>
                </a:lnTo>
                <a:lnTo>
                  <a:pt x="1408" y="2062"/>
                </a:lnTo>
                <a:lnTo>
                  <a:pt x="1406" y="2064"/>
                </a:lnTo>
                <a:lnTo>
                  <a:pt x="1404" y="2064"/>
                </a:lnTo>
                <a:lnTo>
                  <a:pt x="1398" y="2064"/>
                </a:lnTo>
                <a:lnTo>
                  <a:pt x="1398" y="2066"/>
                </a:lnTo>
                <a:lnTo>
                  <a:pt x="1398" y="2068"/>
                </a:lnTo>
                <a:lnTo>
                  <a:pt x="1400" y="2070"/>
                </a:lnTo>
                <a:lnTo>
                  <a:pt x="1406" y="2070"/>
                </a:lnTo>
                <a:close/>
                <a:moveTo>
                  <a:pt x="3826" y="3942"/>
                </a:moveTo>
                <a:lnTo>
                  <a:pt x="3826" y="3942"/>
                </a:lnTo>
                <a:lnTo>
                  <a:pt x="3824" y="3946"/>
                </a:lnTo>
                <a:lnTo>
                  <a:pt x="3822" y="3946"/>
                </a:lnTo>
                <a:lnTo>
                  <a:pt x="3818" y="3946"/>
                </a:lnTo>
                <a:lnTo>
                  <a:pt x="3812" y="3946"/>
                </a:lnTo>
                <a:lnTo>
                  <a:pt x="3808" y="3948"/>
                </a:lnTo>
                <a:lnTo>
                  <a:pt x="3804" y="3952"/>
                </a:lnTo>
                <a:lnTo>
                  <a:pt x="3802" y="3956"/>
                </a:lnTo>
                <a:lnTo>
                  <a:pt x="3802" y="3960"/>
                </a:lnTo>
                <a:lnTo>
                  <a:pt x="3806" y="3960"/>
                </a:lnTo>
                <a:lnTo>
                  <a:pt x="3818" y="3958"/>
                </a:lnTo>
                <a:lnTo>
                  <a:pt x="3824" y="3956"/>
                </a:lnTo>
                <a:lnTo>
                  <a:pt x="3828" y="3952"/>
                </a:lnTo>
                <a:lnTo>
                  <a:pt x="3830" y="3948"/>
                </a:lnTo>
                <a:lnTo>
                  <a:pt x="3830" y="3944"/>
                </a:lnTo>
                <a:lnTo>
                  <a:pt x="3830" y="3940"/>
                </a:lnTo>
                <a:lnTo>
                  <a:pt x="3828" y="3940"/>
                </a:lnTo>
                <a:lnTo>
                  <a:pt x="3826" y="3942"/>
                </a:lnTo>
                <a:close/>
                <a:moveTo>
                  <a:pt x="3640" y="3780"/>
                </a:moveTo>
                <a:lnTo>
                  <a:pt x="3640" y="3780"/>
                </a:lnTo>
                <a:lnTo>
                  <a:pt x="3642" y="3776"/>
                </a:lnTo>
                <a:lnTo>
                  <a:pt x="3644" y="3772"/>
                </a:lnTo>
                <a:lnTo>
                  <a:pt x="3642" y="3766"/>
                </a:lnTo>
                <a:lnTo>
                  <a:pt x="3636" y="3760"/>
                </a:lnTo>
                <a:lnTo>
                  <a:pt x="3632" y="3754"/>
                </a:lnTo>
                <a:lnTo>
                  <a:pt x="3630" y="3748"/>
                </a:lnTo>
                <a:lnTo>
                  <a:pt x="3630" y="3744"/>
                </a:lnTo>
                <a:lnTo>
                  <a:pt x="3626" y="3742"/>
                </a:lnTo>
                <a:lnTo>
                  <a:pt x="3622" y="3744"/>
                </a:lnTo>
                <a:lnTo>
                  <a:pt x="3622" y="3748"/>
                </a:lnTo>
                <a:lnTo>
                  <a:pt x="3622" y="3754"/>
                </a:lnTo>
                <a:lnTo>
                  <a:pt x="3620" y="3764"/>
                </a:lnTo>
                <a:lnTo>
                  <a:pt x="3616" y="3772"/>
                </a:lnTo>
                <a:lnTo>
                  <a:pt x="3618" y="3776"/>
                </a:lnTo>
                <a:lnTo>
                  <a:pt x="3622" y="3780"/>
                </a:lnTo>
                <a:lnTo>
                  <a:pt x="3628" y="3786"/>
                </a:lnTo>
                <a:lnTo>
                  <a:pt x="3632" y="3788"/>
                </a:lnTo>
                <a:lnTo>
                  <a:pt x="3634" y="3786"/>
                </a:lnTo>
                <a:lnTo>
                  <a:pt x="3640" y="3780"/>
                </a:lnTo>
                <a:close/>
                <a:moveTo>
                  <a:pt x="3646" y="3816"/>
                </a:moveTo>
                <a:lnTo>
                  <a:pt x="3646" y="3816"/>
                </a:lnTo>
                <a:lnTo>
                  <a:pt x="3650" y="3814"/>
                </a:lnTo>
                <a:lnTo>
                  <a:pt x="3652" y="3810"/>
                </a:lnTo>
                <a:lnTo>
                  <a:pt x="3652" y="3804"/>
                </a:lnTo>
                <a:lnTo>
                  <a:pt x="3650" y="3796"/>
                </a:lnTo>
                <a:lnTo>
                  <a:pt x="3646" y="3790"/>
                </a:lnTo>
                <a:lnTo>
                  <a:pt x="3644" y="3792"/>
                </a:lnTo>
                <a:lnTo>
                  <a:pt x="3642" y="3792"/>
                </a:lnTo>
                <a:lnTo>
                  <a:pt x="3640" y="3792"/>
                </a:lnTo>
                <a:lnTo>
                  <a:pt x="3638" y="3790"/>
                </a:lnTo>
                <a:lnTo>
                  <a:pt x="3636" y="3790"/>
                </a:lnTo>
                <a:lnTo>
                  <a:pt x="3634" y="3794"/>
                </a:lnTo>
                <a:lnTo>
                  <a:pt x="3634" y="3802"/>
                </a:lnTo>
                <a:lnTo>
                  <a:pt x="3640" y="3808"/>
                </a:lnTo>
                <a:lnTo>
                  <a:pt x="3642" y="3814"/>
                </a:lnTo>
                <a:lnTo>
                  <a:pt x="3644" y="3816"/>
                </a:lnTo>
                <a:lnTo>
                  <a:pt x="3646" y="3816"/>
                </a:lnTo>
                <a:close/>
                <a:moveTo>
                  <a:pt x="3596" y="3668"/>
                </a:moveTo>
                <a:lnTo>
                  <a:pt x="3596" y="3668"/>
                </a:lnTo>
                <a:lnTo>
                  <a:pt x="3590" y="3666"/>
                </a:lnTo>
                <a:lnTo>
                  <a:pt x="3590" y="3670"/>
                </a:lnTo>
                <a:lnTo>
                  <a:pt x="3596" y="3674"/>
                </a:lnTo>
                <a:lnTo>
                  <a:pt x="3598" y="3676"/>
                </a:lnTo>
                <a:lnTo>
                  <a:pt x="3602" y="3676"/>
                </a:lnTo>
                <a:lnTo>
                  <a:pt x="3616" y="3670"/>
                </a:lnTo>
                <a:lnTo>
                  <a:pt x="3624" y="3668"/>
                </a:lnTo>
                <a:lnTo>
                  <a:pt x="3630" y="3668"/>
                </a:lnTo>
                <a:lnTo>
                  <a:pt x="3632" y="3668"/>
                </a:lnTo>
                <a:lnTo>
                  <a:pt x="3634" y="3666"/>
                </a:lnTo>
                <a:lnTo>
                  <a:pt x="3634" y="3664"/>
                </a:lnTo>
                <a:lnTo>
                  <a:pt x="3632" y="3662"/>
                </a:lnTo>
                <a:lnTo>
                  <a:pt x="3626" y="3662"/>
                </a:lnTo>
                <a:lnTo>
                  <a:pt x="3618" y="3664"/>
                </a:lnTo>
                <a:lnTo>
                  <a:pt x="3608" y="3662"/>
                </a:lnTo>
                <a:lnTo>
                  <a:pt x="3604" y="3660"/>
                </a:lnTo>
                <a:lnTo>
                  <a:pt x="3602" y="3660"/>
                </a:lnTo>
                <a:lnTo>
                  <a:pt x="3602" y="3664"/>
                </a:lnTo>
                <a:lnTo>
                  <a:pt x="3602" y="3668"/>
                </a:lnTo>
                <a:lnTo>
                  <a:pt x="3600" y="3670"/>
                </a:lnTo>
                <a:lnTo>
                  <a:pt x="3596" y="3668"/>
                </a:lnTo>
                <a:close/>
                <a:moveTo>
                  <a:pt x="3666" y="3688"/>
                </a:moveTo>
                <a:lnTo>
                  <a:pt x="3666" y="3688"/>
                </a:lnTo>
                <a:lnTo>
                  <a:pt x="3668" y="3686"/>
                </a:lnTo>
                <a:lnTo>
                  <a:pt x="3668" y="3680"/>
                </a:lnTo>
                <a:lnTo>
                  <a:pt x="3668" y="3674"/>
                </a:lnTo>
                <a:lnTo>
                  <a:pt x="3664" y="3670"/>
                </a:lnTo>
                <a:lnTo>
                  <a:pt x="3658" y="3666"/>
                </a:lnTo>
                <a:lnTo>
                  <a:pt x="3654" y="3660"/>
                </a:lnTo>
                <a:lnTo>
                  <a:pt x="3648" y="3656"/>
                </a:lnTo>
                <a:lnTo>
                  <a:pt x="3640" y="3654"/>
                </a:lnTo>
                <a:lnTo>
                  <a:pt x="3634" y="3654"/>
                </a:lnTo>
                <a:lnTo>
                  <a:pt x="3644" y="3658"/>
                </a:lnTo>
                <a:lnTo>
                  <a:pt x="3648" y="3660"/>
                </a:lnTo>
                <a:lnTo>
                  <a:pt x="3650" y="3662"/>
                </a:lnTo>
                <a:lnTo>
                  <a:pt x="3654" y="3666"/>
                </a:lnTo>
                <a:lnTo>
                  <a:pt x="3658" y="3672"/>
                </a:lnTo>
                <a:lnTo>
                  <a:pt x="3662" y="3676"/>
                </a:lnTo>
                <a:lnTo>
                  <a:pt x="3662" y="3678"/>
                </a:lnTo>
                <a:lnTo>
                  <a:pt x="3660" y="3682"/>
                </a:lnTo>
                <a:lnTo>
                  <a:pt x="3658" y="3690"/>
                </a:lnTo>
                <a:lnTo>
                  <a:pt x="3658" y="3694"/>
                </a:lnTo>
                <a:lnTo>
                  <a:pt x="3656" y="3696"/>
                </a:lnTo>
                <a:lnTo>
                  <a:pt x="3654" y="3698"/>
                </a:lnTo>
                <a:lnTo>
                  <a:pt x="3652" y="3700"/>
                </a:lnTo>
                <a:lnTo>
                  <a:pt x="3658" y="3706"/>
                </a:lnTo>
                <a:lnTo>
                  <a:pt x="3660" y="3708"/>
                </a:lnTo>
                <a:lnTo>
                  <a:pt x="3660" y="3706"/>
                </a:lnTo>
                <a:lnTo>
                  <a:pt x="3662" y="3700"/>
                </a:lnTo>
                <a:lnTo>
                  <a:pt x="3664" y="3694"/>
                </a:lnTo>
                <a:lnTo>
                  <a:pt x="3666" y="3688"/>
                </a:lnTo>
                <a:close/>
                <a:moveTo>
                  <a:pt x="3840" y="3888"/>
                </a:moveTo>
                <a:lnTo>
                  <a:pt x="3840" y="3888"/>
                </a:lnTo>
                <a:lnTo>
                  <a:pt x="3838" y="3886"/>
                </a:lnTo>
                <a:lnTo>
                  <a:pt x="3834" y="3884"/>
                </a:lnTo>
                <a:lnTo>
                  <a:pt x="3828" y="3882"/>
                </a:lnTo>
                <a:lnTo>
                  <a:pt x="3824" y="3884"/>
                </a:lnTo>
                <a:lnTo>
                  <a:pt x="3824" y="3886"/>
                </a:lnTo>
                <a:lnTo>
                  <a:pt x="3826" y="3888"/>
                </a:lnTo>
                <a:lnTo>
                  <a:pt x="3830" y="3888"/>
                </a:lnTo>
                <a:lnTo>
                  <a:pt x="3834" y="3890"/>
                </a:lnTo>
                <a:lnTo>
                  <a:pt x="3838" y="3890"/>
                </a:lnTo>
                <a:lnTo>
                  <a:pt x="3840" y="3890"/>
                </a:lnTo>
                <a:lnTo>
                  <a:pt x="3840" y="3888"/>
                </a:lnTo>
                <a:close/>
                <a:moveTo>
                  <a:pt x="3700" y="3740"/>
                </a:moveTo>
                <a:lnTo>
                  <a:pt x="3700" y="3740"/>
                </a:lnTo>
                <a:lnTo>
                  <a:pt x="3686" y="3726"/>
                </a:lnTo>
                <a:lnTo>
                  <a:pt x="3680" y="3724"/>
                </a:lnTo>
                <a:lnTo>
                  <a:pt x="3678" y="3726"/>
                </a:lnTo>
                <a:lnTo>
                  <a:pt x="3682" y="3730"/>
                </a:lnTo>
                <a:lnTo>
                  <a:pt x="3686" y="3734"/>
                </a:lnTo>
                <a:lnTo>
                  <a:pt x="3694" y="3740"/>
                </a:lnTo>
                <a:lnTo>
                  <a:pt x="3700" y="3746"/>
                </a:lnTo>
                <a:lnTo>
                  <a:pt x="3702" y="3750"/>
                </a:lnTo>
                <a:lnTo>
                  <a:pt x="3702" y="3752"/>
                </a:lnTo>
                <a:lnTo>
                  <a:pt x="3698" y="3756"/>
                </a:lnTo>
                <a:lnTo>
                  <a:pt x="3694" y="3760"/>
                </a:lnTo>
                <a:lnTo>
                  <a:pt x="3694" y="3762"/>
                </a:lnTo>
                <a:lnTo>
                  <a:pt x="3696" y="3764"/>
                </a:lnTo>
                <a:lnTo>
                  <a:pt x="3702" y="3774"/>
                </a:lnTo>
                <a:lnTo>
                  <a:pt x="3702" y="3776"/>
                </a:lnTo>
                <a:lnTo>
                  <a:pt x="3704" y="3776"/>
                </a:lnTo>
                <a:lnTo>
                  <a:pt x="3702" y="3766"/>
                </a:lnTo>
                <a:lnTo>
                  <a:pt x="3704" y="3758"/>
                </a:lnTo>
                <a:lnTo>
                  <a:pt x="3706" y="3752"/>
                </a:lnTo>
                <a:lnTo>
                  <a:pt x="3704" y="3746"/>
                </a:lnTo>
                <a:lnTo>
                  <a:pt x="3700" y="3740"/>
                </a:lnTo>
                <a:close/>
                <a:moveTo>
                  <a:pt x="3780" y="3864"/>
                </a:moveTo>
                <a:lnTo>
                  <a:pt x="3780" y="3864"/>
                </a:lnTo>
                <a:lnTo>
                  <a:pt x="3776" y="3862"/>
                </a:lnTo>
                <a:lnTo>
                  <a:pt x="3774" y="3864"/>
                </a:lnTo>
                <a:lnTo>
                  <a:pt x="3776" y="3868"/>
                </a:lnTo>
                <a:lnTo>
                  <a:pt x="3780" y="3872"/>
                </a:lnTo>
                <a:lnTo>
                  <a:pt x="3782" y="3872"/>
                </a:lnTo>
                <a:lnTo>
                  <a:pt x="3786" y="3872"/>
                </a:lnTo>
                <a:lnTo>
                  <a:pt x="3788" y="3874"/>
                </a:lnTo>
                <a:lnTo>
                  <a:pt x="3790" y="3876"/>
                </a:lnTo>
                <a:lnTo>
                  <a:pt x="3790" y="3880"/>
                </a:lnTo>
                <a:lnTo>
                  <a:pt x="3786" y="3886"/>
                </a:lnTo>
                <a:lnTo>
                  <a:pt x="3782" y="3890"/>
                </a:lnTo>
                <a:lnTo>
                  <a:pt x="3780" y="3894"/>
                </a:lnTo>
                <a:lnTo>
                  <a:pt x="3780" y="3896"/>
                </a:lnTo>
                <a:lnTo>
                  <a:pt x="3786" y="3892"/>
                </a:lnTo>
                <a:lnTo>
                  <a:pt x="3792" y="3886"/>
                </a:lnTo>
                <a:lnTo>
                  <a:pt x="3796" y="3882"/>
                </a:lnTo>
                <a:lnTo>
                  <a:pt x="3796" y="3876"/>
                </a:lnTo>
                <a:lnTo>
                  <a:pt x="3796" y="3870"/>
                </a:lnTo>
                <a:lnTo>
                  <a:pt x="3794" y="3866"/>
                </a:lnTo>
                <a:lnTo>
                  <a:pt x="3792" y="3866"/>
                </a:lnTo>
                <a:lnTo>
                  <a:pt x="3788" y="3866"/>
                </a:lnTo>
                <a:lnTo>
                  <a:pt x="3780" y="3864"/>
                </a:lnTo>
                <a:close/>
                <a:moveTo>
                  <a:pt x="3708" y="3820"/>
                </a:moveTo>
                <a:lnTo>
                  <a:pt x="3708" y="3820"/>
                </a:lnTo>
                <a:lnTo>
                  <a:pt x="3708" y="3824"/>
                </a:lnTo>
                <a:lnTo>
                  <a:pt x="3714" y="3828"/>
                </a:lnTo>
                <a:lnTo>
                  <a:pt x="3718" y="3832"/>
                </a:lnTo>
                <a:lnTo>
                  <a:pt x="3720" y="3832"/>
                </a:lnTo>
                <a:lnTo>
                  <a:pt x="3720" y="3830"/>
                </a:lnTo>
                <a:lnTo>
                  <a:pt x="3718" y="3828"/>
                </a:lnTo>
                <a:lnTo>
                  <a:pt x="3712" y="3820"/>
                </a:lnTo>
                <a:lnTo>
                  <a:pt x="3710" y="3818"/>
                </a:lnTo>
                <a:lnTo>
                  <a:pt x="3708" y="3820"/>
                </a:lnTo>
                <a:close/>
                <a:moveTo>
                  <a:pt x="3724" y="3770"/>
                </a:moveTo>
                <a:lnTo>
                  <a:pt x="3724" y="3770"/>
                </a:lnTo>
                <a:lnTo>
                  <a:pt x="3720" y="3768"/>
                </a:lnTo>
                <a:lnTo>
                  <a:pt x="3720" y="3770"/>
                </a:lnTo>
                <a:lnTo>
                  <a:pt x="3722" y="3772"/>
                </a:lnTo>
                <a:lnTo>
                  <a:pt x="3724" y="3778"/>
                </a:lnTo>
                <a:lnTo>
                  <a:pt x="3730" y="3788"/>
                </a:lnTo>
                <a:lnTo>
                  <a:pt x="3732" y="3794"/>
                </a:lnTo>
                <a:lnTo>
                  <a:pt x="3730" y="3798"/>
                </a:lnTo>
                <a:lnTo>
                  <a:pt x="3730" y="3800"/>
                </a:lnTo>
                <a:lnTo>
                  <a:pt x="3734" y="3798"/>
                </a:lnTo>
                <a:lnTo>
                  <a:pt x="3736" y="3796"/>
                </a:lnTo>
                <a:lnTo>
                  <a:pt x="3736" y="3794"/>
                </a:lnTo>
                <a:lnTo>
                  <a:pt x="3732" y="3788"/>
                </a:lnTo>
                <a:lnTo>
                  <a:pt x="3730" y="3780"/>
                </a:lnTo>
                <a:lnTo>
                  <a:pt x="3724" y="3770"/>
                </a:lnTo>
                <a:close/>
                <a:moveTo>
                  <a:pt x="3748" y="3850"/>
                </a:moveTo>
                <a:lnTo>
                  <a:pt x="3748" y="3850"/>
                </a:lnTo>
                <a:lnTo>
                  <a:pt x="3754" y="3858"/>
                </a:lnTo>
                <a:lnTo>
                  <a:pt x="3756" y="3862"/>
                </a:lnTo>
                <a:lnTo>
                  <a:pt x="3756" y="3856"/>
                </a:lnTo>
                <a:lnTo>
                  <a:pt x="3750" y="3848"/>
                </a:lnTo>
                <a:lnTo>
                  <a:pt x="3748" y="3844"/>
                </a:lnTo>
                <a:lnTo>
                  <a:pt x="3748" y="3842"/>
                </a:lnTo>
                <a:lnTo>
                  <a:pt x="3744" y="3832"/>
                </a:lnTo>
                <a:lnTo>
                  <a:pt x="3740" y="3826"/>
                </a:lnTo>
                <a:lnTo>
                  <a:pt x="3736" y="3820"/>
                </a:lnTo>
                <a:lnTo>
                  <a:pt x="3734" y="3820"/>
                </a:lnTo>
                <a:lnTo>
                  <a:pt x="3736" y="3824"/>
                </a:lnTo>
                <a:lnTo>
                  <a:pt x="3742" y="3838"/>
                </a:lnTo>
                <a:lnTo>
                  <a:pt x="3744" y="3844"/>
                </a:lnTo>
                <a:lnTo>
                  <a:pt x="3742" y="3844"/>
                </a:lnTo>
                <a:lnTo>
                  <a:pt x="3742" y="3846"/>
                </a:lnTo>
                <a:lnTo>
                  <a:pt x="3748" y="3850"/>
                </a:lnTo>
                <a:close/>
                <a:moveTo>
                  <a:pt x="3494" y="4042"/>
                </a:moveTo>
                <a:lnTo>
                  <a:pt x="3494" y="4042"/>
                </a:lnTo>
                <a:lnTo>
                  <a:pt x="3502" y="4042"/>
                </a:lnTo>
                <a:lnTo>
                  <a:pt x="3506" y="4040"/>
                </a:lnTo>
                <a:lnTo>
                  <a:pt x="3506" y="4038"/>
                </a:lnTo>
                <a:lnTo>
                  <a:pt x="3504" y="4036"/>
                </a:lnTo>
                <a:lnTo>
                  <a:pt x="3500" y="4036"/>
                </a:lnTo>
                <a:lnTo>
                  <a:pt x="3496" y="4038"/>
                </a:lnTo>
                <a:lnTo>
                  <a:pt x="3494" y="4040"/>
                </a:lnTo>
                <a:lnTo>
                  <a:pt x="3494" y="4042"/>
                </a:lnTo>
                <a:close/>
                <a:moveTo>
                  <a:pt x="3432" y="3908"/>
                </a:moveTo>
                <a:lnTo>
                  <a:pt x="3432" y="3908"/>
                </a:lnTo>
                <a:lnTo>
                  <a:pt x="3428" y="3908"/>
                </a:lnTo>
                <a:lnTo>
                  <a:pt x="3426" y="3912"/>
                </a:lnTo>
                <a:lnTo>
                  <a:pt x="3426" y="3916"/>
                </a:lnTo>
                <a:lnTo>
                  <a:pt x="3426" y="3920"/>
                </a:lnTo>
                <a:lnTo>
                  <a:pt x="3428" y="3926"/>
                </a:lnTo>
                <a:lnTo>
                  <a:pt x="3432" y="3928"/>
                </a:lnTo>
                <a:lnTo>
                  <a:pt x="3438" y="3930"/>
                </a:lnTo>
                <a:lnTo>
                  <a:pt x="3444" y="3930"/>
                </a:lnTo>
                <a:lnTo>
                  <a:pt x="3448" y="3928"/>
                </a:lnTo>
                <a:lnTo>
                  <a:pt x="3448" y="3926"/>
                </a:lnTo>
                <a:lnTo>
                  <a:pt x="3446" y="3918"/>
                </a:lnTo>
                <a:lnTo>
                  <a:pt x="3440" y="3910"/>
                </a:lnTo>
                <a:lnTo>
                  <a:pt x="3436" y="3908"/>
                </a:lnTo>
                <a:lnTo>
                  <a:pt x="3432" y="3908"/>
                </a:lnTo>
                <a:close/>
                <a:moveTo>
                  <a:pt x="4328" y="4390"/>
                </a:moveTo>
                <a:lnTo>
                  <a:pt x="4328" y="4390"/>
                </a:lnTo>
                <a:lnTo>
                  <a:pt x="4326" y="4392"/>
                </a:lnTo>
                <a:lnTo>
                  <a:pt x="4324" y="4394"/>
                </a:lnTo>
                <a:lnTo>
                  <a:pt x="4324" y="4402"/>
                </a:lnTo>
                <a:lnTo>
                  <a:pt x="4326" y="4406"/>
                </a:lnTo>
                <a:lnTo>
                  <a:pt x="4328" y="4408"/>
                </a:lnTo>
                <a:lnTo>
                  <a:pt x="4332" y="4410"/>
                </a:lnTo>
                <a:lnTo>
                  <a:pt x="4338" y="4410"/>
                </a:lnTo>
                <a:lnTo>
                  <a:pt x="4340" y="4408"/>
                </a:lnTo>
                <a:lnTo>
                  <a:pt x="4340" y="4406"/>
                </a:lnTo>
                <a:lnTo>
                  <a:pt x="4338" y="4400"/>
                </a:lnTo>
                <a:lnTo>
                  <a:pt x="4334" y="4392"/>
                </a:lnTo>
                <a:lnTo>
                  <a:pt x="4330" y="4390"/>
                </a:lnTo>
                <a:lnTo>
                  <a:pt x="4328" y="4390"/>
                </a:lnTo>
                <a:close/>
                <a:moveTo>
                  <a:pt x="3606" y="3880"/>
                </a:moveTo>
                <a:lnTo>
                  <a:pt x="3606" y="3880"/>
                </a:lnTo>
                <a:lnTo>
                  <a:pt x="3610" y="3882"/>
                </a:lnTo>
                <a:lnTo>
                  <a:pt x="3614" y="3882"/>
                </a:lnTo>
                <a:lnTo>
                  <a:pt x="3616" y="3880"/>
                </a:lnTo>
                <a:lnTo>
                  <a:pt x="3614" y="3878"/>
                </a:lnTo>
                <a:lnTo>
                  <a:pt x="3604" y="3876"/>
                </a:lnTo>
                <a:lnTo>
                  <a:pt x="3602" y="3878"/>
                </a:lnTo>
                <a:lnTo>
                  <a:pt x="3606" y="3880"/>
                </a:lnTo>
                <a:close/>
                <a:moveTo>
                  <a:pt x="3620" y="3884"/>
                </a:moveTo>
                <a:lnTo>
                  <a:pt x="3620" y="3884"/>
                </a:lnTo>
                <a:lnTo>
                  <a:pt x="3618" y="3886"/>
                </a:lnTo>
                <a:lnTo>
                  <a:pt x="3620" y="3888"/>
                </a:lnTo>
                <a:lnTo>
                  <a:pt x="3630" y="3892"/>
                </a:lnTo>
                <a:lnTo>
                  <a:pt x="3632" y="3892"/>
                </a:lnTo>
                <a:lnTo>
                  <a:pt x="3628" y="3888"/>
                </a:lnTo>
                <a:lnTo>
                  <a:pt x="3624" y="3884"/>
                </a:lnTo>
                <a:lnTo>
                  <a:pt x="3620" y="3884"/>
                </a:lnTo>
                <a:close/>
                <a:moveTo>
                  <a:pt x="3838" y="4066"/>
                </a:moveTo>
                <a:lnTo>
                  <a:pt x="3838" y="4066"/>
                </a:lnTo>
                <a:lnTo>
                  <a:pt x="3838" y="4064"/>
                </a:lnTo>
                <a:lnTo>
                  <a:pt x="3836" y="4062"/>
                </a:lnTo>
                <a:lnTo>
                  <a:pt x="3828" y="4058"/>
                </a:lnTo>
                <a:lnTo>
                  <a:pt x="3822" y="4056"/>
                </a:lnTo>
                <a:lnTo>
                  <a:pt x="3818" y="4058"/>
                </a:lnTo>
                <a:lnTo>
                  <a:pt x="3818" y="4060"/>
                </a:lnTo>
                <a:lnTo>
                  <a:pt x="3820" y="4064"/>
                </a:lnTo>
                <a:lnTo>
                  <a:pt x="3826" y="4066"/>
                </a:lnTo>
                <a:lnTo>
                  <a:pt x="3834" y="4068"/>
                </a:lnTo>
                <a:lnTo>
                  <a:pt x="3836" y="4068"/>
                </a:lnTo>
                <a:lnTo>
                  <a:pt x="3838" y="4066"/>
                </a:lnTo>
                <a:close/>
                <a:moveTo>
                  <a:pt x="3986" y="4384"/>
                </a:moveTo>
                <a:lnTo>
                  <a:pt x="3986" y="4384"/>
                </a:lnTo>
                <a:lnTo>
                  <a:pt x="3982" y="4384"/>
                </a:lnTo>
                <a:lnTo>
                  <a:pt x="3984" y="4386"/>
                </a:lnTo>
                <a:lnTo>
                  <a:pt x="3986" y="4392"/>
                </a:lnTo>
                <a:lnTo>
                  <a:pt x="3992" y="4396"/>
                </a:lnTo>
                <a:lnTo>
                  <a:pt x="4000" y="4402"/>
                </a:lnTo>
                <a:lnTo>
                  <a:pt x="4000" y="4400"/>
                </a:lnTo>
                <a:lnTo>
                  <a:pt x="3998" y="4396"/>
                </a:lnTo>
                <a:lnTo>
                  <a:pt x="3994" y="4392"/>
                </a:lnTo>
                <a:lnTo>
                  <a:pt x="3992" y="4390"/>
                </a:lnTo>
                <a:lnTo>
                  <a:pt x="3990" y="4388"/>
                </a:lnTo>
                <a:lnTo>
                  <a:pt x="3988" y="4386"/>
                </a:lnTo>
                <a:lnTo>
                  <a:pt x="3986" y="4384"/>
                </a:lnTo>
                <a:close/>
                <a:moveTo>
                  <a:pt x="4018" y="4394"/>
                </a:moveTo>
                <a:lnTo>
                  <a:pt x="4018" y="4394"/>
                </a:lnTo>
                <a:lnTo>
                  <a:pt x="4018" y="4396"/>
                </a:lnTo>
                <a:lnTo>
                  <a:pt x="4020" y="4402"/>
                </a:lnTo>
                <a:lnTo>
                  <a:pt x="4020" y="4404"/>
                </a:lnTo>
                <a:lnTo>
                  <a:pt x="4022" y="4402"/>
                </a:lnTo>
                <a:lnTo>
                  <a:pt x="4024" y="4398"/>
                </a:lnTo>
                <a:lnTo>
                  <a:pt x="4024" y="4392"/>
                </a:lnTo>
                <a:lnTo>
                  <a:pt x="4022" y="4390"/>
                </a:lnTo>
                <a:lnTo>
                  <a:pt x="4020" y="4388"/>
                </a:lnTo>
                <a:lnTo>
                  <a:pt x="4016" y="4388"/>
                </a:lnTo>
                <a:lnTo>
                  <a:pt x="4014" y="4388"/>
                </a:lnTo>
                <a:lnTo>
                  <a:pt x="4014" y="4392"/>
                </a:lnTo>
                <a:lnTo>
                  <a:pt x="4018" y="4394"/>
                </a:lnTo>
                <a:close/>
                <a:moveTo>
                  <a:pt x="4194" y="4446"/>
                </a:moveTo>
                <a:lnTo>
                  <a:pt x="4194" y="4446"/>
                </a:lnTo>
                <a:lnTo>
                  <a:pt x="4192" y="4448"/>
                </a:lnTo>
                <a:lnTo>
                  <a:pt x="4190" y="4448"/>
                </a:lnTo>
                <a:lnTo>
                  <a:pt x="4186" y="4446"/>
                </a:lnTo>
                <a:lnTo>
                  <a:pt x="4182" y="4446"/>
                </a:lnTo>
                <a:lnTo>
                  <a:pt x="4180" y="4446"/>
                </a:lnTo>
                <a:lnTo>
                  <a:pt x="4178" y="4450"/>
                </a:lnTo>
                <a:lnTo>
                  <a:pt x="4178" y="4452"/>
                </a:lnTo>
                <a:lnTo>
                  <a:pt x="4180" y="4454"/>
                </a:lnTo>
                <a:lnTo>
                  <a:pt x="4186" y="4454"/>
                </a:lnTo>
                <a:lnTo>
                  <a:pt x="4194" y="4456"/>
                </a:lnTo>
                <a:lnTo>
                  <a:pt x="4198" y="4456"/>
                </a:lnTo>
                <a:lnTo>
                  <a:pt x="4202" y="4454"/>
                </a:lnTo>
                <a:lnTo>
                  <a:pt x="4204" y="4448"/>
                </a:lnTo>
                <a:lnTo>
                  <a:pt x="4202" y="4444"/>
                </a:lnTo>
                <a:lnTo>
                  <a:pt x="4198" y="4444"/>
                </a:lnTo>
                <a:lnTo>
                  <a:pt x="4194" y="4446"/>
                </a:lnTo>
                <a:close/>
                <a:moveTo>
                  <a:pt x="4316" y="4544"/>
                </a:moveTo>
                <a:lnTo>
                  <a:pt x="4316" y="4544"/>
                </a:lnTo>
                <a:lnTo>
                  <a:pt x="4316" y="4546"/>
                </a:lnTo>
                <a:lnTo>
                  <a:pt x="4318" y="4546"/>
                </a:lnTo>
                <a:lnTo>
                  <a:pt x="4320" y="4542"/>
                </a:lnTo>
                <a:lnTo>
                  <a:pt x="4320" y="4540"/>
                </a:lnTo>
                <a:lnTo>
                  <a:pt x="4318" y="4540"/>
                </a:lnTo>
                <a:lnTo>
                  <a:pt x="4316" y="4544"/>
                </a:lnTo>
                <a:close/>
                <a:moveTo>
                  <a:pt x="4310" y="4554"/>
                </a:moveTo>
                <a:lnTo>
                  <a:pt x="4310" y="4554"/>
                </a:lnTo>
                <a:lnTo>
                  <a:pt x="4312" y="4556"/>
                </a:lnTo>
                <a:lnTo>
                  <a:pt x="4316" y="4552"/>
                </a:lnTo>
                <a:lnTo>
                  <a:pt x="4318" y="4548"/>
                </a:lnTo>
                <a:lnTo>
                  <a:pt x="4318" y="4546"/>
                </a:lnTo>
                <a:lnTo>
                  <a:pt x="4316" y="4548"/>
                </a:lnTo>
                <a:lnTo>
                  <a:pt x="4314" y="4550"/>
                </a:lnTo>
                <a:lnTo>
                  <a:pt x="4310" y="4554"/>
                </a:lnTo>
                <a:close/>
                <a:moveTo>
                  <a:pt x="4316" y="4558"/>
                </a:moveTo>
                <a:lnTo>
                  <a:pt x="4316" y="4558"/>
                </a:lnTo>
                <a:lnTo>
                  <a:pt x="4312" y="4558"/>
                </a:lnTo>
                <a:lnTo>
                  <a:pt x="4310" y="4562"/>
                </a:lnTo>
                <a:lnTo>
                  <a:pt x="4308" y="4564"/>
                </a:lnTo>
                <a:lnTo>
                  <a:pt x="4308" y="4566"/>
                </a:lnTo>
                <a:lnTo>
                  <a:pt x="4314" y="4568"/>
                </a:lnTo>
                <a:lnTo>
                  <a:pt x="4316" y="4566"/>
                </a:lnTo>
                <a:lnTo>
                  <a:pt x="4318" y="4562"/>
                </a:lnTo>
                <a:lnTo>
                  <a:pt x="4318" y="4560"/>
                </a:lnTo>
                <a:lnTo>
                  <a:pt x="4316" y="4558"/>
                </a:lnTo>
                <a:close/>
                <a:moveTo>
                  <a:pt x="4306" y="4570"/>
                </a:moveTo>
                <a:lnTo>
                  <a:pt x="4306" y="4570"/>
                </a:lnTo>
                <a:lnTo>
                  <a:pt x="4304" y="4572"/>
                </a:lnTo>
                <a:lnTo>
                  <a:pt x="4306" y="4572"/>
                </a:lnTo>
                <a:lnTo>
                  <a:pt x="4310" y="4574"/>
                </a:lnTo>
                <a:lnTo>
                  <a:pt x="4312" y="4572"/>
                </a:lnTo>
                <a:lnTo>
                  <a:pt x="4314" y="4570"/>
                </a:lnTo>
                <a:lnTo>
                  <a:pt x="4312" y="4570"/>
                </a:lnTo>
                <a:lnTo>
                  <a:pt x="4306" y="4570"/>
                </a:lnTo>
                <a:close/>
                <a:moveTo>
                  <a:pt x="4322" y="4564"/>
                </a:moveTo>
                <a:lnTo>
                  <a:pt x="4322" y="4564"/>
                </a:lnTo>
                <a:lnTo>
                  <a:pt x="4320" y="4564"/>
                </a:lnTo>
                <a:lnTo>
                  <a:pt x="4318" y="4566"/>
                </a:lnTo>
                <a:lnTo>
                  <a:pt x="4318" y="4568"/>
                </a:lnTo>
                <a:lnTo>
                  <a:pt x="4322" y="4566"/>
                </a:lnTo>
                <a:lnTo>
                  <a:pt x="4322" y="4564"/>
                </a:lnTo>
                <a:close/>
                <a:moveTo>
                  <a:pt x="4320" y="4550"/>
                </a:moveTo>
                <a:lnTo>
                  <a:pt x="4320" y="4550"/>
                </a:lnTo>
                <a:lnTo>
                  <a:pt x="4316" y="4550"/>
                </a:lnTo>
                <a:lnTo>
                  <a:pt x="4316" y="4552"/>
                </a:lnTo>
                <a:lnTo>
                  <a:pt x="4316" y="4556"/>
                </a:lnTo>
                <a:lnTo>
                  <a:pt x="4320" y="4554"/>
                </a:lnTo>
                <a:lnTo>
                  <a:pt x="4320" y="4552"/>
                </a:lnTo>
                <a:lnTo>
                  <a:pt x="4320" y="4550"/>
                </a:lnTo>
                <a:close/>
                <a:moveTo>
                  <a:pt x="4334" y="4434"/>
                </a:moveTo>
                <a:lnTo>
                  <a:pt x="4334" y="4434"/>
                </a:lnTo>
                <a:lnTo>
                  <a:pt x="4334" y="4432"/>
                </a:lnTo>
                <a:lnTo>
                  <a:pt x="4330" y="4432"/>
                </a:lnTo>
                <a:lnTo>
                  <a:pt x="4324" y="4436"/>
                </a:lnTo>
                <a:lnTo>
                  <a:pt x="4322" y="4442"/>
                </a:lnTo>
                <a:lnTo>
                  <a:pt x="4326" y="4442"/>
                </a:lnTo>
                <a:lnTo>
                  <a:pt x="4332" y="4438"/>
                </a:lnTo>
                <a:lnTo>
                  <a:pt x="4334" y="4434"/>
                </a:lnTo>
                <a:close/>
                <a:moveTo>
                  <a:pt x="4296" y="4460"/>
                </a:moveTo>
                <a:lnTo>
                  <a:pt x="4296" y="4460"/>
                </a:lnTo>
                <a:lnTo>
                  <a:pt x="4288" y="4462"/>
                </a:lnTo>
                <a:lnTo>
                  <a:pt x="4288" y="4464"/>
                </a:lnTo>
                <a:lnTo>
                  <a:pt x="4290" y="4466"/>
                </a:lnTo>
                <a:lnTo>
                  <a:pt x="4294" y="4470"/>
                </a:lnTo>
                <a:lnTo>
                  <a:pt x="4296" y="4472"/>
                </a:lnTo>
                <a:lnTo>
                  <a:pt x="4296" y="4476"/>
                </a:lnTo>
                <a:lnTo>
                  <a:pt x="4296" y="4482"/>
                </a:lnTo>
                <a:lnTo>
                  <a:pt x="4294" y="4486"/>
                </a:lnTo>
                <a:lnTo>
                  <a:pt x="4282" y="4492"/>
                </a:lnTo>
                <a:lnTo>
                  <a:pt x="4278" y="4496"/>
                </a:lnTo>
                <a:lnTo>
                  <a:pt x="4280" y="4498"/>
                </a:lnTo>
                <a:lnTo>
                  <a:pt x="4300" y="4496"/>
                </a:lnTo>
                <a:lnTo>
                  <a:pt x="4308" y="4496"/>
                </a:lnTo>
                <a:lnTo>
                  <a:pt x="4314" y="4492"/>
                </a:lnTo>
                <a:lnTo>
                  <a:pt x="4316" y="4488"/>
                </a:lnTo>
                <a:lnTo>
                  <a:pt x="4316" y="4482"/>
                </a:lnTo>
                <a:lnTo>
                  <a:pt x="4314" y="4472"/>
                </a:lnTo>
                <a:lnTo>
                  <a:pt x="4314" y="4468"/>
                </a:lnTo>
                <a:lnTo>
                  <a:pt x="4316" y="4464"/>
                </a:lnTo>
                <a:lnTo>
                  <a:pt x="4320" y="4460"/>
                </a:lnTo>
                <a:lnTo>
                  <a:pt x="4316" y="4458"/>
                </a:lnTo>
                <a:lnTo>
                  <a:pt x="4296" y="4460"/>
                </a:lnTo>
                <a:close/>
                <a:moveTo>
                  <a:pt x="4290" y="4390"/>
                </a:moveTo>
                <a:lnTo>
                  <a:pt x="4290" y="4390"/>
                </a:lnTo>
                <a:lnTo>
                  <a:pt x="4286" y="4392"/>
                </a:lnTo>
                <a:lnTo>
                  <a:pt x="4284" y="4396"/>
                </a:lnTo>
                <a:lnTo>
                  <a:pt x="4284" y="4400"/>
                </a:lnTo>
                <a:lnTo>
                  <a:pt x="4288" y="4400"/>
                </a:lnTo>
                <a:lnTo>
                  <a:pt x="4290" y="4398"/>
                </a:lnTo>
                <a:lnTo>
                  <a:pt x="4292" y="4394"/>
                </a:lnTo>
                <a:lnTo>
                  <a:pt x="4292" y="4390"/>
                </a:lnTo>
                <a:lnTo>
                  <a:pt x="4290" y="4390"/>
                </a:lnTo>
                <a:close/>
                <a:moveTo>
                  <a:pt x="4308" y="4332"/>
                </a:moveTo>
                <a:lnTo>
                  <a:pt x="4308" y="4332"/>
                </a:lnTo>
                <a:lnTo>
                  <a:pt x="4306" y="4332"/>
                </a:lnTo>
                <a:lnTo>
                  <a:pt x="4304" y="4336"/>
                </a:lnTo>
                <a:lnTo>
                  <a:pt x="4304" y="4340"/>
                </a:lnTo>
                <a:lnTo>
                  <a:pt x="4306" y="4344"/>
                </a:lnTo>
                <a:lnTo>
                  <a:pt x="4308" y="4344"/>
                </a:lnTo>
                <a:lnTo>
                  <a:pt x="4310" y="4340"/>
                </a:lnTo>
                <a:lnTo>
                  <a:pt x="4310" y="4336"/>
                </a:lnTo>
                <a:lnTo>
                  <a:pt x="4308" y="4332"/>
                </a:lnTo>
                <a:close/>
                <a:moveTo>
                  <a:pt x="4316" y="4300"/>
                </a:moveTo>
                <a:lnTo>
                  <a:pt x="4316" y="4300"/>
                </a:lnTo>
                <a:lnTo>
                  <a:pt x="4314" y="4302"/>
                </a:lnTo>
                <a:lnTo>
                  <a:pt x="4312" y="4306"/>
                </a:lnTo>
                <a:lnTo>
                  <a:pt x="4312" y="4312"/>
                </a:lnTo>
                <a:lnTo>
                  <a:pt x="4314" y="4316"/>
                </a:lnTo>
                <a:lnTo>
                  <a:pt x="4318" y="4316"/>
                </a:lnTo>
                <a:lnTo>
                  <a:pt x="4320" y="4314"/>
                </a:lnTo>
                <a:lnTo>
                  <a:pt x="4322" y="4308"/>
                </a:lnTo>
                <a:lnTo>
                  <a:pt x="4322" y="4304"/>
                </a:lnTo>
                <a:lnTo>
                  <a:pt x="4320" y="4300"/>
                </a:lnTo>
                <a:lnTo>
                  <a:pt x="4320" y="4298"/>
                </a:lnTo>
                <a:lnTo>
                  <a:pt x="4316" y="4300"/>
                </a:lnTo>
                <a:close/>
                <a:moveTo>
                  <a:pt x="4296" y="4230"/>
                </a:moveTo>
                <a:lnTo>
                  <a:pt x="4296" y="4230"/>
                </a:lnTo>
                <a:lnTo>
                  <a:pt x="4298" y="4236"/>
                </a:lnTo>
                <a:lnTo>
                  <a:pt x="4300" y="4240"/>
                </a:lnTo>
                <a:lnTo>
                  <a:pt x="4300" y="4242"/>
                </a:lnTo>
                <a:lnTo>
                  <a:pt x="4304" y="4242"/>
                </a:lnTo>
                <a:lnTo>
                  <a:pt x="4304" y="4238"/>
                </a:lnTo>
                <a:lnTo>
                  <a:pt x="4304" y="4232"/>
                </a:lnTo>
                <a:lnTo>
                  <a:pt x="4304" y="4226"/>
                </a:lnTo>
                <a:lnTo>
                  <a:pt x="4300" y="4222"/>
                </a:lnTo>
                <a:lnTo>
                  <a:pt x="4296" y="4222"/>
                </a:lnTo>
                <a:lnTo>
                  <a:pt x="4296" y="4224"/>
                </a:lnTo>
                <a:lnTo>
                  <a:pt x="4296" y="4228"/>
                </a:lnTo>
                <a:lnTo>
                  <a:pt x="4296" y="4230"/>
                </a:lnTo>
                <a:close/>
                <a:moveTo>
                  <a:pt x="4370" y="4338"/>
                </a:moveTo>
                <a:lnTo>
                  <a:pt x="4370" y="4338"/>
                </a:lnTo>
                <a:lnTo>
                  <a:pt x="4370" y="4344"/>
                </a:lnTo>
                <a:lnTo>
                  <a:pt x="4372" y="4348"/>
                </a:lnTo>
                <a:lnTo>
                  <a:pt x="4374" y="4350"/>
                </a:lnTo>
                <a:lnTo>
                  <a:pt x="4378" y="4348"/>
                </a:lnTo>
                <a:lnTo>
                  <a:pt x="4378" y="4344"/>
                </a:lnTo>
                <a:lnTo>
                  <a:pt x="4378" y="4342"/>
                </a:lnTo>
                <a:lnTo>
                  <a:pt x="4374" y="4338"/>
                </a:lnTo>
                <a:lnTo>
                  <a:pt x="4372" y="4334"/>
                </a:lnTo>
                <a:lnTo>
                  <a:pt x="4370" y="4336"/>
                </a:lnTo>
                <a:lnTo>
                  <a:pt x="4370" y="4338"/>
                </a:lnTo>
                <a:close/>
                <a:moveTo>
                  <a:pt x="4316" y="4280"/>
                </a:moveTo>
                <a:lnTo>
                  <a:pt x="4316" y="4280"/>
                </a:lnTo>
                <a:lnTo>
                  <a:pt x="4320" y="4280"/>
                </a:lnTo>
                <a:lnTo>
                  <a:pt x="4320" y="4282"/>
                </a:lnTo>
                <a:lnTo>
                  <a:pt x="4320" y="4284"/>
                </a:lnTo>
                <a:lnTo>
                  <a:pt x="4322" y="4284"/>
                </a:lnTo>
                <a:lnTo>
                  <a:pt x="4324" y="4280"/>
                </a:lnTo>
                <a:lnTo>
                  <a:pt x="4324" y="4276"/>
                </a:lnTo>
                <a:lnTo>
                  <a:pt x="4322" y="4270"/>
                </a:lnTo>
                <a:lnTo>
                  <a:pt x="4316" y="4264"/>
                </a:lnTo>
                <a:lnTo>
                  <a:pt x="4312" y="4260"/>
                </a:lnTo>
                <a:lnTo>
                  <a:pt x="4308" y="4258"/>
                </a:lnTo>
                <a:lnTo>
                  <a:pt x="4306" y="4262"/>
                </a:lnTo>
                <a:lnTo>
                  <a:pt x="4308" y="4266"/>
                </a:lnTo>
                <a:lnTo>
                  <a:pt x="4310" y="4270"/>
                </a:lnTo>
                <a:lnTo>
                  <a:pt x="4310" y="4274"/>
                </a:lnTo>
                <a:lnTo>
                  <a:pt x="4312" y="4278"/>
                </a:lnTo>
                <a:lnTo>
                  <a:pt x="4316" y="4280"/>
                </a:lnTo>
                <a:close/>
                <a:moveTo>
                  <a:pt x="4284" y="4188"/>
                </a:moveTo>
                <a:lnTo>
                  <a:pt x="4284" y="4188"/>
                </a:lnTo>
                <a:lnTo>
                  <a:pt x="4284" y="4196"/>
                </a:lnTo>
                <a:lnTo>
                  <a:pt x="4284" y="4200"/>
                </a:lnTo>
                <a:lnTo>
                  <a:pt x="4288" y="4204"/>
                </a:lnTo>
                <a:lnTo>
                  <a:pt x="4292" y="4204"/>
                </a:lnTo>
                <a:lnTo>
                  <a:pt x="4292" y="4202"/>
                </a:lnTo>
                <a:lnTo>
                  <a:pt x="4292" y="4200"/>
                </a:lnTo>
                <a:lnTo>
                  <a:pt x="4292" y="4194"/>
                </a:lnTo>
                <a:lnTo>
                  <a:pt x="4290" y="4190"/>
                </a:lnTo>
                <a:lnTo>
                  <a:pt x="4288" y="4186"/>
                </a:lnTo>
                <a:lnTo>
                  <a:pt x="4286" y="4186"/>
                </a:lnTo>
                <a:lnTo>
                  <a:pt x="4284" y="4186"/>
                </a:lnTo>
                <a:lnTo>
                  <a:pt x="4284" y="4188"/>
                </a:lnTo>
                <a:close/>
                <a:moveTo>
                  <a:pt x="4294" y="4192"/>
                </a:moveTo>
                <a:lnTo>
                  <a:pt x="4294" y="4192"/>
                </a:lnTo>
                <a:lnTo>
                  <a:pt x="4296" y="4194"/>
                </a:lnTo>
                <a:lnTo>
                  <a:pt x="4300" y="4192"/>
                </a:lnTo>
                <a:lnTo>
                  <a:pt x="4304" y="4192"/>
                </a:lnTo>
                <a:lnTo>
                  <a:pt x="4306" y="4192"/>
                </a:lnTo>
                <a:lnTo>
                  <a:pt x="4308" y="4192"/>
                </a:lnTo>
                <a:lnTo>
                  <a:pt x="4308" y="4190"/>
                </a:lnTo>
                <a:lnTo>
                  <a:pt x="4306" y="4188"/>
                </a:lnTo>
                <a:lnTo>
                  <a:pt x="4304" y="4188"/>
                </a:lnTo>
                <a:lnTo>
                  <a:pt x="4302" y="4186"/>
                </a:lnTo>
                <a:lnTo>
                  <a:pt x="4300" y="4184"/>
                </a:lnTo>
                <a:lnTo>
                  <a:pt x="4298" y="4180"/>
                </a:lnTo>
                <a:lnTo>
                  <a:pt x="4296" y="4178"/>
                </a:lnTo>
                <a:lnTo>
                  <a:pt x="4294" y="4180"/>
                </a:lnTo>
                <a:lnTo>
                  <a:pt x="4294" y="4182"/>
                </a:lnTo>
                <a:lnTo>
                  <a:pt x="4294" y="4186"/>
                </a:lnTo>
                <a:lnTo>
                  <a:pt x="4294" y="4188"/>
                </a:lnTo>
                <a:lnTo>
                  <a:pt x="4292" y="4188"/>
                </a:lnTo>
                <a:lnTo>
                  <a:pt x="4294" y="4192"/>
                </a:lnTo>
                <a:close/>
                <a:moveTo>
                  <a:pt x="4306" y="4210"/>
                </a:moveTo>
                <a:lnTo>
                  <a:pt x="4306" y="4210"/>
                </a:lnTo>
                <a:lnTo>
                  <a:pt x="4306" y="4208"/>
                </a:lnTo>
                <a:lnTo>
                  <a:pt x="4306" y="4206"/>
                </a:lnTo>
                <a:lnTo>
                  <a:pt x="4306" y="4204"/>
                </a:lnTo>
                <a:lnTo>
                  <a:pt x="4304" y="4204"/>
                </a:lnTo>
                <a:lnTo>
                  <a:pt x="4302" y="4206"/>
                </a:lnTo>
                <a:lnTo>
                  <a:pt x="4302" y="4208"/>
                </a:lnTo>
                <a:lnTo>
                  <a:pt x="4304" y="4208"/>
                </a:lnTo>
                <a:lnTo>
                  <a:pt x="4306" y="4210"/>
                </a:lnTo>
                <a:close/>
                <a:moveTo>
                  <a:pt x="4108" y="4082"/>
                </a:moveTo>
                <a:lnTo>
                  <a:pt x="4108" y="4082"/>
                </a:lnTo>
                <a:lnTo>
                  <a:pt x="4088" y="4080"/>
                </a:lnTo>
                <a:lnTo>
                  <a:pt x="4074" y="4080"/>
                </a:lnTo>
                <a:lnTo>
                  <a:pt x="4070" y="4082"/>
                </a:lnTo>
                <a:lnTo>
                  <a:pt x="4066" y="4086"/>
                </a:lnTo>
                <a:lnTo>
                  <a:pt x="4066" y="4090"/>
                </a:lnTo>
                <a:lnTo>
                  <a:pt x="4066" y="4098"/>
                </a:lnTo>
                <a:lnTo>
                  <a:pt x="4066" y="4104"/>
                </a:lnTo>
                <a:lnTo>
                  <a:pt x="4068" y="4106"/>
                </a:lnTo>
                <a:lnTo>
                  <a:pt x="4072" y="4108"/>
                </a:lnTo>
                <a:lnTo>
                  <a:pt x="4082" y="4106"/>
                </a:lnTo>
                <a:lnTo>
                  <a:pt x="4094" y="4106"/>
                </a:lnTo>
                <a:lnTo>
                  <a:pt x="4098" y="4106"/>
                </a:lnTo>
                <a:lnTo>
                  <a:pt x="4104" y="4108"/>
                </a:lnTo>
                <a:lnTo>
                  <a:pt x="4114" y="4106"/>
                </a:lnTo>
                <a:lnTo>
                  <a:pt x="4124" y="4100"/>
                </a:lnTo>
                <a:lnTo>
                  <a:pt x="4128" y="4096"/>
                </a:lnTo>
                <a:lnTo>
                  <a:pt x="4130" y="4092"/>
                </a:lnTo>
                <a:lnTo>
                  <a:pt x="4128" y="4088"/>
                </a:lnTo>
                <a:lnTo>
                  <a:pt x="4124" y="4086"/>
                </a:lnTo>
                <a:lnTo>
                  <a:pt x="4118" y="4084"/>
                </a:lnTo>
                <a:lnTo>
                  <a:pt x="4108" y="4082"/>
                </a:lnTo>
                <a:close/>
                <a:moveTo>
                  <a:pt x="4132" y="4100"/>
                </a:moveTo>
                <a:lnTo>
                  <a:pt x="4132" y="4100"/>
                </a:lnTo>
                <a:lnTo>
                  <a:pt x="4134" y="4100"/>
                </a:lnTo>
                <a:lnTo>
                  <a:pt x="4138" y="4100"/>
                </a:lnTo>
                <a:lnTo>
                  <a:pt x="4142" y="4098"/>
                </a:lnTo>
                <a:lnTo>
                  <a:pt x="4142" y="4096"/>
                </a:lnTo>
                <a:lnTo>
                  <a:pt x="4140" y="4096"/>
                </a:lnTo>
                <a:lnTo>
                  <a:pt x="4136" y="4096"/>
                </a:lnTo>
                <a:lnTo>
                  <a:pt x="4132" y="4098"/>
                </a:lnTo>
                <a:lnTo>
                  <a:pt x="4132" y="4100"/>
                </a:lnTo>
                <a:close/>
                <a:moveTo>
                  <a:pt x="4158" y="4118"/>
                </a:moveTo>
                <a:lnTo>
                  <a:pt x="4158" y="4118"/>
                </a:lnTo>
                <a:lnTo>
                  <a:pt x="4158" y="4120"/>
                </a:lnTo>
                <a:lnTo>
                  <a:pt x="4160" y="4120"/>
                </a:lnTo>
                <a:lnTo>
                  <a:pt x="4166" y="4118"/>
                </a:lnTo>
                <a:lnTo>
                  <a:pt x="4170" y="4116"/>
                </a:lnTo>
                <a:lnTo>
                  <a:pt x="4170" y="4114"/>
                </a:lnTo>
                <a:lnTo>
                  <a:pt x="4162" y="4114"/>
                </a:lnTo>
                <a:lnTo>
                  <a:pt x="4158" y="4116"/>
                </a:lnTo>
                <a:lnTo>
                  <a:pt x="4158" y="4118"/>
                </a:lnTo>
                <a:close/>
                <a:moveTo>
                  <a:pt x="4228" y="4096"/>
                </a:moveTo>
                <a:lnTo>
                  <a:pt x="4228" y="4096"/>
                </a:lnTo>
                <a:lnTo>
                  <a:pt x="4230" y="4096"/>
                </a:lnTo>
                <a:lnTo>
                  <a:pt x="4232" y="4096"/>
                </a:lnTo>
                <a:lnTo>
                  <a:pt x="4234" y="4094"/>
                </a:lnTo>
                <a:lnTo>
                  <a:pt x="4236" y="4090"/>
                </a:lnTo>
                <a:lnTo>
                  <a:pt x="4234" y="4090"/>
                </a:lnTo>
                <a:lnTo>
                  <a:pt x="4232" y="4090"/>
                </a:lnTo>
                <a:lnTo>
                  <a:pt x="4228" y="4094"/>
                </a:lnTo>
                <a:lnTo>
                  <a:pt x="4228" y="4096"/>
                </a:lnTo>
                <a:close/>
                <a:moveTo>
                  <a:pt x="4232" y="4104"/>
                </a:moveTo>
                <a:lnTo>
                  <a:pt x="4232" y="4104"/>
                </a:lnTo>
                <a:lnTo>
                  <a:pt x="4234" y="4104"/>
                </a:lnTo>
                <a:lnTo>
                  <a:pt x="4234" y="4102"/>
                </a:lnTo>
                <a:lnTo>
                  <a:pt x="4234" y="4100"/>
                </a:lnTo>
                <a:lnTo>
                  <a:pt x="4234" y="4098"/>
                </a:lnTo>
                <a:lnTo>
                  <a:pt x="4232" y="4098"/>
                </a:lnTo>
                <a:lnTo>
                  <a:pt x="4230" y="4100"/>
                </a:lnTo>
                <a:lnTo>
                  <a:pt x="4230" y="4102"/>
                </a:lnTo>
                <a:lnTo>
                  <a:pt x="4232" y="4104"/>
                </a:lnTo>
                <a:close/>
                <a:moveTo>
                  <a:pt x="4266" y="4164"/>
                </a:moveTo>
                <a:lnTo>
                  <a:pt x="4266" y="4164"/>
                </a:lnTo>
                <a:lnTo>
                  <a:pt x="4266" y="4166"/>
                </a:lnTo>
                <a:lnTo>
                  <a:pt x="4264" y="4168"/>
                </a:lnTo>
                <a:lnTo>
                  <a:pt x="4266" y="4170"/>
                </a:lnTo>
                <a:lnTo>
                  <a:pt x="4268" y="4170"/>
                </a:lnTo>
                <a:lnTo>
                  <a:pt x="4268" y="4166"/>
                </a:lnTo>
                <a:lnTo>
                  <a:pt x="4268" y="4164"/>
                </a:lnTo>
                <a:lnTo>
                  <a:pt x="4266" y="4164"/>
                </a:lnTo>
                <a:close/>
                <a:moveTo>
                  <a:pt x="4250" y="4144"/>
                </a:moveTo>
                <a:lnTo>
                  <a:pt x="4250" y="4144"/>
                </a:lnTo>
                <a:lnTo>
                  <a:pt x="4250" y="4148"/>
                </a:lnTo>
                <a:lnTo>
                  <a:pt x="4252" y="4148"/>
                </a:lnTo>
                <a:lnTo>
                  <a:pt x="4254" y="4148"/>
                </a:lnTo>
                <a:lnTo>
                  <a:pt x="4254" y="4146"/>
                </a:lnTo>
                <a:lnTo>
                  <a:pt x="4254" y="4144"/>
                </a:lnTo>
                <a:lnTo>
                  <a:pt x="4252" y="4144"/>
                </a:lnTo>
                <a:lnTo>
                  <a:pt x="4250" y="4144"/>
                </a:lnTo>
                <a:close/>
                <a:moveTo>
                  <a:pt x="4242" y="4134"/>
                </a:moveTo>
                <a:lnTo>
                  <a:pt x="4242" y="4134"/>
                </a:lnTo>
                <a:lnTo>
                  <a:pt x="4242" y="4138"/>
                </a:lnTo>
                <a:lnTo>
                  <a:pt x="4244" y="4140"/>
                </a:lnTo>
                <a:lnTo>
                  <a:pt x="4246" y="4142"/>
                </a:lnTo>
                <a:lnTo>
                  <a:pt x="4248" y="4140"/>
                </a:lnTo>
                <a:lnTo>
                  <a:pt x="4248" y="4138"/>
                </a:lnTo>
                <a:lnTo>
                  <a:pt x="4246" y="4134"/>
                </a:lnTo>
                <a:lnTo>
                  <a:pt x="4242" y="4134"/>
                </a:lnTo>
                <a:close/>
                <a:moveTo>
                  <a:pt x="4282" y="4154"/>
                </a:moveTo>
                <a:lnTo>
                  <a:pt x="4282" y="4154"/>
                </a:lnTo>
                <a:lnTo>
                  <a:pt x="4286" y="4154"/>
                </a:lnTo>
                <a:lnTo>
                  <a:pt x="4288" y="4152"/>
                </a:lnTo>
                <a:lnTo>
                  <a:pt x="4288" y="4150"/>
                </a:lnTo>
                <a:lnTo>
                  <a:pt x="4286" y="4146"/>
                </a:lnTo>
                <a:lnTo>
                  <a:pt x="4282" y="4146"/>
                </a:lnTo>
                <a:lnTo>
                  <a:pt x="4280" y="4148"/>
                </a:lnTo>
                <a:lnTo>
                  <a:pt x="4280" y="4152"/>
                </a:lnTo>
                <a:lnTo>
                  <a:pt x="4282" y="4154"/>
                </a:lnTo>
                <a:close/>
                <a:moveTo>
                  <a:pt x="4284" y="4126"/>
                </a:moveTo>
                <a:lnTo>
                  <a:pt x="4284" y="4126"/>
                </a:lnTo>
                <a:lnTo>
                  <a:pt x="4286" y="4124"/>
                </a:lnTo>
                <a:lnTo>
                  <a:pt x="4286" y="4122"/>
                </a:lnTo>
                <a:lnTo>
                  <a:pt x="4284" y="4118"/>
                </a:lnTo>
                <a:lnTo>
                  <a:pt x="4282" y="4118"/>
                </a:lnTo>
                <a:lnTo>
                  <a:pt x="4280" y="4120"/>
                </a:lnTo>
                <a:lnTo>
                  <a:pt x="4280" y="4124"/>
                </a:lnTo>
                <a:lnTo>
                  <a:pt x="4284" y="4126"/>
                </a:lnTo>
                <a:close/>
                <a:moveTo>
                  <a:pt x="1780" y="2486"/>
                </a:moveTo>
                <a:lnTo>
                  <a:pt x="1780" y="2486"/>
                </a:lnTo>
                <a:lnTo>
                  <a:pt x="1790" y="2488"/>
                </a:lnTo>
                <a:lnTo>
                  <a:pt x="1794" y="2486"/>
                </a:lnTo>
                <a:lnTo>
                  <a:pt x="1796" y="2484"/>
                </a:lnTo>
                <a:lnTo>
                  <a:pt x="1800" y="2484"/>
                </a:lnTo>
                <a:lnTo>
                  <a:pt x="1802" y="2484"/>
                </a:lnTo>
                <a:lnTo>
                  <a:pt x="1802" y="2480"/>
                </a:lnTo>
                <a:lnTo>
                  <a:pt x="1800" y="2474"/>
                </a:lnTo>
                <a:lnTo>
                  <a:pt x="1796" y="2470"/>
                </a:lnTo>
                <a:lnTo>
                  <a:pt x="1794" y="2466"/>
                </a:lnTo>
                <a:lnTo>
                  <a:pt x="1794" y="2464"/>
                </a:lnTo>
                <a:lnTo>
                  <a:pt x="1792" y="2460"/>
                </a:lnTo>
                <a:lnTo>
                  <a:pt x="1788" y="2456"/>
                </a:lnTo>
                <a:lnTo>
                  <a:pt x="1782" y="2448"/>
                </a:lnTo>
                <a:lnTo>
                  <a:pt x="1778" y="2440"/>
                </a:lnTo>
                <a:lnTo>
                  <a:pt x="1774" y="2434"/>
                </a:lnTo>
                <a:lnTo>
                  <a:pt x="1770" y="2430"/>
                </a:lnTo>
                <a:lnTo>
                  <a:pt x="1766" y="2428"/>
                </a:lnTo>
                <a:lnTo>
                  <a:pt x="1754" y="2426"/>
                </a:lnTo>
                <a:lnTo>
                  <a:pt x="1744" y="2420"/>
                </a:lnTo>
                <a:lnTo>
                  <a:pt x="1738" y="2414"/>
                </a:lnTo>
                <a:lnTo>
                  <a:pt x="1738" y="2412"/>
                </a:lnTo>
                <a:lnTo>
                  <a:pt x="1738" y="2408"/>
                </a:lnTo>
                <a:lnTo>
                  <a:pt x="1740" y="2406"/>
                </a:lnTo>
                <a:lnTo>
                  <a:pt x="1738" y="2404"/>
                </a:lnTo>
                <a:lnTo>
                  <a:pt x="1732" y="2398"/>
                </a:lnTo>
                <a:lnTo>
                  <a:pt x="1724" y="2390"/>
                </a:lnTo>
                <a:lnTo>
                  <a:pt x="1720" y="2384"/>
                </a:lnTo>
                <a:lnTo>
                  <a:pt x="1716" y="2376"/>
                </a:lnTo>
                <a:lnTo>
                  <a:pt x="1712" y="2372"/>
                </a:lnTo>
                <a:lnTo>
                  <a:pt x="1704" y="2368"/>
                </a:lnTo>
                <a:lnTo>
                  <a:pt x="1680" y="2362"/>
                </a:lnTo>
                <a:lnTo>
                  <a:pt x="1656" y="2356"/>
                </a:lnTo>
                <a:lnTo>
                  <a:pt x="1646" y="2354"/>
                </a:lnTo>
                <a:lnTo>
                  <a:pt x="1640" y="2350"/>
                </a:lnTo>
                <a:lnTo>
                  <a:pt x="1632" y="2344"/>
                </a:lnTo>
                <a:lnTo>
                  <a:pt x="1620" y="2340"/>
                </a:lnTo>
                <a:lnTo>
                  <a:pt x="1608" y="2340"/>
                </a:lnTo>
                <a:lnTo>
                  <a:pt x="1602" y="2340"/>
                </a:lnTo>
                <a:lnTo>
                  <a:pt x="1596" y="2342"/>
                </a:lnTo>
                <a:lnTo>
                  <a:pt x="1596" y="2344"/>
                </a:lnTo>
                <a:lnTo>
                  <a:pt x="1596" y="2346"/>
                </a:lnTo>
                <a:lnTo>
                  <a:pt x="1600" y="2354"/>
                </a:lnTo>
                <a:lnTo>
                  <a:pt x="1608" y="2358"/>
                </a:lnTo>
                <a:lnTo>
                  <a:pt x="1612" y="2360"/>
                </a:lnTo>
                <a:lnTo>
                  <a:pt x="1618" y="2358"/>
                </a:lnTo>
                <a:lnTo>
                  <a:pt x="1626" y="2358"/>
                </a:lnTo>
                <a:lnTo>
                  <a:pt x="1632" y="2358"/>
                </a:lnTo>
                <a:lnTo>
                  <a:pt x="1634" y="2360"/>
                </a:lnTo>
                <a:lnTo>
                  <a:pt x="1630" y="2360"/>
                </a:lnTo>
                <a:lnTo>
                  <a:pt x="1624" y="2362"/>
                </a:lnTo>
                <a:lnTo>
                  <a:pt x="1618" y="2364"/>
                </a:lnTo>
                <a:lnTo>
                  <a:pt x="1616" y="2366"/>
                </a:lnTo>
                <a:lnTo>
                  <a:pt x="1616" y="2368"/>
                </a:lnTo>
                <a:lnTo>
                  <a:pt x="1618" y="2372"/>
                </a:lnTo>
                <a:lnTo>
                  <a:pt x="1622" y="2374"/>
                </a:lnTo>
                <a:lnTo>
                  <a:pt x="1622" y="2376"/>
                </a:lnTo>
                <a:lnTo>
                  <a:pt x="1620" y="2378"/>
                </a:lnTo>
                <a:lnTo>
                  <a:pt x="1616" y="2380"/>
                </a:lnTo>
                <a:lnTo>
                  <a:pt x="1614" y="2382"/>
                </a:lnTo>
                <a:lnTo>
                  <a:pt x="1616" y="2384"/>
                </a:lnTo>
                <a:lnTo>
                  <a:pt x="1618" y="2384"/>
                </a:lnTo>
                <a:lnTo>
                  <a:pt x="1620" y="2384"/>
                </a:lnTo>
                <a:lnTo>
                  <a:pt x="1624" y="2382"/>
                </a:lnTo>
                <a:lnTo>
                  <a:pt x="1630" y="2380"/>
                </a:lnTo>
                <a:lnTo>
                  <a:pt x="1632" y="2382"/>
                </a:lnTo>
                <a:lnTo>
                  <a:pt x="1634" y="2384"/>
                </a:lnTo>
                <a:lnTo>
                  <a:pt x="1636" y="2388"/>
                </a:lnTo>
                <a:lnTo>
                  <a:pt x="1638" y="2386"/>
                </a:lnTo>
                <a:lnTo>
                  <a:pt x="1642" y="2382"/>
                </a:lnTo>
                <a:lnTo>
                  <a:pt x="1644" y="2382"/>
                </a:lnTo>
                <a:lnTo>
                  <a:pt x="1646" y="2382"/>
                </a:lnTo>
                <a:lnTo>
                  <a:pt x="1648" y="2384"/>
                </a:lnTo>
                <a:lnTo>
                  <a:pt x="1646" y="2388"/>
                </a:lnTo>
                <a:lnTo>
                  <a:pt x="1644" y="2392"/>
                </a:lnTo>
                <a:lnTo>
                  <a:pt x="1644" y="2396"/>
                </a:lnTo>
                <a:lnTo>
                  <a:pt x="1646" y="2398"/>
                </a:lnTo>
                <a:lnTo>
                  <a:pt x="1648" y="2398"/>
                </a:lnTo>
                <a:lnTo>
                  <a:pt x="1652" y="2398"/>
                </a:lnTo>
                <a:lnTo>
                  <a:pt x="1656" y="2394"/>
                </a:lnTo>
                <a:lnTo>
                  <a:pt x="1662" y="2392"/>
                </a:lnTo>
                <a:lnTo>
                  <a:pt x="1664" y="2394"/>
                </a:lnTo>
                <a:lnTo>
                  <a:pt x="1666" y="2398"/>
                </a:lnTo>
                <a:lnTo>
                  <a:pt x="1668" y="2402"/>
                </a:lnTo>
                <a:lnTo>
                  <a:pt x="1670" y="2404"/>
                </a:lnTo>
                <a:lnTo>
                  <a:pt x="1676" y="2408"/>
                </a:lnTo>
                <a:lnTo>
                  <a:pt x="1678" y="2410"/>
                </a:lnTo>
                <a:lnTo>
                  <a:pt x="1674" y="2412"/>
                </a:lnTo>
                <a:lnTo>
                  <a:pt x="1670" y="2416"/>
                </a:lnTo>
                <a:lnTo>
                  <a:pt x="1668" y="2420"/>
                </a:lnTo>
                <a:lnTo>
                  <a:pt x="1670" y="2424"/>
                </a:lnTo>
                <a:lnTo>
                  <a:pt x="1676" y="2424"/>
                </a:lnTo>
                <a:lnTo>
                  <a:pt x="1688" y="2422"/>
                </a:lnTo>
                <a:lnTo>
                  <a:pt x="1692" y="2424"/>
                </a:lnTo>
                <a:lnTo>
                  <a:pt x="1694" y="2428"/>
                </a:lnTo>
                <a:lnTo>
                  <a:pt x="1696" y="2432"/>
                </a:lnTo>
                <a:lnTo>
                  <a:pt x="1700" y="2434"/>
                </a:lnTo>
                <a:lnTo>
                  <a:pt x="1702" y="2434"/>
                </a:lnTo>
                <a:lnTo>
                  <a:pt x="1702" y="2438"/>
                </a:lnTo>
                <a:lnTo>
                  <a:pt x="1702" y="2444"/>
                </a:lnTo>
                <a:lnTo>
                  <a:pt x="1706" y="2448"/>
                </a:lnTo>
                <a:lnTo>
                  <a:pt x="1710" y="2452"/>
                </a:lnTo>
                <a:lnTo>
                  <a:pt x="1716" y="2452"/>
                </a:lnTo>
                <a:lnTo>
                  <a:pt x="1722" y="2450"/>
                </a:lnTo>
                <a:lnTo>
                  <a:pt x="1728" y="2450"/>
                </a:lnTo>
                <a:lnTo>
                  <a:pt x="1730" y="2452"/>
                </a:lnTo>
                <a:lnTo>
                  <a:pt x="1728" y="2456"/>
                </a:lnTo>
                <a:lnTo>
                  <a:pt x="1728" y="2458"/>
                </a:lnTo>
                <a:lnTo>
                  <a:pt x="1728" y="2460"/>
                </a:lnTo>
                <a:lnTo>
                  <a:pt x="1730" y="2466"/>
                </a:lnTo>
                <a:lnTo>
                  <a:pt x="1738" y="2472"/>
                </a:lnTo>
                <a:lnTo>
                  <a:pt x="1750" y="2474"/>
                </a:lnTo>
                <a:lnTo>
                  <a:pt x="1758" y="2476"/>
                </a:lnTo>
                <a:lnTo>
                  <a:pt x="1764" y="2480"/>
                </a:lnTo>
                <a:lnTo>
                  <a:pt x="1770" y="2482"/>
                </a:lnTo>
                <a:lnTo>
                  <a:pt x="1780" y="2486"/>
                </a:lnTo>
                <a:close/>
                <a:moveTo>
                  <a:pt x="1446" y="2194"/>
                </a:moveTo>
                <a:lnTo>
                  <a:pt x="1446" y="2194"/>
                </a:lnTo>
                <a:lnTo>
                  <a:pt x="1450" y="2192"/>
                </a:lnTo>
                <a:lnTo>
                  <a:pt x="1452" y="2188"/>
                </a:lnTo>
                <a:lnTo>
                  <a:pt x="1454" y="2178"/>
                </a:lnTo>
                <a:lnTo>
                  <a:pt x="1452" y="2168"/>
                </a:lnTo>
                <a:lnTo>
                  <a:pt x="1454" y="2162"/>
                </a:lnTo>
                <a:lnTo>
                  <a:pt x="1454" y="2158"/>
                </a:lnTo>
                <a:lnTo>
                  <a:pt x="1460" y="2144"/>
                </a:lnTo>
                <a:lnTo>
                  <a:pt x="1460" y="2140"/>
                </a:lnTo>
                <a:lnTo>
                  <a:pt x="1458" y="2140"/>
                </a:lnTo>
                <a:lnTo>
                  <a:pt x="1452" y="2144"/>
                </a:lnTo>
                <a:lnTo>
                  <a:pt x="1446" y="2144"/>
                </a:lnTo>
                <a:lnTo>
                  <a:pt x="1442" y="2146"/>
                </a:lnTo>
                <a:lnTo>
                  <a:pt x="1444" y="2148"/>
                </a:lnTo>
                <a:lnTo>
                  <a:pt x="1446" y="2154"/>
                </a:lnTo>
                <a:lnTo>
                  <a:pt x="1446" y="2160"/>
                </a:lnTo>
                <a:lnTo>
                  <a:pt x="1442" y="2166"/>
                </a:lnTo>
                <a:lnTo>
                  <a:pt x="1434" y="2168"/>
                </a:lnTo>
                <a:lnTo>
                  <a:pt x="1428" y="2170"/>
                </a:lnTo>
                <a:lnTo>
                  <a:pt x="1422" y="2168"/>
                </a:lnTo>
                <a:lnTo>
                  <a:pt x="1422" y="2166"/>
                </a:lnTo>
                <a:lnTo>
                  <a:pt x="1428" y="2164"/>
                </a:lnTo>
                <a:lnTo>
                  <a:pt x="1436" y="2162"/>
                </a:lnTo>
                <a:lnTo>
                  <a:pt x="1440" y="2156"/>
                </a:lnTo>
                <a:lnTo>
                  <a:pt x="1440" y="2152"/>
                </a:lnTo>
                <a:lnTo>
                  <a:pt x="1436" y="2144"/>
                </a:lnTo>
                <a:lnTo>
                  <a:pt x="1432" y="2142"/>
                </a:lnTo>
                <a:lnTo>
                  <a:pt x="1430" y="2142"/>
                </a:lnTo>
                <a:lnTo>
                  <a:pt x="1428" y="2142"/>
                </a:lnTo>
                <a:lnTo>
                  <a:pt x="1426" y="2140"/>
                </a:lnTo>
                <a:lnTo>
                  <a:pt x="1422" y="2138"/>
                </a:lnTo>
                <a:lnTo>
                  <a:pt x="1420" y="2140"/>
                </a:lnTo>
                <a:lnTo>
                  <a:pt x="1418" y="2140"/>
                </a:lnTo>
                <a:lnTo>
                  <a:pt x="1414" y="2138"/>
                </a:lnTo>
                <a:lnTo>
                  <a:pt x="1410" y="2136"/>
                </a:lnTo>
                <a:lnTo>
                  <a:pt x="1406" y="2136"/>
                </a:lnTo>
                <a:lnTo>
                  <a:pt x="1404" y="2138"/>
                </a:lnTo>
                <a:lnTo>
                  <a:pt x="1406" y="2142"/>
                </a:lnTo>
                <a:lnTo>
                  <a:pt x="1404" y="2146"/>
                </a:lnTo>
                <a:lnTo>
                  <a:pt x="1404" y="2152"/>
                </a:lnTo>
                <a:lnTo>
                  <a:pt x="1404" y="2156"/>
                </a:lnTo>
                <a:lnTo>
                  <a:pt x="1406" y="2164"/>
                </a:lnTo>
                <a:lnTo>
                  <a:pt x="1410" y="2170"/>
                </a:lnTo>
                <a:lnTo>
                  <a:pt x="1408" y="2172"/>
                </a:lnTo>
                <a:lnTo>
                  <a:pt x="1410" y="2178"/>
                </a:lnTo>
                <a:lnTo>
                  <a:pt x="1414" y="2180"/>
                </a:lnTo>
                <a:lnTo>
                  <a:pt x="1418" y="2180"/>
                </a:lnTo>
                <a:lnTo>
                  <a:pt x="1422" y="2180"/>
                </a:lnTo>
                <a:lnTo>
                  <a:pt x="1426" y="2184"/>
                </a:lnTo>
                <a:lnTo>
                  <a:pt x="1428" y="2186"/>
                </a:lnTo>
                <a:lnTo>
                  <a:pt x="1426" y="2186"/>
                </a:lnTo>
                <a:lnTo>
                  <a:pt x="1422" y="2186"/>
                </a:lnTo>
                <a:lnTo>
                  <a:pt x="1418" y="2186"/>
                </a:lnTo>
                <a:lnTo>
                  <a:pt x="1418" y="2188"/>
                </a:lnTo>
                <a:lnTo>
                  <a:pt x="1422" y="2192"/>
                </a:lnTo>
                <a:lnTo>
                  <a:pt x="1426" y="2196"/>
                </a:lnTo>
                <a:lnTo>
                  <a:pt x="1426" y="2198"/>
                </a:lnTo>
                <a:lnTo>
                  <a:pt x="1428" y="2198"/>
                </a:lnTo>
                <a:lnTo>
                  <a:pt x="1434" y="2200"/>
                </a:lnTo>
                <a:lnTo>
                  <a:pt x="1438" y="2198"/>
                </a:lnTo>
                <a:lnTo>
                  <a:pt x="1440" y="2198"/>
                </a:lnTo>
                <a:lnTo>
                  <a:pt x="1442" y="2196"/>
                </a:lnTo>
                <a:lnTo>
                  <a:pt x="1446" y="2194"/>
                </a:lnTo>
                <a:close/>
                <a:moveTo>
                  <a:pt x="1478" y="2250"/>
                </a:moveTo>
                <a:lnTo>
                  <a:pt x="1478" y="2250"/>
                </a:lnTo>
                <a:lnTo>
                  <a:pt x="1480" y="2246"/>
                </a:lnTo>
                <a:lnTo>
                  <a:pt x="1480" y="2244"/>
                </a:lnTo>
                <a:lnTo>
                  <a:pt x="1478" y="2244"/>
                </a:lnTo>
                <a:lnTo>
                  <a:pt x="1476" y="2244"/>
                </a:lnTo>
                <a:lnTo>
                  <a:pt x="1472" y="2246"/>
                </a:lnTo>
                <a:lnTo>
                  <a:pt x="1472" y="2244"/>
                </a:lnTo>
                <a:lnTo>
                  <a:pt x="1470" y="2242"/>
                </a:lnTo>
                <a:lnTo>
                  <a:pt x="1468" y="2240"/>
                </a:lnTo>
                <a:lnTo>
                  <a:pt x="1464" y="2238"/>
                </a:lnTo>
                <a:lnTo>
                  <a:pt x="1460" y="2234"/>
                </a:lnTo>
                <a:lnTo>
                  <a:pt x="1458" y="2230"/>
                </a:lnTo>
                <a:lnTo>
                  <a:pt x="1460" y="2224"/>
                </a:lnTo>
                <a:lnTo>
                  <a:pt x="1460" y="2222"/>
                </a:lnTo>
                <a:lnTo>
                  <a:pt x="1458" y="2222"/>
                </a:lnTo>
                <a:lnTo>
                  <a:pt x="1454" y="2220"/>
                </a:lnTo>
                <a:lnTo>
                  <a:pt x="1452" y="2216"/>
                </a:lnTo>
                <a:lnTo>
                  <a:pt x="1456" y="2216"/>
                </a:lnTo>
                <a:lnTo>
                  <a:pt x="1460" y="2216"/>
                </a:lnTo>
                <a:lnTo>
                  <a:pt x="1464" y="2214"/>
                </a:lnTo>
                <a:lnTo>
                  <a:pt x="1464" y="2212"/>
                </a:lnTo>
                <a:lnTo>
                  <a:pt x="1464" y="2210"/>
                </a:lnTo>
                <a:lnTo>
                  <a:pt x="1462" y="2210"/>
                </a:lnTo>
                <a:lnTo>
                  <a:pt x="1464" y="2206"/>
                </a:lnTo>
                <a:lnTo>
                  <a:pt x="1464" y="2204"/>
                </a:lnTo>
                <a:lnTo>
                  <a:pt x="1462" y="2202"/>
                </a:lnTo>
                <a:lnTo>
                  <a:pt x="1460" y="2200"/>
                </a:lnTo>
                <a:lnTo>
                  <a:pt x="1458" y="2198"/>
                </a:lnTo>
                <a:lnTo>
                  <a:pt x="1458" y="2196"/>
                </a:lnTo>
                <a:lnTo>
                  <a:pt x="1456" y="2194"/>
                </a:lnTo>
                <a:lnTo>
                  <a:pt x="1454" y="2194"/>
                </a:lnTo>
                <a:lnTo>
                  <a:pt x="1448" y="2198"/>
                </a:lnTo>
                <a:lnTo>
                  <a:pt x="1446" y="2200"/>
                </a:lnTo>
                <a:lnTo>
                  <a:pt x="1442" y="2202"/>
                </a:lnTo>
                <a:lnTo>
                  <a:pt x="1434" y="2204"/>
                </a:lnTo>
                <a:lnTo>
                  <a:pt x="1428" y="2204"/>
                </a:lnTo>
                <a:lnTo>
                  <a:pt x="1426" y="2204"/>
                </a:lnTo>
                <a:lnTo>
                  <a:pt x="1428" y="2206"/>
                </a:lnTo>
                <a:lnTo>
                  <a:pt x="1430" y="2208"/>
                </a:lnTo>
                <a:lnTo>
                  <a:pt x="1436" y="2208"/>
                </a:lnTo>
                <a:lnTo>
                  <a:pt x="1440" y="2208"/>
                </a:lnTo>
                <a:lnTo>
                  <a:pt x="1442" y="2210"/>
                </a:lnTo>
                <a:lnTo>
                  <a:pt x="1442" y="2212"/>
                </a:lnTo>
                <a:lnTo>
                  <a:pt x="1438" y="2212"/>
                </a:lnTo>
                <a:lnTo>
                  <a:pt x="1436" y="2214"/>
                </a:lnTo>
                <a:lnTo>
                  <a:pt x="1436" y="2218"/>
                </a:lnTo>
                <a:lnTo>
                  <a:pt x="1440" y="2222"/>
                </a:lnTo>
                <a:lnTo>
                  <a:pt x="1444" y="2222"/>
                </a:lnTo>
                <a:lnTo>
                  <a:pt x="1448" y="2222"/>
                </a:lnTo>
                <a:lnTo>
                  <a:pt x="1448" y="2224"/>
                </a:lnTo>
                <a:lnTo>
                  <a:pt x="1446" y="2226"/>
                </a:lnTo>
                <a:lnTo>
                  <a:pt x="1446" y="2228"/>
                </a:lnTo>
                <a:lnTo>
                  <a:pt x="1450" y="2232"/>
                </a:lnTo>
                <a:lnTo>
                  <a:pt x="1460" y="2242"/>
                </a:lnTo>
                <a:lnTo>
                  <a:pt x="1466" y="2246"/>
                </a:lnTo>
                <a:lnTo>
                  <a:pt x="1466" y="2248"/>
                </a:lnTo>
                <a:lnTo>
                  <a:pt x="1466" y="2250"/>
                </a:lnTo>
                <a:lnTo>
                  <a:pt x="1468" y="2252"/>
                </a:lnTo>
                <a:lnTo>
                  <a:pt x="1470" y="2256"/>
                </a:lnTo>
                <a:lnTo>
                  <a:pt x="1472" y="2258"/>
                </a:lnTo>
                <a:lnTo>
                  <a:pt x="1476" y="2260"/>
                </a:lnTo>
                <a:lnTo>
                  <a:pt x="1480" y="2262"/>
                </a:lnTo>
                <a:lnTo>
                  <a:pt x="1486" y="2262"/>
                </a:lnTo>
                <a:lnTo>
                  <a:pt x="1488" y="2260"/>
                </a:lnTo>
                <a:lnTo>
                  <a:pt x="1488" y="2258"/>
                </a:lnTo>
                <a:lnTo>
                  <a:pt x="1486" y="2254"/>
                </a:lnTo>
                <a:lnTo>
                  <a:pt x="1482" y="2252"/>
                </a:lnTo>
                <a:lnTo>
                  <a:pt x="1480" y="2252"/>
                </a:lnTo>
                <a:lnTo>
                  <a:pt x="1478" y="2252"/>
                </a:lnTo>
                <a:lnTo>
                  <a:pt x="1478" y="2250"/>
                </a:lnTo>
                <a:close/>
                <a:moveTo>
                  <a:pt x="1658" y="2400"/>
                </a:moveTo>
                <a:lnTo>
                  <a:pt x="1658" y="2400"/>
                </a:lnTo>
                <a:lnTo>
                  <a:pt x="1656" y="2402"/>
                </a:lnTo>
                <a:lnTo>
                  <a:pt x="1656" y="2406"/>
                </a:lnTo>
                <a:lnTo>
                  <a:pt x="1660" y="2410"/>
                </a:lnTo>
                <a:lnTo>
                  <a:pt x="1664" y="2412"/>
                </a:lnTo>
                <a:lnTo>
                  <a:pt x="1668" y="2412"/>
                </a:lnTo>
                <a:lnTo>
                  <a:pt x="1668" y="2408"/>
                </a:lnTo>
                <a:lnTo>
                  <a:pt x="1666" y="2402"/>
                </a:lnTo>
                <a:lnTo>
                  <a:pt x="1662" y="2400"/>
                </a:lnTo>
                <a:lnTo>
                  <a:pt x="1660" y="2398"/>
                </a:lnTo>
                <a:lnTo>
                  <a:pt x="1658" y="2400"/>
                </a:lnTo>
                <a:close/>
                <a:moveTo>
                  <a:pt x="1514" y="2172"/>
                </a:moveTo>
                <a:lnTo>
                  <a:pt x="1514" y="2172"/>
                </a:lnTo>
                <a:lnTo>
                  <a:pt x="1508" y="2170"/>
                </a:lnTo>
                <a:lnTo>
                  <a:pt x="1508" y="2172"/>
                </a:lnTo>
                <a:lnTo>
                  <a:pt x="1512" y="2182"/>
                </a:lnTo>
                <a:lnTo>
                  <a:pt x="1516" y="2184"/>
                </a:lnTo>
                <a:lnTo>
                  <a:pt x="1520" y="2186"/>
                </a:lnTo>
                <a:lnTo>
                  <a:pt x="1524" y="2190"/>
                </a:lnTo>
                <a:lnTo>
                  <a:pt x="1528" y="2196"/>
                </a:lnTo>
                <a:lnTo>
                  <a:pt x="1532" y="2200"/>
                </a:lnTo>
                <a:lnTo>
                  <a:pt x="1534" y="2200"/>
                </a:lnTo>
                <a:lnTo>
                  <a:pt x="1536" y="2196"/>
                </a:lnTo>
                <a:lnTo>
                  <a:pt x="1536" y="2190"/>
                </a:lnTo>
                <a:lnTo>
                  <a:pt x="1532" y="2186"/>
                </a:lnTo>
                <a:lnTo>
                  <a:pt x="1528" y="2180"/>
                </a:lnTo>
                <a:lnTo>
                  <a:pt x="1514" y="2172"/>
                </a:lnTo>
                <a:close/>
                <a:moveTo>
                  <a:pt x="1548" y="2182"/>
                </a:moveTo>
                <a:lnTo>
                  <a:pt x="1548" y="2182"/>
                </a:lnTo>
                <a:lnTo>
                  <a:pt x="1538" y="2170"/>
                </a:lnTo>
                <a:lnTo>
                  <a:pt x="1526" y="2158"/>
                </a:lnTo>
                <a:lnTo>
                  <a:pt x="1520" y="2156"/>
                </a:lnTo>
                <a:lnTo>
                  <a:pt x="1518" y="2156"/>
                </a:lnTo>
                <a:lnTo>
                  <a:pt x="1518" y="2160"/>
                </a:lnTo>
                <a:lnTo>
                  <a:pt x="1520" y="2164"/>
                </a:lnTo>
                <a:lnTo>
                  <a:pt x="1524" y="2172"/>
                </a:lnTo>
                <a:lnTo>
                  <a:pt x="1526" y="2174"/>
                </a:lnTo>
                <a:lnTo>
                  <a:pt x="1530" y="2176"/>
                </a:lnTo>
                <a:lnTo>
                  <a:pt x="1532" y="2176"/>
                </a:lnTo>
                <a:lnTo>
                  <a:pt x="1536" y="2180"/>
                </a:lnTo>
                <a:lnTo>
                  <a:pt x="1542" y="2194"/>
                </a:lnTo>
                <a:lnTo>
                  <a:pt x="1544" y="2196"/>
                </a:lnTo>
                <a:lnTo>
                  <a:pt x="1548" y="2196"/>
                </a:lnTo>
                <a:lnTo>
                  <a:pt x="1550" y="2196"/>
                </a:lnTo>
                <a:lnTo>
                  <a:pt x="1550" y="2194"/>
                </a:lnTo>
                <a:lnTo>
                  <a:pt x="1548" y="2192"/>
                </a:lnTo>
                <a:lnTo>
                  <a:pt x="1550" y="2190"/>
                </a:lnTo>
                <a:lnTo>
                  <a:pt x="1550" y="2186"/>
                </a:lnTo>
                <a:lnTo>
                  <a:pt x="1548" y="2182"/>
                </a:lnTo>
                <a:close/>
                <a:moveTo>
                  <a:pt x="1518" y="2154"/>
                </a:moveTo>
                <a:lnTo>
                  <a:pt x="1518" y="2154"/>
                </a:lnTo>
                <a:lnTo>
                  <a:pt x="1520" y="2152"/>
                </a:lnTo>
                <a:lnTo>
                  <a:pt x="1518" y="2148"/>
                </a:lnTo>
                <a:lnTo>
                  <a:pt x="1516" y="2144"/>
                </a:lnTo>
                <a:lnTo>
                  <a:pt x="1510" y="2144"/>
                </a:lnTo>
                <a:lnTo>
                  <a:pt x="1506" y="2144"/>
                </a:lnTo>
                <a:lnTo>
                  <a:pt x="1502" y="2146"/>
                </a:lnTo>
                <a:lnTo>
                  <a:pt x="1500" y="2150"/>
                </a:lnTo>
                <a:lnTo>
                  <a:pt x="1500" y="2156"/>
                </a:lnTo>
                <a:lnTo>
                  <a:pt x="1500" y="2158"/>
                </a:lnTo>
                <a:lnTo>
                  <a:pt x="1502" y="2156"/>
                </a:lnTo>
                <a:lnTo>
                  <a:pt x="1504" y="2154"/>
                </a:lnTo>
                <a:lnTo>
                  <a:pt x="1508" y="2154"/>
                </a:lnTo>
                <a:lnTo>
                  <a:pt x="1512" y="2158"/>
                </a:lnTo>
                <a:lnTo>
                  <a:pt x="1514" y="2158"/>
                </a:lnTo>
                <a:lnTo>
                  <a:pt x="1518" y="2154"/>
                </a:lnTo>
                <a:close/>
                <a:moveTo>
                  <a:pt x="1568" y="2192"/>
                </a:moveTo>
                <a:lnTo>
                  <a:pt x="1568" y="2192"/>
                </a:lnTo>
                <a:lnTo>
                  <a:pt x="1566" y="2192"/>
                </a:lnTo>
                <a:lnTo>
                  <a:pt x="1566" y="2194"/>
                </a:lnTo>
                <a:lnTo>
                  <a:pt x="1566" y="2198"/>
                </a:lnTo>
                <a:lnTo>
                  <a:pt x="1566" y="2204"/>
                </a:lnTo>
                <a:lnTo>
                  <a:pt x="1564" y="2206"/>
                </a:lnTo>
                <a:lnTo>
                  <a:pt x="1562" y="2208"/>
                </a:lnTo>
                <a:lnTo>
                  <a:pt x="1560" y="2212"/>
                </a:lnTo>
                <a:lnTo>
                  <a:pt x="1560" y="2216"/>
                </a:lnTo>
                <a:lnTo>
                  <a:pt x="1562" y="2216"/>
                </a:lnTo>
                <a:lnTo>
                  <a:pt x="1566" y="2216"/>
                </a:lnTo>
                <a:lnTo>
                  <a:pt x="1570" y="2212"/>
                </a:lnTo>
                <a:lnTo>
                  <a:pt x="1572" y="2208"/>
                </a:lnTo>
                <a:lnTo>
                  <a:pt x="1574" y="2206"/>
                </a:lnTo>
                <a:lnTo>
                  <a:pt x="1576" y="2208"/>
                </a:lnTo>
                <a:lnTo>
                  <a:pt x="1576" y="2210"/>
                </a:lnTo>
                <a:lnTo>
                  <a:pt x="1576" y="2212"/>
                </a:lnTo>
                <a:lnTo>
                  <a:pt x="1572" y="2216"/>
                </a:lnTo>
                <a:lnTo>
                  <a:pt x="1566" y="2220"/>
                </a:lnTo>
                <a:lnTo>
                  <a:pt x="1566" y="2222"/>
                </a:lnTo>
                <a:lnTo>
                  <a:pt x="1568" y="2226"/>
                </a:lnTo>
                <a:lnTo>
                  <a:pt x="1572" y="2228"/>
                </a:lnTo>
                <a:lnTo>
                  <a:pt x="1576" y="2228"/>
                </a:lnTo>
                <a:lnTo>
                  <a:pt x="1578" y="2224"/>
                </a:lnTo>
                <a:lnTo>
                  <a:pt x="1580" y="2222"/>
                </a:lnTo>
                <a:lnTo>
                  <a:pt x="1580" y="2224"/>
                </a:lnTo>
                <a:lnTo>
                  <a:pt x="1580" y="2230"/>
                </a:lnTo>
                <a:lnTo>
                  <a:pt x="1580" y="2232"/>
                </a:lnTo>
                <a:lnTo>
                  <a:pt x="1582" y="2234"/>
                </a:lnTo>
                <a:lnTo>
                  <a:pt x="1586" y="2232"/>
                </a:lnTo>
                <a:lnTo>
                  <a:pt x="1586" y="2230"/>
                </a:lnTo>
                <a:lnTo>
                  <a:pt x="1588" y="2214"/>
                </a:lnTo>
                <a:lnTo>
                  <a:pt x="1586" y="2210"/>
                </a:lnTo>
                <a:lnTo>
                  <a:pt x="1584" y="2206"/>
                </a:lnTo>
                <a:lnTo>
                  <a:pt x="1578" y="2198"/>
                </a:lnTo>
                <a:lnTo>
                  <a:pt x="1572" y="2194"/>
                </a:lnTo>
                <a:lnTo>
                  <a:pt x="1568" y="2192"/>
                </a:lnTo>
                <a:close/>
                <a:moveTo>
                  <a:pt x="1560" y="2224"/>
                </a:moveTo>
                <a:lnTo>
                  <a:pt x="1560" y="2224"/>
                </a:lnTo>
                <a:lnTo>
                  <a:pt x="1562" y="2232"/>
                </a:lnTo>
                <a:lnTo>
                  <a:pt x="1570" y="2242"/>
                </a:lnTo>
                <a:lnTo>
                  <a:pt x="1572" y="2242"/>
                </a:lnTo>
                <a:lnTo>
                  <a:pt x="1572" y="2240"/>
                </a:lnTo>
                <a:lnTo>
                  <a:pt x="1572" y="2236"/>
                </a:lnTo>
                <a:lnTo>
                  <a:pt x="1568" y="2230"/>
                </a:lnTo>
                <a:lnTo>
                  <a:pt x="1562" y="2224"/>
                </a:lnTo>
                <a:lnTo>
                  <a:pt x="1560" y="2224"/>
                </a:lnTo>
                <a:close/>
                <a:moveTo>
                  <a:pt x="1582" y="2244"/>
                </a:moveTo>
                <a:lnTo>
                  <a:pt x="1582" y="2244"/>
                </a:lnTo>
                <a:lnTo>
                  <a:pt x="1580" y="2244"/>
                </a:lnTo>
                <a:lnTo>
                  <a:pt x="1580" y="2248"/>
                </a:lnTo>
                <a:lnTo>
                  <a:pt x="1582" y="2252"/>
                </a:lnTo>
                <a:lnTo>
                  <a:pt x="1584" y="2254"/>
                </a:lnTo>
                <a:lnTo>
                  <a:pt x="1586" y="2252"/>
                </a:lnTo>
                <a:lnTo>
                  <a:pt x="1586" y="2248"/>
                </a:lnTo>
                <a:lnTo>
                  <a:pt x="1586" y="2244"/>
                </a:lnTo>
                <a:lnTo>
                  <a:pt x="1582" y="2244"/>
                </a:lnTo>
                <a:close/>
                <a:moveTo>
                  <a:pt x="4140" y="1656"/>
                </a:moveTo>
                <a:lnTo>
                  <a:pt x="4140" y="1656"/>
                </a:lnTo>
                <a:lnTo>
                  <a:pt x="4136" y="1658"/>
                </a:lnTo>
                <a:lnTo>
                  <a:pt x="4134" y="1662"/>
                </a:lnTo>
                <a:lnTo>
                  <a:pt x="4136" y="1668"/>
                </a:lnTo>
                <a:lnTo>
                  <a:pt x="4142" y="1674"/>
                </a:lnTo>
                <a:lnTo>
                  <a:pt x="4148" y="1678"/>
                </a:lnTo>
                <a:lnTo>
                  <a:pt x="4154" y="1680"/>
                </a:lnTo>
                <a:lnTo>
                  <a:pt x="4160" y="1680"/>
                </a:lnTo>
                <a:lnTo>
                  <a:pt x="4164" y="1678"/>
                </a:lnTo>
                <a:lnTo>
                  <a:pt x="4166" y="1672"/>
                </a:lnTo>
                <a:lnTo>
                  <a:pt x="4168" y="1668"/>
                </a:lnTo>
                <a:lnTo>
                  <a:pt x="4166" y="1664"/>
                </a:lnTo>
                <a:lnTo>
                  <a:pt x="4164" y="1660"/>
                </a:lnTo>
                <a:lnTo>
                  <a:pt x="4160" y="1658"/>
                </a:lnTo>
                <a:lnTo>
                  <a:pt x="4154" y="1656"/>
                </a:lnTo>
                <a:lnTo>
                  <a:pt x="4148" y="1654"/>
                </a:lnTo>
                <a:lnTo>
                  <a:pt x="4140" y="1656"/>
                </a:lnTo>
                <a:close/>
                <a:moveTo>
                  <a:pt x="4268" y="2596"/>
                </a:moveTo>
                <a:lnTo>
                  <a:pt x="4268" y="2596"/>
                </a:lnTo>
                <a:lnTo>
                  <a:pt x="4260" y="2594"/>
                </a:lnTo>
                <a:lnTo>
                  <a:pt x="4244" y="2596"/>
                </a:lnTo>
                <a:lnTo>
                  <a:pt x="4226" y="2596"/>
                </a:lnTo>
                <a:lnTo>
                  <a:pt x="4216" y="2594"/>
                </a:lnTo>
                <a:lnTo>
                  <a:pt x="4206" y="2592"/>
                </a:lnTo>
                <a:lnTo>
                  <a:pt x="4198" y="2588"/>
                </a:lnTo>
                <a:lnTo>
                  <a:pt x="4194" y="2584"/>
                </a:lnTo>
                <a:lnTo>
                  <a:pt x="4192" y="2578"/>
                </a:lnTo>
                <a:lnTo>
                  <a:pt x="4190" y="2572"/>
                </a:lnTo>
                <a:lnTo>
                  <a:pt x="4190" y="2568"/>
                </a:lnTo>
                <a:lnTo>
                  <a:pt x="4188" y="2566"/>
                </a:lnTo>
                <a:lnTo>
                  <a:pt x="4186" y="2568"/>
                </a:lnTo>
                <a:lnTo>
                  <a:pt x="4180" y="2574"/>
                </a:lnTo>
                <a:lnTo>
                  <a:pt x="4174" y="2586"/>
                </a:lnTo>
                <a:lnTo>
                  <a:pt x="4174" y="2588"/>
                </a:lnTo>
                <a:lnTo>
                  <a:pt x="4176" y="2588"/>
                </a:lnTo>
                <a:lnTo>
                  <a:pt x="4180" y="2590"/>
                </a:lnTo>
                <a:lnTo>
                  <a:pt x="4182" y="2592"/>
                </a:lnTo>
                <a:lnTo>
                  <a:pt x="4184" y="2596"/>
                </a:lnTo>
                <a:lnTo>
                  <a:pt x="4184" y="2600"/>
                </a:lnTo>
                <a:lnTo>
                  <a:pt x="4184" y="2602"/>
                </a:lnTo>
                <a:lnTo>
                  <a:pt x="4190" y="2602"/>
                </a:lnTo>
                <a:lnTo>
                  <a:pt x="4196" y="2602"/>
                </a:lnTo>
                <a:lnTo>
                  <a:pt x="4198" y="2604"/>
                </a:lnTo>
                <a:lnTo>
                  <a:pt x="4202" y="2606"/>
                </a:lnTo>
                <a:lnTo>
                  <a:pt x="4208" y="2612"/>
                </a:lnTo>
                <a:lnTo>
                  <a:pt x="4214" y="2614"/>
                </a:lnTo>
                <a:lnTo>
                  <a:pt x="4226" y="2616"/>
                </a:lnTo>
                <a:lnTo>
                  <a:pt x="4248" y="2624"/>
                </a:lnTo>
                <a:lnTo>
                  <a:pt x="4252" y="2626"/>
                </a:lnTo>
                <a:lnTo>
                  <a:pt x="4256" y="2626"/>
                </a:lnTo>
                <a:lnTo>
                  <a:pt x="4256" y="2620"/>
                </a:lnTo>
                <a:lnTo>
                  <a:pt x="4256" y="2612"/>
                </a:lnTo>
                <a:lnTo>
                  <a:pt x="4256" y="2608"/>
                </a:lnTo>
                <a:lnTo>
                  <a:pt x="4258" y="2604"/>
                </a:lnTo>
                <a:lnTo>
                  <a:pt x="4264" y="2600"/>
                </a:lnTo>
                <a:lnTo>
                  <a:pt x="4268" y="2598"/>
                </a:lnTo>
                <a:lnTo>
                  <a:pt x="4270" y="2596"/>
                </a:lnTo>
                <a:lnTo>
                  <a:pt x="4268" y="2596"/>
                </a:lnTo>
                <a:close/>
                <a:moveTo>
                  <a:pt x="4356" y="2612"/>
                </a:moveTo>
                <a:lnTo>
                  <a:pt x="4356" y="2612"/>
                </a:lnTo>
                <a:lnTo>
                  <a:pt x="4346" y="2608"/>
                </a:lnTo>
                <a:lnTo>
                  <a:pt x="4342" y="2606"/>
                </a:lnTo>
                <a:lnTo>
                  <a:pt x="4340" y="2604"/>
                </a:lnTo>
                <a:lnTo>
                  <a:pt x="4338" y="2596"/>
                </a:lnTo>
                <a:lnTo>
                  <a:pt x="4340" y="2582"/>
                </a:lnTo>
                <a:lnTo>
                  <a:pt x="4340" y="2568"/>
                </a:lnTo>
                <a:lnTo>
                  <a:pt x="4338" y="2566"/>
                </a:lnTo>
                <a:lnTo>
                  <a:pt x="4336" y="2564"/>
                </a:lnTo>
                <a:lnTo>
                  <a:pt x="4334" y="2564"/>
                </a:lnTo>
                <a:lnTo>
                  <a:pt x="4330" y="2568"/>
                </a:lnTo>
                <a:lnTo>
                  <a:pt x="4318" y="2582"/>
                </a:lnTo>
                <a:lnTo>
                  <a:pt x="4306" y="2598"/>
                </a:lnTo>
                <a:lnTo>
                  <a:pt x="4298" y="2612"/>
                </a:lnTo>
                <a:lnTo>
                  <a:pt x="4296" y="2620"/>
                </a:lnTo>
                <a:lnTo>
                  <a:pt x="4294" y="2628"/>
                </a:lnTo>
                <a:lnTo>
                  <a:pt x="4296" y="2636"/>
                </a:lnTo>
                <a:lnTo>
                  <a:pt x="4298" y="2646"/>
                </a:lnTo>
                <a:lnTo>
                  <a:pt x="4302" y="2652"/>
                </a:lnTo>
                <a:lnTo>
                  <a:pt x="4304" y="2652"/>
                </a:lnTo>
                <a:lnTo>
                  <a:pt x="4306" y="2652"/>
                </a:lnTo>
                <a:lnTo>
                  <a:pt x="4312" y="2644"/>
                </a:lnTo>
                <a:lnTo>
                  <a:pt x="4314" y="2632"/>
                </a:lnTo>
                <a:lnTo>
                  <a:pt x="4320" y="2622"/>
                </a:lnTo>
                <a:lnTo>
                  <a:pt x="4322" y="2620"/>
                </a:lnTo>
                <a:lnTo>
                  <a:pt x="4324" y="2618"/>
                </a:lnTo>
                <a:lnTo>
                  <a:pt x="4326" y="2620"/>
                </a:lnTo>
                <a:lnTo>
                  <a:pt x="4326" y="2622"/>
                </a:lnTo>
                <a:lnTo>
                  <a:pt x="4324" y="2634"/>
                </a:lnTo>
                <a:lnTo>
                  <a:pt x="4324" y="2646"/>
                </a:lnTo>
                <a:lnTo>
                  <a:pt x="4324" y="2648"/>
                </a:lnTo>
                <a:lnTo>
                  <a:pt x="4326" y="2650"/>
                </a:lnTo>
                <a:lnTo>
                  <a:pt x="4334" y="2646"/>
                </a:lnTo>
                <a:lnTo>
                  <a:pt x="4344" y="2640"/>
                </a:lnTo>
                <a:lnTo>
                  <a:pt x="4354" y="2632"/>
                </a:lnTo>
                <a:lnTo>
                  <a:pt x="4362" y="2622"/>
                </a:lnTo>
                <a:lnTo>
                  <a:pt x="4364" y="2620"/>
                </a:lnTo>
                <a:lnTo>
                  <a:pt x="4364" y="2616"/>
                </a:lnTo>
                <a:lnTo>
                  <a:pt x="4360" y="2614"/>
                </a:lnTo>
                <a:lnTo>
                  <a:pt x="4356" y="2612"/>
                </a:lnTo>
                <a:close/>
                <a:moveTo>
                  <a:pt x="4284" y="2440"/>
                </a:moveTo>
                <a:lnTo>
                  <a:pt x="4284" y="2440"/>
                </a:lnTo>
                <a:lnTo>
                  <a:pt x="4286" y="2438"/>
                </a:lnTo>
                <a:lnTo>
                  <a:pt x="4284" y="2436"/>
                </a:lnTo>
                <a:lnTo>
                  <a:pt x="4280" y="2430"/>
                </a:lnTo>
                <a:lnTo>
                  <a:pt x="4272" y="2424"/>
                </a:lnTo>
                <a:lnTo>
                  <a:pt x="4260" y="2416"/>
                </a:lnTo>
                <a:lnTo>
                  <a:pt x="4246" y="2410"/>
                </a:lnTo>
                <a:lnTo>
                  <a:pt x="4230" y="2404"/>
                </a:lnTo>
                <a:lnTo>
                  <a:pt x="4212" y="2398"/>
                </a:lnTo>
                <a:lnTo>
                  <a:pt x="4194" y="2396"/>
                </a:lnTo>
                <a:lnTo>
                  <a:pt x="4178" y="2394"/>
                </a:lnTo>
                <a:lnTo>
                  <a:pt x="4170" y="2394"/>
                </a:lnTo>
                <a:lnTo>
                  <a:pt x="4168" y="2396"/>
                </a:lnTo>
                <a:lnTo>
                  <a:pt x="4172" y="2398"/>
                </a:lnTo>
                <a:lnTo>
                  <a:pt x="4186" y="2408"/>
                </a:lnTo>
                <a:lnTo>
                  <a:pt x="4202" y="2418"/>
                </a:lnTo>
                <a:lnTo>
                  <a:pt x="4220" y="2430"/>
                </a:lnTo>
                <a:lnTo>
                  <a:pt x="4246" y="2442"/>
                </a:lnTo>
                <a:lnTo>
                  <a:pt x="4258" y="2446"/>
                </a:lnTo>
                <a:lnTo>
                  <a:pt x="4270" y="2446"/>
                </a:lnTo>
                <a:lnTo>
                  <a:pt x="4278" y="2446"/>
                </a:lnTo>
                <a:lnTo>
                  <a:pt x="4282" y="2444"/>
                </a:lnTo>
                <a:lnTo>
                  <a:pt x="4284" y="2440"/>
                </a:lnTo>
                <a:close/>
                <a:moveTo>
                  <a:pt x="4640" y="2510"/>
                </a:moveTo>
                <a:lnTo>
                  <a:pt x="4640" y="2510"/>
                </a:lnTo>
                <a:lnTo>
                  <a:pt x="4646" y="2502"/>
                </a:lnTo>
                <a:lnTo>
                  <a:pt x="4646" y="2496"/>
                </a:lnTo>
                <a:lnTo>
                  <a:pt x="4644" y="2496"/>
                </a:lnTo>
                <a:lnTo>
                  <a:pt x="4640" y="2496"/>
                </a:lnTo>
                <a:lnTo>
                  <a:pt x="4628" y="2506"/>
                </a:lnTo>
                <a:lnTo>
                  <a:pt x="4622" y="2514"/>
                </a:lnTo>
                <a:lnTo>
                  <a:pt x="4616" y="2522"/>
                </a:lnTo>
                <a:lnTo>
                  <a:pt x="4612" y="2528"/>
                </a:lnTo>
                <a:lnTo>
                  <a:pt x="4608" y="2528"/>
                </a:lnTo>
                <a:lnTo>
                  <a:pt x="4608" y="2526"/>
                </a:lnTo>
                <a:lnTo>
                  <a:pt x="4608" y="2520"/>
                </a:lnTo>
                <a:lnTo>
                  <a:pt x="4608" y="2512"/>
                </a:lnTo>
                <a:lnTo>
                  <a:pt x="4612" y="2504"/>
                </a:lnTo>
                <a:lnTo>
                  <a:pt x="4616" y="2498"/>
                </a:lnTo>
                <a:lnTo>
                  <a:pt x="4622" y="2492"/>
                </a:lnTo>
                <a:lnTo>
                  <a:pt x="4630" y="2488"/>
                </a:lnTo>
                <a:lnTo>
                  <a:pt x="4634" y="2484"/>
                </a:lnTo>
                <a:lnTo>
                  <a:pt x="4636" y="2480"/>
                </a:lnTo>
                <a:lnTo>
                  <a:pt x="4638" y="2476"/>
                </a:lnTo>
                <a:lnTo>
                  <a:pt x="4636" y="2474"/>
                </a:lnTo>
                <a:lnTo>
                  <a:pt x="4634" y="2472"/>
                </a:lnTo>
                <a:lnTo>
                  <a:pt x="4630" y="2472"/>
                </a:lnTo>
                <a:lnTo>
                  <a:pt x="4626" y="2474"/>
                </a:lnTo>
                <a:lnTo>
                  <a:pt x="4620" y="2476"/>
                </a:lnTo>
                <a:lnTo>
                  <a:pt x="4614" y="2476"/>
                </a:lnTo>
                <a:lnTo>
                  <a:pt x="4608" y="2474"/>
                </a:lnTo>
                <a:lnTo>
                  <a:pt x="4602" y="2470"/>
                </a:lnTo>
                <a:lnTo>
                  <a:pt x="4600" y="2466"/>
                </a:lnTo>
                <a:lnTo>
                  <a:pt x="4600" y="2460"/>
                </a:lnTo>
                <a:lnTo>
                  <a:pt x="4602" y="2456"/>
                </a:lnTo>
                <a:lnTo>
                  <a:pt x="4610" y="2448"/>
                </a:lnTo>
                <a:lnTo>
                  <a:pt x="4616" y="2442"/>
                </a:lnTo>
                <a:lnTo>
                  <a:pt x="4618" y="2436"/>
                </a:lnTo>
                <a:lnTo>
                  <a:pt x="4614" y="2430"/>
                </a:lnTo>
                <a:lnTo>
                  <a:pt x="4610" y="2426"/>
                </a:lnTo>
                <a:lnTo>
                  <a:pt x="4602" y="2424"/>
                </a:lnTo>
                <a:lnTo>
                  <a:pt x="4590" y="2422"/>
                </a:lnTo>
                <a:lnTo>
                  <a:pt x="4578" y="2422"/>
                </a:lnTo>
                <a:lnTo>
                  <a:pt x="4566" y="2426"/>
                </a:lnTo>
                <a:lnTo>
                  <a:pt x="4554" y="2428"/>
                </a:lnTo>
                <a:lnTo>
                  <a:pt x="4548" y="2428"/>
                </a:lnTo>
                <a:lnTo>
                  <a:pt x="4546" y="2428"/>
                </a:lnTo>
                <a:lnTo>
                  <a:pt x="4546" y="2426"/>
                </a:lnTo>
                <a:lnTo>
                  <a:pt x="4546" y="2422"/>
                </a:lnTo>
                <a:lnTo>
                  <a:pt x="4542" y="2420"/>
                </a:lnTo>
                <a:lnTo>
                  <a:pt x="4536" y="2422"/>
                </a:lnTo>
                <a:lnTo>
                  <a:pt x="4528" y="2422"/>
                </a:lnTo>
                <a:lnTo>
                  <a:pt x="4524" y="2420"/>
                </a:lnTo>
                <a:lnTo>
                  <a:pt x="4520" y="2418"/>
                </a:lnTo>
                <a:lnTo>
                  <a:pt x="4518" y="2414"/>
                </a:lnTo>
                <a:lnTo>
                  <a:pt x="4518" y="2408"/>
                </a:lnTo>
                <a:lnTo>
                  <a:pt x="4520" y="2404"/>
                </a:lnTo>
                <a:lnTo>
                  <a:pt x="4524" y="2400"/>
                </a:lnTo>
                <a:lnTo>
                  <a:pt x="4528" y="2398"/>
                </a:lnTo>
                <a:lnTo>
                  <a:pt x="4532" y="2396"/>
                </a:lnTo>
                <a:lnTo>
                  <a:pt x="4532" y="2392"/>
                </a:lnTo>
                <a:lnTo>
                  <a:pt x="4530" y="2388"/>
                </a:lnTo>
                <a:lnTo>
                  <a:pt x="4526" y="2386"/>
                </a:lnTo>
                <a:lnTo>
                  <a:pt x="4522" y="2384"/>
                </a:lnTo>
                <a:lnTo>
                  <a:pt x="4514" y="2384"/>
                </a:lnTo>
                <a:lnTo>
                  <a:pt x="4506" y="2388"/>
                </a:lnTo>
                <a:lnTo>
                  <a:pt x="4496" y="2394"/>
                </a:lnTo>
                <a:lnTo>
                  <a:pt x="4490" y="2400"/>
                </a:lnTo>
                <a:lnTo>
                  <a:pt x="4486" y="2402"/>
                </a:lnTo>
                <a:lnTo>
                  <a:pt x="4484" y="2400"/>
                </a:lnTo>
                <a:lnTo>
                  <a:pt x="4486" y="2394"/>
                </a:lnTo>
                <a:lnTo>
                  <a:pt x="4496" y="2374"/>
                </a:lnTo>
                <a:lnTo>
                  <a:pt x="4508" y="2354"/>
                </a:lnTo>
                <a:lnTo>
                  <a:pt x="4518" y="2336"/>
                </a:lnTo>
                <a:lnTo>
                  <a:pt x="4526" y="2322"/>
                </a:lnTo>
                <a:lnTo>
                  <a:pt x="4536" y="2308"/>
                </a:lnTo>
                <a:lnTo>
                  <a:pt x="4538" y="2304"/>
                </a:lnTo>
                <a:lnTo>
                  <a:pt x="4540" y="2298"/>
                </a:lnTo>
                <a:lnTo>
                  <a:pt x="4538" y="2294"/>
                </a:lnTo>
                <a:lnTo>
                  <a:pt x="4536" y="2292"/>
                </a:lnTo>
                <a:lnTo>
                  <a:pt x="4530" y="2290"/>
                </a:lnTo>
                <a:lnTo>
                  <a:pt x="4524" y="2292"/>
                </a:lnTo>
                <a:lnTo>
                  <a:pt x="4514" y="2294"/>
                </a:lnTo>
                <a:lnTo>
                  <a:pt x="4504" y="2298"/>
                </a:lnTo>
                <a:lnTo>
                  <a:pt x="4494" y="2304"/>
                </a:lnTo>
                <a:lnTo>
                  <a:pt x="4488" y="2310"/>
                </a:lnTo>
                <a:lnTo>
                  <a:pt x="4484" y="2316"/>
                </a:lnTo>
                <a:lnTo>
                  <a:pt x="4482" y="2320"/>
                </a:lnTo>
                <a:lnTo>
                  <a:pt x="4480" y="2328"/>
                </a:lnTo>
                <a:lnTo>
                  <a:pt x="4478" y="2332"/>
                </a:lnTo>
                <a:lnTo>
                  <a:pt x="4472" y="2336"/>
                </a:lnTo>
                <a:lnTo>
                  <a:pt x="4466" y="2342"/>
                </a:lnTo>
                <a:lnTo>
                  <a:pt x="4460" y="2350"/>
                </a:lnTo>
                <a:lnTo>
                  <a:pt x="4448" y="2376"/>
                </a:lnTo>
                <a:lnTo>
                  <a:pt x="4434" y="2408"/>
                </a:lnTo>
                <a:lnTo>
                  <a:pt x="4420" y="2440"/>
                </a:lnTo>
                <a:lnTo>
                  <a:pt x="4410" y="2460"/>
                </a:lnTo>
                <a:lnTo>
                  <a:pt x="4408" y="2464"/>
                </a:lnTo>
                <a:lnTo>
                  <a:pt x="4406" y="2462"/>
                </a:lnTo>
                <a:lnTo>
                  <a:pt x="4406" y="2460"/>
                </a:lnTo>
                <a:lnTo>
                  <a:pt x="4402" y="2462"/>
                </a:lnTo>
                <a:lnTo>
                  <a:pt x="4396" y="2464"/>
                </a:lnTo>
                <a:lnTo>
                  <a:pt x="4386" y="2474"/>
                </a:lnTo>
                <a:lnTo>
                  <a:pt x="4384" y="2476"/>
                </a:lnTo>
                <a:lnTo>
                  <a:pt x="4384" y="2478"/>
                </a:lnTo>
                <a:lnTo>
                  <a:pt x="4384" y="2480"/>
                </a:lnTo>
                <a:lnTo>
                  <a:pt x="4388" y="2482"/>
                </a:lnTo>
                <a:lnTo>
                  <a:pt x="4402" y="2484"/>
                </a:lnTo>
                <a:lnTo>
                  <a:pt x="4406" y="2486"/>
                </a:lnTo>
                <a:lnTo>
                  <a:pt x="4406" y="2488"/>
                </a:lnTo>
                <a:lnTo>
                  <a:pt x="4394" y="2498"/>
                </a:lnTo>
                <a:lnTo>
                  <a:pt x="4386" y="2504"/>
                </a:lnTo>
                <a:lnTo>
                  <a:pt x="4380" y="2510"/>
                </a:lnTo>
                <a:lnTo>
                  <a:pt x="4378" y="2514"/>
                </a:lnTo>
                <a:lnTo>
                  <a:pt x="4378" y="2516"/>
                </a:lnTo>
                <a:lnTo>
                  <a:pt x="4378" y="2520"/>
                </a:lnTo>
                <a:lnTo>
                  <a:pt x="4382" y="2524"/>
                </a:lnTo>
                <a:lnTo>
                  <a:pt x="4384" y="2528"/>
                </a:lnTo>
                <a:lnTo>
                  <a:pt x="4390" y="2530"/>
                </a:lnTo>
                <a:lnTo>
                  <a:pt x="4398" y="2530"/>
                </a:lnTo>
                <a:lnTo>
                  <a:pt x="4416" y="2526"/>
                </a:lnTo>
                <a:lnTo>
                  <a:pt x="4426" y="2524"/>
                </a:lnTo>
                <a:lnTo>
                  <a:pt x="4434" y="2524"/>
                </a:lnTo>
                <a:lnTo>
                  <a:pt x="4446" y="2528"/>
                </a:lnTo>
                <a:lnTo>
                  <a:pt x="4452" y="2530"/>
                </a:lnTo>
                <a:lnTo>
                  <a:pt x="4462" y="2532"/>
                </a:lnTo>
                <a:lnTo>
                  <a:pt x="4474" y="2532"/>
                </a:lnTo>
                <a:lnTo>
                  <a:pt x="4490" y="2530"/>
                </a:lnTo>
                <a:lnTo>
                  <a:pt x="4504" y="2528"/>
                </a:lnTo>
                <a:lnTo>
                  <a:pt x="4512" y="2528"/>
                </a:lnTo>
                <a:lnTo>
                  <a:pt x="4514" y="2530"/>
                </a:lnTo>
                <a:lnTo>
                  <a:pt x="4512" y="2532"/>
                </a:lnTo>
                <a:lnTo>
                  <a:pt x="4512" y="2534"/>
                </a:lnTo>
                <a:lnTo>
                  <a:pt x="4514" y="2536"/>
                </a:lnTo>
                <a:lnTo>
                  <a:pt x="4520" y="2538"/>
                </a:lnTo>
                <a:lnTo>
                  <a:pt x="4532" y="2536"/>
                </a:lnTo>
                <a:lnTo>
                  <a:pt x="4544" y="2536"/>
                </a:lnTo>
                <a:lnTo>
                  <a:pt x="4548" y="2538"/>
                </a:lnTo>
                <a:lnTo>
                  <a:pt x="4546" y="2542"/>
                </a:lnTo>
                <a:lnTo>
                  <a:pt x="4540" y="2548"/>
                </a:lnTo>
                <a:lnTo>
                  <a:pt x="4522" y="2560"/>
                </a:lnTo>
                <a:lnTo>
                  <a:pt x="4516" y="2564"/>
                </a:lnTo>
                <a:lnTo>
                  <a:pt x="4514" y="2570"/>
                </a:lnTo>
                <a:lnTo>
                  <a:pt x="4514" y="2574"/>
                </a:lnTo>
                <a:lnTo>
                  <a:pt x="4518" y="2576"/>
                </a:lnTo>
                <a:lnTo>
                  <a:pt x="4522" y="2578"/>
                </a:lnTo>
                <a:lnTo>
                  <a:pt x="4526" y="2578"/>
                </a:lnTo>
                <a:lnTo>
                  <a:pt x="4532" y="2576"/>
                </a:lnTo>
                <a:lnTo>
                  <a:pt x="4540" y="2572"/>
                </a:lnTo>
                <a:lnTo>
                  <a:pt x="4546" y="2566"/>
                </a:lnTo>
                <a:lnTo>
                  <a:pt x="4552" y="2558"/>
                </a:lnTo>
                <a:lnTo>
                  <a:pt x="4558" y="2550"/>
                </a:lnTo>
                <a:lnTo>
                  <a:pt x="4564" y="2546"/>
                </a:lnTo>
                <a:lnTo>
                  <a:pt x="4566" y="2544"/>
                </a:lnTo>
                <a:lnTo>
                  <a:pt x="4570" y="2544"/>
                </a:lnTo>
                <a:lnTo>
                  <a:pt x="4572" y="2542"/>
                </a:lnTo>
                <a:lnTo>
                  <a:pt x="4576" y="2540"/>
                </a:lnTo>
                <a:lnTo>
                  <a:pt x="4578" y="2538"/>
                </a:lnTo>
                <a:lnTo>
                  <a:pt x="4582" y="2530"/>
                </a:lnTo>
                <a:lnTo>
                  <a:pt x="4586" y="2524"/>
                </a:lnTo>
                <a:lnTo>
                  <a:pt x="4590" y="2520"/>
                </a:lnTo>
                <a:lnTo>
                  <a:pt x="4594" y="2518"/>
                </a:lnTo>
                <a:lnTo>
                  <a:pt x="4596" y="2520"/>
                </a:lnTo>
                <a:lnTo>
                  <a:pt x="4598" y="2524"/>
                </a:lnTo>
                <a:lnTo>
                  <a:pt x="4598" y="2530"/>
                </a:lnTo>
                <a:lnTo>
                  <a:pt x="4598" y="2538"/>
                </a:lnTo>
                <a:lnTo>
                  <a:pt x="4594" y="2548"/>
                </a:lnTo>
                <a:lnTo>
                  <a:pt x="4590" y="2564"/>
                </a:lnTo>
                <a:lnTo>
                  <a:pt x="4588" y="2574"/>
                </a:lnTo>
                <a:lnTo>
                  <a:pt x="4588" y="2576"/>
                </a:lnTo>
                <a:lnTo>
                  <a:pt x="4592" y="2576"/>
                </a:lnTo>
                <a:lnTo>
                  <a:pt x="4600" y="2570"/>
                </a:lnTo>
                <a:lnTo>
                  <a:pt x="4606" y="2566"/>
                </a:lnTo>
                <a:lnTo>
                  <a:pt x="4608" y="2566"/>
                </a:lnTo>
                <a:lnTo>
                  <a:pt x="4610" y="2568"/>
                </a:lnTo>
                <a:lnTo>
                  <a:pt x="4612" y="2572"/>
                </a:lnTo>
                <a:lnTo>
                  <a:pt x="4614" y="2576"/>
                </a:lnTo>
                <a:lnTo>
                  <a:pt x="4618" y="2580"/>
                </a:lnTo>
                <a:lnTo>
                  <a:pt x="4624" y="2584"/>
                </a:lnTo>
                <a:lnTo>
                  <a:pt x="4630" y="2586"/>
                </a:lnTo>
                <a:lnTo>
                  <a:pt x="4638" y="2584"/>
                </a:lnTo>
                <a:lnTo>
                  <a:pt x="4642" y="2582"/>
                </a:lnTo>
                <a:lnTo>
                  <a:pt x="4644" y="2580"/>
                </a:lnTo>
                <a:lnTo>
                  <a:pt x="4644" y="2574"/>
                </a:lnTo>
                <a:lnTo>
                  <a:pt x="4644" y="2560"/>
                </a:lnTo>
                <a:lnTo>
                  <a:pt x="4644" y="2550"/>
                </a:lnTo>
                <a:lnTo>
                  <a:pt x="4648" y="2536"/>
                </a:lnTo>
                <a:lnTo>
                  <a:pt x="4650" y="2526"/>
                </a:lnTo>
                <a:lnTo>
                  <a:pt x="4650" y="2522"/>
                </a:lnTo>
                <a:lnTo>
                  <a:pt x="4648" y="2520"/>
                </a:lnTo>
                <a:lnTo>
                  <a:pt x="4644" y="2520"/>
                </a:lnTo>
                <a:lnTo>
                  <a:pt x="4640" y="2522"/>
                </a:lnTo>
                <a:lnTo>
                  <a:pt x="4636" y="2520"/>
                </a:lnTo>
                <a:lnTo>
                  <a:pt x="4636" y="2518"/>
                </a:lnTo>
                <a:lnTo>
                  <a:pt x="4640" y="2510"/>
                </a:lnTo>
                <a:close/>
                <a:moveTo>
                  <a:pt x="3266" y="1234"/>
                </a:moveTo>
                <a:lnTo>
                  <a:pt x="3266" y="1234"/>
                </a:lnTo>
                <a:lnTo>
                  <a:pt x="3276" y="1242"/>
                </a:lnTo>
                <a:lnTo>
                  <a:pt x="3278" y="1244"/>
                </a:lnTo>
                <a:lnTo>
                  <a:pt x="3280" y="1244"/>
                </a:lnTo>
                <a:lnTo>
                  <a:pt x="3284" y="1240"/>
                </a:lnTo>
                <a:lnTo>
                  <a:pt x="3286" y="1234"/>
                </a:lnTo>
                <a:lnTo>
                  <a:pt x="3286" y="1218"/>
                </a:lnTo>
                <a:lnTo>
                  <a:pt x="3282" y="1206"/>
                </a:lnTo>
                <a:lnTo>
                  <a:pt x="3280" y="1204"/>
                </a:lnTo>
                <a:lnTo>
                  <a:pt x="3276" y="1206"/>
                </a:lnTo>
                <a:lnTo>
                  <a:pt x="3272" y="1208"/>
                </a:lnTo>
                <a:lnTo>
                  <a:pt x="3268" y="1210"/>
                </a:lnTo>
                <a:lnTo>
                  <a:pt x="3264" y="1216"/>
                </a:lnTo>
                <a:lnTo>
                  <a:pt x="3262" y="1220"/>
                </a:lnTo>
                <a:lnTo>
                  <a:pt x="3264" y="1228"/>
                </a:lnTo>
                <a:lnTo>
                  <a:pt x="3266" y="1234"/>
                </a:lnTo>
                <a:close/>
                <a:moveTo>
                  <a:pt x="1702" y="940"/>
                </a:moveTo>
                <a:lnTo>
                  <a:pt x="1702" y="940"/>
                </a:lnTo>
                <a:lnTo>
                  <a:pt x="1718" y="944"/>
                </a:lnTo>
                <a:lnTo>
                  <a:pt x="1736" y="950"/>
                </a:lnTo>
                <a:lnTo>
                  <a:pt x="1766" y="960"/>
                </a:lnTo>
                <a:lnTo>
                  <a:pt x="1776" y="966"/>
                </a:lnTo>
                <a:lnTo>
                  <a:pt x="1784" y="972"/>
                </a:lnTo>
                <a:lnTo>
                  <a:pt x="1790" y="978"/>
                </a:lnTo>
                <a:lnTo>
                  <a:pt x="1794" y="984"/>
                </a:lnTo>
                <a:lnTo>
                  <a:pt x="1800" y="996"/>
                </a:lnTo>
                <a:lnTo>
                  <a:pt x="1804" y="1002"/>
                </a:lnTo>
                <a:lnTo>
                  <a:pt x="1808" y="1004"/>
                </a:lnTo>
                <a:lnTo>
                  <a:pt x="1814" y="1006"/>
                </a:lnTo>
                <a:lnTo>
                  <a:pt x="1820" y="1006"/>
                </a:lnTo>
                <a:lnTo>
                  <a:pt x="1832" y="1002"/>
                </a:lnTo>
                <a:lnTo>
                  <a:pt x="1846" y="994"/>
                </a:lnTo>
                <a:lnTo>
                  <a:pt x="1860" y="984"/>
                </a:lnTo>
                <a:lnTo>
                  <a:pt x="1866" y="982"/>
                </a:lnTo>
                <a:lnTo>
                  <a:pt x="1870" y="980"/>
                </a:lnTo>
                <a:lnTo>
                  <a:pt x="1878" y="982"/>
                </a:lnTo>
                <a:lnTo>
                  <a:pt x="1882" y="982"/>
                </a:lnTo>
                <a:lnTo>
                  <a:pt x="1888" y="984"/>
                </a:lnTo>
                <a:lnTo>
                  <a:pt x="1896" y="982"/>
                </a:lnTo>
                <a:lnTo>
                  <a:pt x="1906" y="978"/>
                </a:lnTo>
                <a:lnTo>
                  <a:pt x="1912" y="976"/>
                </a:lnTo>
                <a:lnTo>
                  <a:pt x="1914" y="972"/>
                </a:lnTo>
                <a:lnTo>
                  <a:pt x="1920" y="964"/>
                </a:lnTo>
                <a:lnTo>
                  <a:pt x="1922" y="954"/>
                </a:lnTo>
                <a:lnTo>
                  <a:pt x="1922" y="946"/>
                </a:lnTo>
                <a:lnTo>
                  <a:pt x="1922" y="936"/>
                </a:lnTo>
                <a:lnTo>
                  <a:pt x="1926" y="930"/>
                </a:lnTo>
                <a:lnTo>
                  <a:pt x="1932" y="924"/>
                </a:lnTo>
                <a:lnTo>
                  <a:pt x="1942" y="920"/>
                </a:lnTo>
                <a:lnTo>
                  <a:pt x="1952" y="918"/>
                </a:lnTo>
                <a:lnTo>
                  <a:pt x="1958" y="914"/>
                </a:lnTo>
                <a:lnTo>
                  <a:pt x="1962" y="910"/>
                </a:lnTo>
                <a:lnTo>
                  <a:pt x="1964" y="904"/>
                </a:lnTo>
                <a:lnTo>
                  <a:pt x="1966" y="898"/>
                </a:lnTo>
                <a:lnTo>
                  <a:pt x="1970" y="892"/>
                </a:lnTo>
                <a:lnTo>
                  <a:pt x="1978" y="886"/>
                </a:lnTo>
                <a:lnTo>
                  <a:pt x="1992" y="880"/>
                </a:lnTo>
                <a:lnTo>
                  <a:pt x="2020" y="868"/>
                </a:lnTo>
                <a:lnTo>
                  <a:pt x="2046" y="856"/>
                </a:lnTo>
                <a:lnTo>
                  <a:pt x="2070" y="846"/>
                </a:lnTo>
                <a:lnTo>
                  <a:pt x="2090" y="840"/>
                </a:lnTo>
                <a:lnTo>
                  <a:pt x="2106" y="836"/>
                </a:lnTo>
                <a:lnTo>
                  <a:pt x="2116" y="832"/>
                </a:lnTo>
                <a:lnTo>
                  <a:pt x="2122" y="826"/>
                </a:lnTo>
                <a:lnTo>
                  <a:pt x="2124" y="822"/>
                </a:lnTo>
                <a:lnTo>
                  <a:pt x="2122" y="818"/>
                </a:lnTo>
                <a:lnTo>
                  <a:pt x="2118" y="814"/>
                </a:lnTo>
                <a:lnTo>
                  <a:pt x="2106" y="810"/>
                </a:lnTo>
                <a:lnTo>
                  <a:pt x="2096" y="806"/>
                </a:lnTo>
                <a:lnTo>
                  <a:pt x="2088" y="800"/>
                </a:lnTo>
                <a:lnTo>
                  <a:pt x="2068" y="786"/>
                </a:lnTo>
                <a:lnTo>
                  <a:pt x="2058" y="778"/>
                </a:lnTo>
                <a:lnTo>
                  <a:pt x="2046" y="772"/>
                </a:lnTo>
                <a:lnTo>
                  <a:pt x="2032" y="768"/>
                </a:lnTo>
                <a:lnTo>
                  <a:pt x="2016" y="766"/>
                </a:lnTo>
                <a:lnTo>
                  <a:pt x="2002" y="768"/>
                </a:lnTo>
                <a:lnTo>
                  <a:pt x="1992" y="770"/>
                </a:lnTo>
                <a:lnTo>
                  <a:pt x="1986" y="772"/>
                </a:lnTo>
                <a:lnTo>
                  <a:pt x="1982" y="776"/>
                </a:lnTo>
                <a:lnTo>
                  <a:pt x="1980" y="782"/>
                </a:lnTo>
                <a:lnTo>
                  <a:pt x="1978" y="784"/>
                </a:lnTo>
                <a:lnTo>
                  <a:pt x="1974" y="786"/>
                </a:lnTo>
                <a:lnTo>
                  <a:pt x="1970" y="786"/>
                </a:lnTo>
                <a:lnTo>
                  <a:pt x="1972" y="782"/>
                </a:lnTo>
                <a:lnTo>
                  <a:pt x="1972" y="776"/>
                </a:lnTo>
                <a:lnTo>
                  <a:pt x="1970" y="774"/>
                </a:lnTo>
                <a:lnTo>
                  <a:pt x="1968" y="772"/>
                </a:lnTo>
                <a:lnTo>
                  <a:pt x="1964" y="770"/>
                </a:lnTo>
                <a:lnTo>
                  <a:pt x="1958" y="770"/>
                </a:lnTo>
                <a:lnTo>
                  <a:pt x="1948" y="770"/>
                </a:lnTo>
                <a:lnTo>
                  <a:pt x="1932" y="766"/>
                </a:lnTo>
                <a:lnTo>
                  <a:pt x="1918" y="762"/>
                </a:lnTo>
                <a:lnTo>
                  <a:pt x="1906" y="756"/>
                </a:lnTo>
                <a:lnTo>
                  <a:pt x="1890" y="748"/>
                </a:lnTo>
                <a:lnTo>
                  <a:pt x="1884" y="746"/>
                </a:lnTo>
                <a:lnTo>
                  <a:pt x="1876" y="744"/>
                </a:lnTo>
                <a:lnTo>
                  <a:pt x="1866" y="744"/>
                </a:lnTo>
                <a:lnTo>
                  <a:pt x="1854" y="748"/>
                </a:lnTo>
                <a:lnTo>
                  <a:pt x="1836" y="752"/>
                </a:lnTo>
                <a:lnTo>
                  <a:pt x="1818" y="754"/>
                </a:lnTo>
                <a:lnTo>
                  <a:pt x="1780" y="758"/>
                </a:lnTo>
                <a:lnTo>
                  <a:pt x="1754" y="760"/>
                </a:lnTo>
                <a:lnTo>
                  <a:pt x="1748" y="762"/>
                </a:lnTo>
                <a:lnTo>
                  <a:pt x="1746" y="764"/>
                </a:lnTo>
                <a:lnTo>
                  <a:pt x="1748" y="766"/>
                </a:lnTo>
                <a:lnTo>
                  <a:pt x="1752" y="770"/>
                </a:lnTo>
                <a:lnTo>
                  <a:pt x="1754" y="774"/>
                </a:lnTo>
                <a:lnTo>
                  <a:pt x="1758" y="782"/>
                </a:lnTo>
                <a:lnTo>
                  <a:pt x="1760" y="786"/>
                </a:lnTo>
                <a:lnTo>
                  <a:pt x="1762" y="790"/>
                </a:lnTo>
                <a:lnTo>
                  <a:pt x="1768" y="794"/>
                </a:lnTo>
                <a:lnTo>
                  <a:pt x="1774" y="798"/>
                </a:lnTo>
                <a:lnTo>
                  <a:pt x="1782" y="800"/>
                </a:lnTo>
                <a:lnTo>
                  <a:pt x="1784" y="804"/>
                </a:lnTo>
                <a:lnTo>
                  <a:pt x="1784" y="806"/>
                </a:lnTo>
                <a:lnTo>
                  <a:pt x="1782" y="808"/>
                </a:lnTo>
                <a:lnTo>
                  <a:pt x="1774" y="814"/>
                </a:lnTo>
                <a:lnTo>
                  <a:pt x="1772" y="818"/>
                </a:lnTo>
                <a:lnTo>
                  <a:pt x="1772" y="822"/>
                </a:lnTo>
                <a:lnTo>
                  <a:pt x="1770" y="824"/>
                </a:lnTo>
                <a:lnTo>
                  <a:pt x="1768" y="826"/>
                </a:lnTo>
                <a:lnTo>
                  <a:pt x="1764" y="828"/>
                </a:lnTo>
                <a:lnTo>
                  <a:pt x="1758" y="828"/>
                </a:lnTo>
                <a:lnTo>
                  <a:pt x="1756" y="832"/>
                </a:lnTo>
                <a:lnTo>
                  <a:pt x="1754" y="836"/>
                </a:lnTo>
                <a:lnTo>
                  <a:pt x="1754" y="840"/>
                </a:lnTo>
                <a:lnTo>
                  <a:pt x="1752" y="844"/>
                </a:lnTo>
                <a:lnTo>
                  <a:pt x="1746" y="850"/>
                </a:lnTo>
                <a:lnTo>
                  <a:pt x="1742" y="856"/>
                </a:lnTo>
                <a:lnTo>
                  <a:pt x="1742" y="858"/>
                </a:lnTo>
                <a:lnTo>
                  <a:pt x="1744" y="860"/>
                </a:lnTo>
                <a:lnTo>
                  <a:pt x="1752" y="864"/>
                </a:lnTo>
                <a:lnTo>
                  <a:pt x="1754" y="868"/>
                </a:lnTo>
                <a:lnTo>
                  <a:pt x="1752" y="870"/>
                </a:lnTo>
                <a:lnTo>
                  <a:pt x="1742" y="872"/>
                </a:lnTo>
                <a:lnTo>
                  <a:pt x="1732" y="874"/>
                </a:lnTo>
                <a:lnTo>
                  <a:pt x="1728" y="876"/>
                </a:lnTo>
                <a:lnTo>
                  <a:pt x="1728" y="880"/>
                </a:lnTo>
                <a:lnTo>
                  <a:pt x="1732" y="886"/>
                </a:lnTo>
                <a:lnTo>
                  <a:pt x="1732" y="890"/>
                </a:lnTo>
                <a:lnTo>
                  <a:pt x="1730" y="894"/>
                </a:lnTo>
                <a:lnTo>
                  <a:pt x="1720" y="906"/>
                </a:lnTo>
                <a:lnTo>
                  <a:pt x="1710" y="918"/>
                </a:lnTo>
                <a:lnTo>
                  <a:pt x="1706" y="922"/>
                </a:lnTo>
                <a:lnTo>
                  <a:pt x="1704" y="928"/>
                </a:lnTo>
                <a:lnTo>
                  <a:pt x="1702" y="934"/>
                </a:lnTo>
                <a:lnTo>
                  <a:pt x="1700" y="936"/>
                </a:lnTo>
                <a:lnTo>
                  <a:pt x="1698" y="938"/>
                </a:lnTo>
                <a:lnTo>
                  <a:pt x="1702" y="940"/>
                </a:lnTo>
                <a:close/>
                <a:moveTo>
                  <a:pt x="2646" y="1098"/>
                </a:moveTo>
                <a:lnTo>
                  <a:pt x="2646" y="1098"/>
                </a:lnTo>
                <a:lnTo>
                  <a:pt x="2652" y="1096"/>
                </a:lnTo>
                <a:lnTo>
                  <a:pt x="2656" y="1096"/>
                </a:lnTo>
                <a:lnTo>
                  <a:pt x="2660" y="1100"/>
                </a:lnTo>
                <a:lnTo>
                  <a:pt x="2664" y="1102"/>
                </a:lnTo>
                <a:lnTo>
                  <a:pt x="2670" y="1108"/>
                </a:lnTo>
                <a:lnTo>
                  <a:pt x="2672" y="1108"/>
                </a:lnTo>
                <a:lnTo>
                  <a:pt x="2676" y="1106"/>
                </a:lnTo>
                <a:lnTo>
                  <a:pt x="2680" y="1102"/>
                </a:lnTo>
                <a:lnTo>
                  <a:pt x="2684" y="1104"/>
                </a:lnTo>
                <a:lnTo>
                  <a:pt x="2688" y="1108"/>
                </a:lnTo>
                <a:lnTo>
                  <a:pt x="2692" y="1108"/>
                </a:lnTo>
                <a:lnTo>
                  <a:pt x="2696" y="1110"/>
                </a:lnTo>
                <a:lnTo>
                  <a:pt x="2700" y="1108"/>
                </a:lnTo>
                <a:lnTo>
                  <a:pt x="2704" y="1106"/>
                </a:lnTo>
                <a:lnTo>
                  <a:pt x="2706" y="1104"/>
                </a:lnTo>
                <a:lnTo>
                  <a:pt x="2706" y="1100"/>
                </a:lnTo>
                <a:lnTo>
                  <a:pt x="2706" y="1090"/>
                </a:lnTo>
                <a:lnTo>
                  <a:pt x="2704" y="1078"/>
                </a:lnTo>
                <a:lnTo>
                  <a:pt x="2702" y="1074"/>
                </a:lnTo>
                <a:lnTo>
                  <a:pt x="2698" y="1072"/>
                </a:lnTo>
                <a:lnTo>
                  <a:pt x="2690" y="1074"/>
                </a:lnTo>
                <a:lnTo>
                  <a:pt x="2682" y="1074"/>
                </a:lnTo>
                <a:lnTo>
                  <a:pt x="2678" y="1072"/>
                </a:lnTo>
                <a:lnTo>
                  <a:pt x="2678" y="1070"/>
                </a:lnTo>
                <a:lnTo>
                  <a:pt x="2676" y="1066"/>
                </a:lnTo>
                <a:lnTo>
                  <a:pt x="2676" y="1064"/>
                </a:lnTo>
                <a:lnTo>
                  <a:pt x="2668" y="1064"/>
                </a:lnTo>
                <a:lnTo>
                  <a:pt x="2662" y="1062"/>
                </a:lnTo>
                <a:lnTo>
                  <a:pt x="2654" y="1060"/>
                </a:lnTo>
                <a:lnTo>
                  <a:pt x="2644" y="1054"/>
                </a:lnTo>
                <a:lnTo>
                  <a:pt x="2630" y="1044"/>
                </a:lnTo>
                <a:lnTo>
                  <a:pt x="2624" y="1038"/>
                </a:lnTo>
                <a:lnTo>
                  <a:pt x="2618" y="1036"/>
                </a:lnTo>
                <a:lnTo>
                  <a:pt x="2616" y="1036"/>
                </a:lnTo>
                <a:lnTo>
                  <a:pt x="2616" y="1042"/>
                </a:lnTo>
                <a:lnTo>
                  <a:pt x="2616" y="1044"/>
                </a:lnTo>
                <a:lnTo>
                  <a:pt x="2612" y="1046"/>
                </a:lnTo>
                <a:lnTo>
                  <a:pt x="2602" y="1042"/>
                </a:lnTo>
                <a:lnTo>
                  <a:pt x="2588" y="1036"/>
                </a:lnTo>
                <a:lnTo>
                  <a:pt x="2582" y="1030"/>
                </a:lnTo>
                <a:lnTo>
                  <a:pt x="2578" y="1026"/>
                </a:lnTo>
                <a:lnTo>
                  <a:pt x="2574" y="1020"/>
                </a:lnTo>
                <a:lnTo>
                  <a:pt x="2568" y="1016"/>
                </a:lnTo>
                <a:lnTo>
                  <a:pt x="2560" y="1010"/>
                </a:lnTo>
                <a:lnTo>
                  <a:pt x="2556" y="1006"/>
                </a:lnTo>
                <a:lnTo>
                  <a:pt x="2556" y="1004"/>
                </a:lnTo>
                <a:lnTo>
                  <a:pt x="2556" y="1002"/>
                </a:lnTo>
                <a:lnTo>
                  <a:pt x="2558" y="998"/>
                </a:lnTo>
                <a:lnTo>
                  <a:pt x="2564" y="988"/>
                </a:lnTo>
                <a:lnTo>
                  <a:pt x="2566" y="982"/>
                </a:lnTo>
                <a:lnTo>
                  <a:pt x="2566" y="976"/>
                </a:lnTo>
                <a:lnTo>
                  <a:pt x="2566" y="970"/>
                </a:lnTo>
                <a:lnTo>
                  <a:pt x="2562" y="964"/>
                </a:lnTo>
                <a:lnTo>
                  <a:pt x="2558" y="958"/>
                </a:lnTo>
                <a:lnTo>
                  <a:pt x="2552" y="952"/>
                </a:lnTo>
                <a:lnTo>
                  <a:pt x="2546" y="946"/>
                </a:lnTo>
                <a:lnTo>
                  <a:pt x="2542" y="938"/>
                </a:lnTo>
                <a:lnTo>
                  <a:pt x="2536" y="916"/>
                </a:lnTo>
                <a:lnTo>
                  <a:pt x="2530" y="894"/>
                </a:lnTo>
                <a:lnTo>
                  <a:pt x="2526" y="882"/>
                </a:lnTo>
                <a:lnTo>
                  <a:pt x="2520" y="874"/>
                </a:lnTo>
                <a:lnTo>
                  <a:pt x="2510" y="864"/>
                </a:lnTo>
                <a:lnTo>
                  <a:pt x="2502" y="860"/>
                </a:lnTo>
                <a:lnTo>
                  <a:pt x="2494" y="856"/>
                </a:lnTo>
                <a:lnTo>
                  <a:pt x="2476" y="846"/>
                </a:lnTo>
                <a:lnTo>
                  <a:pt x="2468" y="840"/>
                </a:lnTo>
                <a:lnTo>
                  <a:pt x="2464" y="838"/>
                </a:lnTo>
                <a:lnTo>
                  <a:pt x="2460" y="840"/>
                </a:lnTo>
                <a:lnTo>
                  <a:pt x="2460" y="842"/>
                </a:lnTo>
                <a:lnTo>
                  <a:pt x="2456" y="844"/>
                </a:lnTo>
                <a:lnTo>
                  <a:pt x="2454" y="846"/>
                </a:lnTo>
                <a:lnTo>
                  <a:pt x="2446" y="844"/>
                </a:lnTo>
                <a:lnTo>
                  <a:pt x="2434" y="840"/>
                </a:lnTo>
                <a:lnTo>
                  <a:pt x="2422" y="838"/>
                </a:lnTo>
                <a:lnTo>
                  <a:pt x="2416" y="838"/>
                </a:lnTo>
                <a:lnTo>
                  <a:pt x="2412" y="840"/>
                </a:lnTo>
                <a:lnTo>
                  <a:pt x="2408" y="844"/>
                </a:lnTo>
                <a:lnTo>
                  <a:pt x="2406" y="848"/>
                </a:lnTo>
                <a:lnTo>
                  <a:pt x="2408" y="854"/>
                </a:lnTo>
                <a:lnTo>
                  <a:pt x="2410" y="864"/>
                </a:lnTo>
                <a:lnTo>
                  <a:pt x="2414" y="872"/>
                </a:lnTo>
                <a:lnTo>
                  <a:pt x="2416" y="882"/>
                </a:lnTo>
                <a:lnTo>
                  <a:pt x="2422" y="904"/>
                </a:lnTo>
                <a:lnTo>
                  <a:pt x="2424" y="914"/>
                </a:lnTo>
                <a:lnTo>
                  <a:pt x="2428" y="924"/>
                </a:lnTo>
                <a:lnTo>
                  <a:pt x="2434" y="934"/>
                </a:lnTo>
                <a:lnTo>
                  <a:pt x="2444" y="942"/>
                </a:lnTo>
                <a:lnTo>
                  <a:pt x="2448" y="946"/>
                </a:lnTo>
                <a:lnTo>
                  <a:pt x="2448" y="950"/>
                </a:lnTo>
                <a:lnTo>
                  <a:pt x="2448" y="952"/>
                </a:lnTo>
                <a:lnTo>
                  <a:pt x="2446" y="954"/>
                </a:lnTo>
                <a:lnTo>
                  <a:pt x="2438" y="958"/>
                </a:lnTo>
                <a:lnTo>
                  <a:pt x="2432" y="962"/>
                </a:lnTo>
                <a:lnTo>
                  <a:pt x="2428" y="966"/>
                </a:lnTo>
                <a:lnTo>
                  <a:pt x="2426" y="966"/>
                </a:lnTo>
                <a:lnTo>
                  <a:pt x="2424" y="964"/>
                </a:lnTo>
                <a:lnTo>
                  <a:pt x="2416" y="956"/>
                </a:lnTo>
                <a:lnTo>
                  <a:pt x="2404" y="940"/>
                </a:lnTo>
                <a:lnTo>
                  <a:pt x="2400" y="928"/>
                </a:lnTo>
                <a:lnTo>
                  <a:pt x="2396" y="918"/>
                </a:lnTo>
                <a:lnTo>
                  <a:pt x="2392" y="902"/>
                </a:lnTo>
                <a:lnTo>
                  <a:pt x="2388" y="896"/>
                </a:lnTo>
                <a:lnTo>
                  <a:pt x="2384" y="890"/>
                </a:lnTo>
                <a:lnTo>
                  <a:pt x="2376" y="886"/>
                </a:lnTo>
                <a:lnTo>
                  <a:pt x="2366" y="882"/>
                </a:lnTo>
                <a:lnTo>
                  <a:pt x="2354" y="876"/>
                </a:lnTo>
                <a:lnTo>
                  <a:pt x="2352" y="874"/>
                </a:lnTo>
                <a:lnTo>
                  <a:pt x="2354" y="874"/>
                </a:lnTo>
                <a:lnTo>
                  <a:pt x="2354" y="872"/>
                </a:lnTo>
                <a:lnTo>
                  <a:pt x="2354" y="870"/>
                </a:lnTo>
                <a:lnTo>
                  <a:pt x="2350" y="868"/>
                </a:lnTo>
                <a:lnTo>
                  <a:pt x="2344" y="866"/>
                </a:lnTo>
                <a:lnTo>
                  <a:pt x="2324" y="860"/>
                </a:lnTo>
                <a:lnTo>
                  <a:pt x="2312" y="862"/>
                </a:lnTo>
                <a:lnTo>
                  <a:pt x="2308" y="862"/>
                </a:lnTo>
                <a:lnTo>
                  <a:pt x="2308" y="864"/>
                </a:lnTo>
                <a:lnTo>
                  <a:pt x="2310" y="868"/>
                </a:lnTo>
                <a:lnTo>
                  <a:pt x="2316" y="872"/>
                </a:lnTo>
                <a:lnTo>
                  <a:pt x="2324" y="876"/>
                </a:lnTo>
                <a:lnTo>
                  <a:pt x="2326" y="878"/>
                </a:lnTo>
                <a:lnTo>
                  <a:pt x="2328" y="882"/>
                </a:lnTo>
                <a:lnTo>
                  <a:pt x="2328" y="884"/>
                </a:lnTo>
                <a:lnTo>
                  <a:pt x="2326" y="886"/>
                </a:lnTo>
                <a:lnTo>
                  <a:pt x="2332" y="888"/>
                </a:lnTo>
                <a:lnTo>
                  <a:pt x="2342" y="892"/>
                </a:lnTo>
                <a:lnTo>
                  <a:pt x="2346" y="896"/>
                </a:lnTo>
                <a:lnTo>
                  <a:pt x="2346" y="898"/>
                </a:lnTo>
                <a:lnTo>
                  <a:pt x="2342" y="900"/>
                </a:lnTo>
                <a:lnTo>
                  <a:pt x="2326" y="896"/>
                </a:lnTo>
                <a:lnTo>
                  <a:pt x="2314" y="894"/>
                </a:lnTo>
                <a:lnTo>
                  <a:pt x="2306" y="896"/>
                </a:lnTo>
                <a:lnTo>
                  <a:pt x="2302" y="900"/>
                </a:lnTo>
                <a:lnTo>
                  <a:pt x="2300" y="906"/>
                </a:lnTo>
                <a:lnTo>
                  <a:pt x="2298" y="910"/>
                </a:lnTo>
                <a:lnTo>
                  <a:pt x="2296" y="914"/>
                </a:lnTo>
                <a:lnTo>
                  <a:pt x="2292" y="914"/>
                </a:lnTo>
                <a:lnTo>
                  <a:pt x="2288" y="910"/>
                </a:lnTo>
                <a:lnTo>
                  <a:pt x="2284" y="904"/>
                </a:lnTo>
                <a:lnTo>
                  <a:pt x="2284" y="900"/>
                </a:lnTo>
                <a:lnTo>
                  <a:pt x="2288" y="892"/>
                </a:lnTo>
                <a:lnTo>
                  <a:pt x="2290" y="888"/>
                </a:lnTo>
                <a:lnTo>
                  <a:pt x="2288" y="884"/>
                </a:lnTo>
                <a:lnTo>
                  <a:pt x="2280" y="880"/>
                </a:lnTo>
                <a:lnTo>
                  <a:pt x="2266" y="876"/>
                </a:lnTo>
                <a:lnTo>
                  <a:pt x="2240" y="868"/>
                </a:lnTo>
                <a:lnTo>
                  <a:pt x="2222" y="866"/>
                </a:lnTo>
                <a:lnTo>
                  <a:pt x="2210" y="866"/>
                </a:lnTo>
                <a:lnTo>
                  <a:pt x="2200" y="870"/>
                </a:lnTo>
                <a:lnTo>
                  <a:pt x="2196" y="874"/>
                </a:lnTo>
                <a:lnTo>
                  <a:pt x="2194" y="876"/>
                </a:lnTo>
                <a:lnTo>
                  <a:pt x="2196" y="880"/>
                </a:lnTo>
                <a:lnTo>
                  <a:pt x="2196" y="884"/>
                </a:lnTo>
                <a:lnTo>
                  <a:pt x="2192" y="886"/>
                </a:lnTo>
                <a:lnTo>
                  <a:pt x="2168" y="894"/>
                </a:lnTo>
                <a:lnTo>
                  <a:pt x="2160" y="894"/>
                </a:lnTo>
                <a:lnTo>
                  <a:pt x="2158" y="894"/>
                </a:lnTo>
                <a:lnTo>
                  <a:pt x="2162" y="890"/>
                </a:lnTo>
                <a:lnTo>
                  <a:pt x="2174" y="880"/>
                </a:lnTo>
                <a:lnTo>
                  <a:pt x="2176" y="876"/>
                </a:lnTo>
                <a:lnTo>
                  <a:pt x="2178" y="872"/>
                </a:lnTo>
                <a:lnTo>
                  <a:pt x="2176" y="868"/>
                </a:lnTo>
                <a:lnTo>
                  <a:pt x="2178" y="864"/>
                </a:lnTo>
                <a:lnTo>
                  <a:pt x="2180" y="856"/>
                </a:lnTo>
                <a:lnTo>
                  <a:pt x="2180" y="852"/>
                </a:lnTo>
                <a:lnTo>
                  <a:pt x="2178" y="848"/>
                </a:lnTo>
                <a:lnTo>
                  <a:pt x="2174" y="842"/>
                </a:lnTo>
                <a:lnTo>
                  <a:pt x="2166" y="838"/>
                </a:lnTo>
                <a:lnTo>
                  <a:pt x="2158" y="836"/>
                </a:lnTo>
                <a:lnTo>
                  <a:pt x="2146" y="836"/>
                </a:lnTo>
                <a:lnTo>
                  <a:pt x="2134" y="838"/>
                </a:lnTo>
                <a:lnTo>
                  <a:pt x="2120" y="842"/>
                </a:lnTo>
                <a:lnTo>
                  <a:pt x="2094" y="854"/>
                </a:lnTo>
                <a:lnTo>
                  <a:pt x="2070" y="862"/>
                </a:lnTo>
                <a:lnTo>
                  <a:pt x="2052" y="868"/>
                </a:lnTo>
                <a:lnTo>
                  <a:pt x="2036" y="876"/>
                </a:lnTo>
                <a:lnTo>
                  <a:pt x="2004" y="896"/>
                </a:lnTo>
                <a:lnTo>
                  <a:pt x="1996" y="900"/>
                </a:lnTo>
                <a:lnTo>
                  <a:pt x="1992" y="904"/>
                </a:lnTo>
                <a:lnTo>
                  <a:pt x="1992" y="908"/>
                </a:lnTo>
                <a:lnTo>
                  <a:pt x="1996" y="910"/>
                </a:lnTo>
                <a:lnTo>
                  <a:pt x="2006" y="914"/>
                </a:lnTo>
                <a:lnTo>
                  <a:pt x="2010" y="916"/>
                </a:lnTo>
                <a:lnTo>
                  <a:pt x="2012" y="918"/>
                </a:lnTo>
                <a:lnTo>
                  <a:pt x="2012" y="920"/>
                </a:lnTo>
                <a:lnTo>
                  <a:pt x="2010" y="922"/>
                </a:lnTo>
                <a:lnTo>
                  <a:pt x="2002" y="924"/>
                </a:lnTo>
                <a:lnTo>
                  <a:pt x="1992" y="928"/>
                </a:lnTo>
                <a:lnTo>
                  <a:pt x="1986" y="932"/>
                </a:lnTo>
                <a:lnTo>
                  <a:pt x="1980" y="938"/>
                </a:lnTo>
                <a:lnTo>
                  <a:pt x="1976" y="946"/>
                </a:lnTo>
                <a:lnTo>
                  <a:pt x="1972" y="952"/>
                </a:lnTo>
                <a:lnTo>
                  <a:pt x="1972" y="958"/>
                </a:lnTo>
                <a:lnTo>
                  <a:pt x="1972" y="962"/>
                </a:lnTo>
                <a:lnTo>
                  <a:pt x="1972" y="966"/>
                </a:lnTo>
                <a:lnTo>
                  <a:pt x="1976" y="966"/>
                </a:lnTo>
                <a:lnTo>
                  <a:pt x="1980" y="966"/>
                </a:lnTo>
                <a:lnTo>
                  <a:pt x="1986" y="964"/>
                </a:lnTo>
                <a:lnTo>
                  <a:pt x="1990" y="962"/>
                </a:lnTo>
                <a:lnTo>
                  <a:pt x="1994" y="962"/>
                </a:lnTo>
                <a:lnTo>
                  <a:pt x="1996" y="964"/>
                </a:lnTo>
                <a:lnTo>
                  <a:pt x="1998" y="966"/>
                </a:lnTo>
                <a:lnTo>
                  <a:pt x="2000" y="974"/>
                </a:lnTo>
                <a:lnTo>
                  <a:pt x="2004" y="982"/>
                </a:lnTo>
                <a:lnTo>
                  <a:pt x="2008" y="984"/>
                </a:lnTo>
                <a:lnTo>
                  <a:pt x="2016" y="986"/>
                </a:lnTo>
                <a:lnTo>
                  <a:pt x="2036" y="984"/>
                </a:lnTo>
                <a:lnTo>
                  <a:pt x="2058" y="980"/>
                </a:lnTo>
                <a:lnTo>
                  <a:pt x="2074" y="976"/>
                </a:lnTo>
                <a:lnTo>
                  <a:pt x="2086" y="976"/>
                </a:lnTo>
                <a:lnTo>
                  <a:pt x="2090" y="976"/>
                </a:lnTo>
                <a:lnTo>
                  <a:pt x="2092" y="978"/>
                </a:lnTo>
                <a:lnTo>
                  <a:pt x="2092" y="982"/>
                </a:lnTo>
                <a:lnTo>
                  <a:pt x="2084" y="986"/>
                </a:lnTo>
                <a:lnTo>
                  <a:pt x="2070" y="990"/>
                </a:lnTo>
                <a:lnTo>
                  <a:pt x="2046" y="996"/>
                </a:lnTo>
                <a:lnTo>
                  <a:pt x="2016" y="1002"/>
                </a:lnTo>
                <a:lnTo>
                  <a:pt x="2008" y="1006"/>
                </a:lnTo>
                <a:lnTo>
                  <a:pt x="2004" y="1010"/>
                </a:lnTo>
                <a:lnTo>
                  <a:pt x="2002" y="1014"/>
                </a:lnTo>
                <a:lnTo>
                  <a:pt x="2004" y="1018"/>
                </a:lnTo>
                <a:lnTo>
                  <a:pt x="2008" y="1022"/>
                </a:lnTo>
                <a:lnTo>
                  <a:pt x="2014" y="1028"/>
                </a:lnTo>
                <a:lnTo>
                  <a:pt x="2028" y="1036"/>
                </a:lnTo>
                <a:lnTo>
                  <a:pt x="2036" y="1040"/>
                </a:lnTo>
                <a:lnTo>
                  <a:pt x="2048" y="1042"/>
                </a:lnTo>
                <a:lnTo>
                  <a:pt x="2066" y="1040"/>
                </a:lnTo>
                <a:lnTo>
                  <a:pt x="2082" y="1038"/>
                </a:lnTo>
                <a:lnTo>
                  <a:pt x="2090" y="1040"/>
                </a:lnTo>
                <a:lnTo>
                  <a:pt x="2102" y="1042"/>
                </a:lnTo>
                <a:lnTo>
                  <a:pt x="2124" y="1044"/>
                </a:lnTo>
                <a:lnTo>
                  <a:pt x="2148" y="1042"/>
                </a:lnTo>
                <a:lnTo>
                  <a:pt x="2164" y="1038"/>
                </a:lnTo>
                <a:lnTo>
                  <a:pt x="2180" y="1036"/>
                </a:lnTo>
                <a:lnTo>
                  <a:pt x="2190" y="1038"/>
                </a:lnTo>
                <a:lnTo>
                  <a:pt x="2202" y="1040"/>
                </a:lnTo>
                <a:lnTo>
                  <a:pt x="2220" y="1044"/>
                </a:lnTo>
                <a:lnTo>
                  <a:pt x="2232" y="1044"/>
                </a:lnTo>
                <a:lnTo>
                  <a:pt x="2238" y="1044"/>
                </a:lnTo>
                <a:lnTo>
                  <a:pt x="2248" y="1050"/>
                </a:lnTo>
                <a:lnTo>
                  <a:pt x="2260" y="1056"/>
                </a:lnTo>
                <a:lnTo>
                  <a:pt x="2272" y="1062"/>
                </a:lnTo>
                <a:lnTo>
                  <a:pt x="2276" y="1064"/>
                </a:lnTo>
                <a:lnTo>
                  <a:pt x="2276" y="1066"/>
                </a:lnTo>
                <a:lnTo>
                  <a:pt x="2264" y="1066"/>
                </a:lnTo>
                <a:lnTo>
                  <a:pt x="2252" y="1066"/>
                </a:lnTo>
                <a:lnTo>
                  <a:pt x="2246" y="1066"/>
                </a:lnTo>
                <a:lnTo>
                  <a:pt x="2238" y="1068"/>
                </a:lnTo>
                <a:lnTo>
                  <a:pt x="2218" y="1066"/>
                </a:lnTo>
                <a:lnTo>
                  <a:pt x="2180" y="1064"/>
                </a:lnTo>
                <a:lnTo>
                  <a:pt x="2138" y="1066"/>
                </a:lnTo>
                <a:lnTo>
                  <a:pt x="2096" y="1070"/>
                </a:lnTo>
                <a:lnTo>
                  <a:pt x="2060" y="1076"/>
                </a:lnTo>
                <a:lnTo>
                  <a:pt x="2048" y="1080"/>
                </a:lnTo>
                <a:lnTo>
                  <a:pt x="2042" y="1084"/>
                </a:lnTo>
                <a:lnTo>
                  <a:pt x="2040" y="1088"/>
                </a:lnTo>
                <a:lnTo>
                  <a:pt x="2040" y="1090"/>
                </a:lnTo>
                <a:lnTo>
                  <a:pt x="2044" y="1096"/>
                </a:lnTo>
                <a:lnTo>
                  <a:pt x="2048" y="1104"/>
                </a:lnTo>
                <a:lnTo>
                  <a:pt x="2056" y="1110"/>
                </a:lnTo>
                <a:lnTo>
                  <a:pt x="2072" y="1124"/>
                </a:lnTo>
                <a:lnTo>
                  <a:pt x="2080" y="1130"/>
                </a:lnTo>
                <a:lnTo>
                  <a:pt x="2092" y="1134"/>
                </a:lnTo>
                <a:lnTo>
                  <a:pt x="2108" y="1138"/>
                </a:lnTo>
                <a:lnTo>
                  <a:pt x="2126" y="1138"/>
                </a:lnTo>
                <a:lnTo>
                  <a:pt x="2160" y="1140"/>
                </a:lnTo>
                <a:lnTo>
                  <a:pt x="2184" y="1140"/>
                </a:lnTo>
                <a:lnTo>
                  <a:pt x="2190" y="1140"/>
                </a:lnTo>
                <a:lnTo>
                  <a:pt x="2194" y="1144"/>
                </a:lnTo>
                <a:lnTo>
                  <a:pt x="2194" y="1150"/>
                </a:lnTo>
                <a:lnTo>
                  <a:pt x="2194" y="1154"/>
                </a:lnTo>
                <a:lnTo>
                  <a:pt x="2192" y="1166"/>
                </a:lnTo>
                <a:lnTo>
                  <a:pt x="2192" y="1172"/>
                </a:lnTo>
                <a:lnTo>
                  <a:pt x="2196" y="1178"/>
                </a:lnTo>
                <a:lnTo>
                  <a:pt x="2202" y="1184"/>
                </a:lnTo>
                <a:lnTo>
                  <a:pt x="2208" y="1190"/>
                </a:lnTo>
                <a:lnTo>
                  <a:pt x="2216" y="1194"/>
                </a:lnTo>
                <a:lnTo>
                  <a:pt x="2230" y="1194"/>
                </a:lnTo>
                <a:lnTo>
                  <a:pt x="2254" y="1192"/>
                </a:lnTo>
                <a:lnTo>
                  <a:pt x="2270" y="1192"/>
                </a:lnTo>
                <a:lnTo>
                  <a:pt x="2284" y="1194"/>
                </a:lnTo>
                <a:lnTo>
                  <a:pt x="2294" y="1192"/>
                </a:lnTo>
                <a:lnTo>
                  <a:pt x="2312" y="1188"/>
                </a:lnTo>
                <a:lnTo>
                  <a:pt x="2340" y="1182"/>
                </a:lnTo>
                <a:lnTo>
                  <a:pt x="2370" y="1176"/>
                </a:lnTo>
                <a:lnTo>
                  <a:pt x="2382" y="1172"/>
                </a:lnTo>
                <a:lnTo>
                  <a:pt x="2392" y="1168"/>
                </a:lnTo>
                <a:lnTo>
                  <a:pt x="2398" y="1164"/>
                </a:lnTo>
                <a:lnTo>
                  <a:pt x="2406" y="1162"/>
                </a:lnTo>
                <a:lnTo>
                  <a:pt x="2420" y="1160"/>
                </a:lnTo>
                <a:lnTo>
                  <a:pt x="2434" y="1158"/>
                </a:lnTo>
                <a:lnTo>
                  <a:pt x="2440" y="1156"/>
                </a:lnTo>
                <a:lnTo>
                  <a:pt x="2450" y="1152"/>
                </a:lnTo>
                <a:lnTo>
                  <a:pt x="2456" y="1148"/>
                </a:lnTo>
                <a:lnTo>
                  <a:pt x="2460" y="1144"/>
                </a:lnTo>
                <a:lnTo>
                  <a:pt x="2460" y="1140"/>
                </a:lnTo>
                <a:lnTo>
                  <a:pt x="2460" y="1138"/>
                </a:lnTo>
                <a:lnTo>
                  <a:pt x="2460" y="1134"/>
                </a:lnTo>
                <a:lnTo>
                  <a:pt x="2460" y="1132"/>
                </a:lnTo>
                <a:lnTo>
                  <a:pt x="2464" y="1128"/>
                </a:lnTo>
                <a:lnTo>
                  <a:pt x="2470" y="1126"/>
                </a:lnTo>
                <a:lnTo>
                  <a:pt x="2478" y="1124"/>
                </a:lnTo>
                <a:lnTo>
                  <a:pt x="2482" y="1124"/>
                </a:lnTo>
                <a:lnTo>
                  <a:pt x="2484" y="1126"/>
                </a:lnTo>
                <a:lnTo>
                  <a:pt x="2486" y="1130"/>
                </a:lnTo>
                <a:lnTo>
                  <a:pt x="2484" y="1140"/>
                </a:lnTo>
                <a:lnTo>
                  <a:pt x="2484" y="1146"/>
                </a:lnTo>
                <a:lnTo>
                  <a:pt x="2486" y="1146"/>
                </a:lnTo>
                <a:lnTo>
                  <a:pt x="2488" y="1146"/>
                </a:lnTo>
                <a:lnTo>
                  <a:pt x="2500" y="1146"/>
                </a:lnTo>
                <a:lnTo>
                  <a:pt x="2510" y="1146"/>
                </a:lnTo>
                <a:lnTo>
                  <a:pt x="2524" y="1150"/>
                </a:lnTo>
                <a:lnTo>
                  <a:pt x="2534" y="1152"/>
                </a:lnTo>
                <a:lnTo>
                  <a:pt x="2540" y="1156"/>
                </a:lnTo>
                <a:lnTo>
                  <a:pt x="2538" y="1156"/>
                </a:lnTo>
                <a:lnTo>
                  <a:pt x="2536" y="1158"/>
                </a:lnTo>
                <a:lnTo>
                  <a:pt x="2532" y="1160"/>
                </a:lnTo>
                <a:lnTo>
                  <a:pt x="2532" y="1162"/>
                </a:lnTo>
                <a:lnTo>
                  <a:pt x="2540" y="1164"/>
                </a:lnTo>
                <a:lnTo>
                  <a:pt x="2548" y="1166"/>
                </a:lnTo>
                <a:lnTo>
                  <a:pt x="2552" y="1168"/>
                </a:lnTo>
                <a:lnTo>
                  <a:pt x="2558" y="1166"/>
                </a:lnTo>
                <a:lnTo>
                  <a:pt x="2562" y="1164"/>
                </a:lnTo>
                <a:lnTo>
                  <a:pt x="2566" y="1164"/>
                </a:lnTo>
                <a:lnTo>
                  <a:pt x="2572" y="1164"/>
                </a:lnTo>
                <a:lnTo>
                  <a:pt x="2582" y="1166"/>
                </a:lnTo>
                <a:lnTo>
                  <a:pt x="2600" y="1170"/>
                </a:lnTo>
                <a:lnTo>
                  <a:pt x="2606" y="1170"/>
                </a:lnTo>
                <a:lnTo>
                  <a:pt x="2610" y="1170"/>
                </a:lnTo>
                <a:lnTo>
                  <a:pt x="2618" y="1172"/>
                </a:lnTo>
                <a:lnTo>
                  <a:pt x="2624" y="1172"/>
                </a:lnTo>
                <a:lnTo>
                  <a:pt x="2630" y="1172"/>
                </a:lnTo>
                <a:lnTo>
                  <a:pt x="2638" y="1166"/>
                </a:lnTo>
                <a:lnTo>
                  <a:pt x="2646" y="1160"/>
                </a:lnTo>
                <a:lnTo>
                  <a:pt x="2650" y="1158"/>
                </a:lnTo>
                <a:lnTo>
                  <a:pt x="2656" y="1158"/>
                </a:lnTo>
                <a:lnTo>
                  <a:pt x="2664" y="1156"/>
                </a:lnTo>
                <a:lnTo>
                  <a:pt x="2670" y="1152"/>
                </a:lnTo>
                <a:lnTo>
                  <a:pt x="2672" y="1148"/>
                </a:lnTo>
                <a:lnTo>
                  <a:pt x="2672" y="1146"/>
                </a:lnTo>
                <a:lnTo>
                  <a:pt x="2670" y="1142"/>
                </a:lnTo>
                <a:lnTo>
                  <a:pt x="2666" y="1138"/>
                </a:lnTo>
                <a:lnTo>
                  <a:pt x="2662" y="1136"/>
                </a:lnTo>
                <a:lnTo>
                  <a:pt x="2660" y="1134"/>
                </a:lnTo>
                <a:lnTo>
                  <a:pt x="2662" y="1128"/>
                </a:lnTo>
                <a:lnTo>
                  <a:pt x="2664" y="1126"/>
                </a:lnTo>
                <a:lnTo>
                  <a:pt x="2662" y="1124"/>
                </a:lnTo>
                <a:lnTo>
                  <a:pt x="2658" y="1122"/>
                </a:lnTo>
                <a:lnTo>
                  <a:pt x="2652" y="1122"/>
                </a:lnTo>
                <a:lnTo>
                  <a:pt x="2644" y="1124"/>
                </a:lnTo>
                <a:lnTo>
                  <a:pt x="2630" y="1132"/>
                </a:lnTo>
                <a:lnTo>
                  <a:pt x="2620" y="1136"/>
                </a:lnTo>
                <a:lnTo>
                  <a:pt x="2618" y="1136"/>
                </a:lnTo>
                <a:lnTo>
                  <a:pt x="2620" y="1132"/>
                </a:lnTo>
                <a:lnTo>
                  <a:pt x="2622" y="1126"/>
                </a:lnTo>
                <a:lnTo>
                  <a:pt x="2620" y="1122"/>
                </a:lnTo>
                <a:lnTo>
                  <a:pt x="2616" y="1118"/>
                </a:lnTo>
                <a:lnTo>
                  <a:pt x="2612" y="1116"/>
                </a:lnTo>
                <a:lnTo>
                  <a:pt x="2604" y="1112"/>
                </a:lnTo>
                <a:lnTo>
                  <a:pt x="2600" y="1110"/>
                </a:lnTo>
                <a:lnTo>
                  <a:pt x="2602" y="1108"/>
                </a:lnTo>
                <a:lnTo>
                  <a:pt x="2604" y="1108"/>
                </a:lnTo>
                <a:lnTo>
                  <a:pt x="2608" y="1108"/>
                </a:lnTo>
                <a:lnTo>
                  <a:pt x="2620" y="1112"/>
                </a:lnTo>
                <a:lnTo>
                  <a:pt x="2632" y="1116"/>
                </a:lnTo>
                <a:lnTo>
                  <a:pt x="2636" y="1118"/>
                </a:lnTo>
                <a:lnTo>
                  <a:pt x="2640" y="1116"/>
                </a:lnTo>
                <a:lnTo>
                  <a:pt x="2644" y="1112"/>
                </a:lnTo>
                <a:lnTo>
                  <a:pt x="2640" y="1108"/>
                </a:lnTo>
                <a:lnTo>
                  <a:pt x="2638" y="1106"/>
                </a:lnTo>
                <a:lnTo>
                  <a:pt x="2638" y="1104"/>
                </a:lnTo>
                <a:lnTo>
                  <a:pt x="2640" y="1102"/>
                </a:lnTo>
                <a:lnTo>
                  <a:pt x="2646" y="1098"/>
                </a:lnTo>
                <a:close/>
                <a:moveTo>
                  <a:pt x="2506" y="806"/>
                </a:moveTo>
                <a:lnTo>
                  <a:pt x="2506" y="806"/>
                </a:lnTo>
                <a:lnTo>
                  <a:pt x="2492" y="808"/>
                </a:lnTo>
                <a:lnTo>
                  <a:pt x="2480" y="812"/>
                </a:lnTo>
                <a:lnTo>
                  <a:pt x="2470" y="814"/>
                </a:lnTo>
                <a:lnTo>
                  <a:pt x="2464" y="818"/>
                </a:lnTo>
                <a:lnTo>
                  <a:pt x="2460" y="822"/>
                </a:lnTo>
                <a:lnTo>
                  <a:pt x="2460" y="824"/>
                </a:lnTo>
                <a:lnTo>
                  <a:pt x="2462" y="828"/>
                </a:lnTo>
                <a:lnTo>
                  <a:pt x="2468" y="830"/>
                </a:lnTo>
                <a:lnTo>
                  <a:pt x="2480" y="834"/>
                </a:lnTo>
                <a:lnTo>
                  <a:pt x="2488" y="836"/>
                </a:lnTo>
                <a:lnTo>
                  <a:pt x="2492" y="840"/>
                </a:lnTo>
                <a:lnTo>
                  <a:pt x="2494" y="846"/>
                </a:lnTo>
                <a:lnTo>
                  <a:pt x="2498" y="850"/>
                </a:lnTo>
                <a:lnTo>
                  <a:pt x="2504" y="856"/>
                </a:lnTo>
                <a:lnTo>
                  <a:pt x="2514" y="862"/>
                </a:lnTo>
                <a:lnTo>
                  <a:pt x="2524" y="872"/>
                </a:lnTo>
                <a:lnTo>
                  <a:pt x="2530" y="874"/>
                </a:lnTo>
                <a:lnTo>
                  <a:pt x="2530" y="870"/>
                </a:lnTo>
                <a:lnTo>
                  <a:pt x="2532" y="868"/>
                </a:lnTo>
                <a:lnTo>
                  <a:pt x="2534" y="866"/>
                </a:lnTo>
                <a:lnTo>
                  <a:pt x="2540" y="862"/>
                </a:lnTo>
                <a:lnTo>
                  <a:pt x="2546" y="852"/>
                </a:lnTo>
                <a:lnTo>
                  <a:pt x="2560" y="830"/>
                </a:lnTo>
                <a:lnTo>
                  <a:pt x="2562" y="826"/>
                </a:lnTo>
                <a:lnTo>
                  <a:pt x="2562" y="822"/>
                </a:lnTo>
                <a:lnTo>
                  <a:pt x="2560" y="818"/>
                </a:lnTo>
                <a:lnTo>
                  <a:pt x="2554" y="816"/>
                </a:lnTo>
                <a:lnTo>
                  <a:pt x="2546" y="812"/>
                </a:lnTo>
                <a:lnTo>
                  <a:pt x="2540" y="808"/>
                </a:lnTo>
                <a:lnTo>
                  <a:pt x="2530" y="806"/>
                </a:lnTo>
                <a:lnTo>
                  <a:pt x="2506" y="806"/>
                </a:lnTo>
                <a:close/>
                <a:moveTo>
                  <a:pt x="4290" y="1312"/>
                </a:moveTo>
                <a:lnTo>
                  <a:pt x="4290" y="1312"/>
                </a:lnTo>
                <a:lnTo>
                  <a:pt x="4284" y="1304"/>
                </a:lnTo>
                <a:lnTo>
                  <a:pt x="4280" y="1300"/>
                </a:lnTo>
                <a:lnTo>
                  <a:pt x="4274" y="1296"/>
                </a:lnTo>
                <a:lnTo>
                  <a:pt x="4268" y="1296"/>
                </a:lnTo>
                <a:lnTo>
                  <a:pt x="4256" y="1296"/>
                </a:lnTo>
                <a:lnTo>
                  <a:pt x="4246" y="1300"/>
                </a:lnTo>
                <a:lnTo>
                  <a:pt x="4236" y="1304"/>
                </a:lnTo>
                <a:lnTo>
                  <a:pt x="4230" y="1304"/>
                </a:lnTo>
                <a:lnTo>
                  <a:pt x="4228" y="1304"/>
                </a:lnTo>
                <a:lnTo>
                  <a:pt x="4228" y="1302"/>
                </a:lnTo>
                <a:lnTo>
                  <a:pt x="4230" y="1292"/>
                </a:lnTo>
                <a:lnTo>
                  <a:pt x="4232" y="1282"/>
                </a:lnTo>
                <a:lnTo>
                  <a:pt x="4232" y="1280"/>
                </a:lnTo>
                <a:lnTo>
                  <a:pt x="4230" y="1278"/>
                </a:lnTo>
                <a:lnTo>
                  <a:pt x="4224" y="1278"/>
                </a:lnTo>
                <a:lnTo>
                  <a:pt x="4216" y="1280"/>
                </a:lnTo>
                <a:lnTo>
                  <a:pt x="4202" y="1284"/>
                </a:lnTo>
                <a:lnTo>
                  <a:pt x="4200" y="1284"/>
                </a:lnTo>
                <a:lnTo>
                  <a:pt x="4198" y="1282"/>
                </a:lnTo>
                <a:lnTo>
                  <a:pt x="4200" y="1276"/>
                </a:lnTo>
                <a:lnTo>
                  <a:pt x="4202" y="1268"/>
                </a:lnTo>
                <a:lnTo>
                  <a:pt x="4202" y="1264"/>
                </a:lnTo>
                <a:lnTo>
                  <a:pt x="4200" y="1258"/>
                </a:lnTo>
                <a:lnTo>
                  <a:pt x="4196" y="1254"/>
                </a:lnTo>
                <a:lnTo>
                  <a:pt x="4182" y="1248"/>
                </a:lnTo>
                <a:lnTo>
                  <a:pt x="4162" y="1234"/>
                </a:lnTo>
                <a:lnTo>
                  <a:pt x="4150" y="1228"/>
                </a:lnTo>
                <a:lnTo>
                  <a:pt x="4136" y="1224"/>
                </a:lnTo>
                <a:lnTo>
                  <a:pt x="4124" y="1224"/>
                </a:lnTo>
                <a:lnTo>
                  <a:pt x="4112" y="1224"/>
                </a:lnTo>
                <a:lnTo>
                  <a:pt x="4100" y="1224"/>
                </a:lnTo>
                <a:lnTo>
                  <a:pt x="4090" y="1222"/>
                </a:lnTo>
                <a:lnTo>
                  <a:pt x="4084" y="1216"/>
                </a:lnTo>
                <a:lnTo>
                  <a:pt x="4082" y="1214"/>
                </a:lnTo>
                <a:lnTo>
                  <a:pt x="4080" y="1208"/>
                </a:lnTo>
                <a:lnTo>
                  <a:pt x="4080" y="1204"/>
                </a:lnTo>
                <a:lnTo>
                  <a:pt x="4076" y="1200"/>
                </a:lnTo>
                <a:lnTo>
                  <a:pt x="4072" y="1196"/>
                </a:lnTo>
                <a:lnTo>
                  <a:pt x="4066" y="1194"/>
                </a:lnTo>
                <a:lnTo>
                  <a:pt x="4054" y="1192"/>
                </a:lnTo>
                <a:lnTo>
                  <a:pt x="4040" y="1192"/>
                </a:lnTo>
                <a:lnTo>
                  <a:pt x="4030" y="1192"/>
                </a:lnTo>
                <a:lnTo>
                  <a:pt x="4024" y="1192"/>
                </a:lnTo>
                <a:lnTo>
                  <a:pt x="4022" y="1190"/>
                </a:lnTo>
                <a:lnTo>
                  <a:pt x="4022" y="1188"/>
                </a:lnTo>
                <a:lnTo>
                  <a:pt x="4032" y="1182"/>
                </a:lnTo>
                <a:lnTo>
                  <a:pt x="4038" y="1178"/>
                </a:lnTo>
                <a:lnTo>
                  <a:pt x="4040" y="1172"/>
                </a:lnTo>
                <a:lnTo>
                  <a:pt x="4042" y="1168"/>
                </a:lnTo>
                <a:lnTo>
                  <a:pt x="4042" y="1164"/>
                </a:lnTo>
                <a:lnTo>
                  <a:pt x="4040" y="1156"/>
                </a:lnTo>
                <a:lnTo>
                  <a:pt x="4036" y="1150"/>
                </a:lnTo>
                <a:lnTo>
                  <a:pt x="4030" y="1144"/>
                </a:lnTo>
                <a:lnTo>
                  <a:pt x="4028" y="1142"/>
                </a:lnTo>
                <a:lnTo>
                  <a:pt x="4032" y="1140"/>
                </a:lnTo>
                <a:lnTo>
                  <a:pt x="4042" y="1142"/>
                </a:lnTo>
                <a:lnTo>
                  <a:pt x="4056" y="1144"/>
                </a:lnTo>
                <a:lnTo>
                  <a:pt x="4068" y="1144"/>
                </a:lnTo>
                <a:lnTo>
                  <a:pt x="4078" y="1142"/>
                </a:lnTo>
                <a:lnTo>
                  <a:pt x="4084" y="1140"/>
                </a:lnTo>
                <a:lnTo>
                  <a:pt x="4084" y="1138"/>
                </a:lnTo>
                <a:lnTo>
                  <a:pt x="4084" y="1136"/>
                </a:lnTo>
                <a:lnTo>
                  <a:pt x="4078" y="1130"/>
                </a:lnTo>
                <a:lnTo>
                  <a:pt x="4066" y="1126"/>
                </a:lnTo>
                <a:lnTo>
                  <a:pt x="4046" y="1122"/>
                </a:lnTo>
                <a:lnTo>
                  <a:pt x="4018" y="1116"/>
                </a:lnTo>
                <a:lnTo>
                  <a:pt x="4016" y="1116"/>
                </a:lnTo>
                <a:lnTo>
                  <a:pt x="4016" y="1114"/>
                </a:lnTo>
                <a:lnTo>
                  <a:pt x="4020" y="1112"/>
                </a:lnTo>
                <a:lnTo>
                  <a:pt x="4040" y="1110"/>
                </a:lnTo>
                <a:lnTo>
                  <a:pt x="4052" y="1106"/>
                </a:lnTo>
                <a:lnTo>
                  <a:pt x="4062" y="1102"/>
                </a:lnTo>
                <a:lnTo>
                  <a:pt x="4064" y="1098"/>
                </a:lnTo>
                <a:lnTo>
                  <a:pt x="4066" y="1094"/>
                </a:lnTo>
                <a:lnTo>
                  <a:pt x="4066" y="1092"/>
                </a:lnTo>
                <a:lnTo>
                  <a:pt x="4066" y="1088"/>
                </a:lnTo>
                <a:lnTo>
                  <a:pt x="4062" y="1082"/>
                </a:lnTo>
                <a:lnTo>
                  <a:pt x="4054" y="1074"/>
                </a:lnTo>
                <a:lnTo>
                  <a:pt x="4044" y="1070"/>
                </a:lnTo>
                <a:lnTo>
                  <a:pt x="4036" y="1066"/>
                </a:lnTo>
                <a:lnTo>
                  <a:pt x="4026" y="1066"/>
                </a:lnTo>
                <a:lnTo>
                  <a:pt x="4020" y="1068"/>
                </a:lnTo>
                <a:lnTo>
                  <a:pt x="4014" y="1070"/>
                </a:lnTo>
                <a:lnTo>
                  <a:pt x="4004" y="1074"/>
                </a:lnTo>
                <a:lnTo>
                  <a:pt x="3988" y="1074"/>
                </a:lnTo>
                <a:lnTo>
                  <a:pt x="3982" y="1072"/>
                </a:lnTo>
                <a:lnTo>
                  <a:pt x="3980" y="1070"/>
                </a:lnTo>
                <a:lnTo>
                  <a:pt x="3982" y="1066"/>
                </a:lnTo>
                <a:lnTo>
                  <a:pt x="3994" y="1062"/>
                </a:lnTo>
                <a:lnTo>
                  <a:pt x="4014" y="1054"/>
                </a:lnTo>
                <a:lnTo>
                  <a:pt x="4020" y="1052"/>
                </a:lnTo>
                <a:lnTo>
                  <a:pt x="4022" y="1050"/>
                </a:lnTo>
                <a:lnTo>
                  <a:pt x="4018" y="1046"/>
                </a:lnTo>
                <a:lnTo>
                  <a:pt x="4012" y="1042"/>
                </a:lnTo>
                <a:lnTo>
                  <a:pt x="3984" y="1030"/>
                </a:lnTo>
                <a:lnTo>
                  <a:pt x="3966" y="1024"/>
                </a:lnTo>
                <a:lnTo>
                  <a:pt x="3952" y="1022"/>
                </a:lnTo>
                <a:lnTo>
                  <a:pt x="3942" y="1024"/>
                </a:lnTo>
                <a:lnTo>
                  <a:pt x="3934" y="1028"/>
                </a:lnTo>
                <a:lnTo>
                  <a:pt x="3930" y="1030"/>
                </a:lnTo>
                <a:lnTo>
                  <a:pt x="3926" y="1030"/>
                </a:lnTo>
                <a:lnTo>
                  <a:pt x="3926" y="1026"/>
                </a:lnTo>
                <a:lnTo>
                  <a:pt x="3928" y="1018"/>
                </a:lnTo>
                <a:lnTo>
                  <a:pt x="3928" y="1008"/>
                </a:lnTo>
                <a:lnTo>
                  <a:pt x="3926" y="1004"/>
                </a:lnTo>
                <a:lnTo>
                  <a:pt x="3922" y="1002"/>
                </a:lnTo>
                <a:lnTo>
                  <a:pt x="3916" y="1002"/>
                </a:lnTo>
                <a:lnTo>
                  <a:pt x="3908" y="1004"/>
                </a:lnTo>
                <a:lnTo>
                  <a:pt x="3904" y="1002"/>
                </a:lnTo>
                <a:lnTo>
                  <a:pt x="3904" y="996"/>
                </a:lnTo>
                <a:lnTo>
                  <a:pt x="3902" y="988"/>
                </a:lnTo>
                <a:lnTo>
                  <a:pt x="3896" y="982"/>
                </a:lnTo>
                <a:lnTo>
                  <a:pt x="3888" y="974"/>
                </a:lnTo>
                <a:lnTo>
                  <a:pt x="3880" y="970"/>
                </a:lnTo>
                <a:lnTo>
                  <a:pt x="3868" y="968"/>
                </a:lnTo>
                <a:lnTo>
                  <a:pt x="3858" y="968"/>
                </a:lnTo>
                <a:lnTo>
                  <a:pt x="3846" y="972"/>
                </a:lnTo>
                <a:lnTo>
                  <a:pt x="3836" y="980"/>
                </a:lnTo>
                <a:lnTo>
                  <a:pt x="3826" y="986"/>
                </a:lnTo>
                <a:lnTo>
                  <a:pt x="3820" y="988"/>
                </a:lnTo>
                <a:lnTo>
                  <a:pt x="3814" y="988"/>
                </a:lnTo>
                <a:lnTo>
                  <a:pt x="3810" y="982"/>
                </a:lnTo>
                <a:lnTo>
                  <a:pt x="3806" y="976"/>
                </a:lnTo>
                <a:lnTo>
                  <a:pt x="3802" y="966"/>
                </a:lnTo>
                <a:lnTo>
                  <a:pt x="3792" y="944"/>
                </a:lnTo>
                <a:lnTo>
                  <a:pt x="3788" y="936"/>
                </a:lnTo>
                <a:lnTo>
                  <a:pt x="3784" y="932"/>
                </a:lnTo>
                <a:lnTo>
                  <a:pt x="3778" y="930"/>
                </a:lnTo>
                <a:lnTo>
                  <a:pt x="3774" y="932"/>
                </a:lnTo>
                <a:lnTo>
                  <a:pt x="3768" y="932"/>
                </a:lnTo>
                <a:lnTo>
                  <a:pt x="3762" y="930"/>
                </a:lnTo>
                <a:lnTo>
                  <a:pt x="3758" y="926"/>
                </a:lnTo>
                <a:lnTo>
                  <a:pt x="3750" y="918"/>
                </a:lnTo>
                <a:lnTo>
                  <a:pt x="3744" y="908"/>
                </a:lnTo>
                <a:lnTo>
                  <a:pt x="3736" y="902"/>
                </a:lnTo>
                <a:lnTo>
                  <a:pt x="3726" y="898"/>
                </a:lnTo>
                <a:lnTo>
                  <a:pt x="3718" y="896"/>
                </a:lnTo>
                <a:lnTo>
                  <a:pt x="3700" y="896"/>
                </a:lnTo>
                <a:lnTo>
                  <a:pt x="3692" y="894"/>
                </a:lnTo>
                <a:lnTo>
                  <a:pt x="3686" y="892"/>
                </a:lnTo>
                <a:lnTo>
                  <a:pt x="3668" y="884"/>
                </a:lnTo>
                <a:lnTo>
                  <a:pt x="3658" y="882"/>
                </a:lnTo>
                <a:lnTo>
                  <a:pt x="3646" y="880"/>
                </a:lnTo>
                <a:lnTo>
                  <a:pt x="3636" y="882"/>
                </a:lnTo>
                <a:lnTo>
                  <a:pt x="3624" y="884"/>
                </a:lnTo>
                <a:lnTo>
                  <a:pt x="3614" y="892"/>
                </a:lnTo>
                <a:lnTo>
                  <a:pt x="3606" y="904"/>
                </a:lnTo>
                <a:lnTo>
                  <a:pt x="3604" y="908"/>
                </a:lnTo>
                <a:lnTo>
                  <a:pt x="3600" y="912"/>
                </a:lnTo>
                <a:lnTo>
                  <a:pt x="3596" y="914"/>
                </a:lnTo>
                <a:lnTo>
                  <a:pt x="3592" y="916"/>
                </a:lnTo>
                <a:lnTo>
                  <a:pt x="3584" y="914"/>
                </a:lnTo>
                <a:lnTo>
                  <a:pt x="3578" y="908"/>
                </a:lnTo>
                <a:lnTo>
                  <a:pt x="3570" y="904"/>
                </a:lnTo>
                <a:lnTo>
                  <a:pt x="3560" y="900"/>
                </a:lnTo>
                <a:lnTo>
                  <a:pt x="3556" y="900"/>
                </a:lnTo>
                <a:lnTo>
                  <a:pt x="3552" y="900"/>
                </a:lnTo>
                <a:lnTo>
                  <a:pt x="3548" y="902"/>
                </a:lnTo>
                <a:lnTo>
                  <a:pt x="3544" y="906"/>
                </a:lnTo>
                <a:lnTo>
                  <a:pt x="3536" y="916"/>
                </a:lnTo>
                <a:lnTo>
                  <a:pt x="3528" y="922"/>
                </a:lnTo>
                <a:lnTo>
                  <a:pt x="3520" y="926"/>
                </a:lnTo>
                <a:lnTo>
                  <a:pt x="3516" y="928"/>
                </a:lnTo>
                <a:lnTo>
                  <a:pt x="3512" y="930"/>
                </a:lnTo>
                <a:lnTo>
                  <a:pt x="3510" y="928"/>
                </a:lnTo>
                <a:lnTo>
                  <a:pt x="3512" y="922"/>
                </a:lnTo>
                <a:lnTo>
                  <a:pt x="3518" y="916"/>
                </a:lnTo>
                <a:lnTo>
                  <a:pt x="3522" y="908"/>
                </a:lnTo>
                <a:lnTo>
                  <a:pt x="3526" y="898"/>
                </a:lnTo>
                <a:lnTo>
                  <a:pt x="3528" y="888"/>
                </a:lnTo>
                <a:lnTo>
                  <a:pt x="3528" y="878"/>
                </a:lnTo>
                <a:lnTo>
                  <a:pt x="3526" y="870"/>
                </a:lnTo>
                <a:lnTo>
                  <a:pt x="3522" y="862"/>
                </a:lnTo>
                <a:lnTo>
                  <a:pt x="3516" y="856"/>
                </a:lnTo>
                <a:lnTo>
                  <a:pt x="3508" y="850"/>
                </a:lnTo>
                <a:lnTo>
                  <a:pt x="3500" y="848"/>
                </a:lnTo>
                <a:lnTo>
                  <a:pt x="3498" y="842"/>
                </a:lnTo>
                <a:lnTo>
                  <a:pt x="3496" y="836"/>
                </a:lnTo>
                <a:lnTo>
                  <a:pt x="3494" y="828"/>
                </a:lnTo>
                <a:lnTo>
                  <a:pt x="3494" y="822"/>
                </a:lnTo>
                <a:lnTo>
                  <a:pt x="3492" y="816"/>
                </a:lnTo>
                <a:lnTo>
                  <a:pt x="3488" y="812"/>
                </a:lnTo>
                <a:lnTo>
                  <a:pt x="3480" y="808"/>
                </a:lnTo>
                <a:lnTo>
                  <a:pt x="3466" y="808"/>
                </a:lnTo>
                <a:lnTo>
                  <a:pt x="3446" y="808"/>
                </a:lnTo>
                <a:lnTo>
                  <a:pt x="3424" y="810"/>
                </a:lnTo>
                <a:lnTo>
                  <a:pt x="3400" y="816"/>
                </a:lnTo>
                <a:lnTo>
                  <a:pt x="3376" y="822"/>
                </a:lnTo>
                <a:lnTo>
                  <a:pt x="3358" y="830"/>
                </a:lnTo>
                <a:lnTo>
                  <a:pt x="3350" y="834"/>
                </a:lnTo>
                <a:lnTo>
                  <a:pt x="3344" y="840"/>
                </a:lnTo>
                <a:lnTo>
                  <a:pt x="3340" y="846"/>
                </a:lnTo>
                <a:lnTo>
                  <a:pt x="3340" y="854"/>
                </a:lnTo>
                <a:lnTo>
                  <a:pt x="3338" y="858"/>
                </a:lnTo>
                <a:lnTo>
                  <a:pt x="3336" y="864"/>
                </a:lnTo>
                <a:lnTo>
                  <a:pt x="3334" y="866"/>
                </a:lnTo>
                <a:lnTo>
                  <a:pt x="3332" y="868"/>
                </a:lnTo>
                <a:lnTo>
                  <a:pt x="3326" y="868"/>
                </a:lnTo>
                <a:lnTo>
                  <a:pt x="3320" y="868"/>
                </a:lnTo>
                <a:lnTo>
                  <a:pt x="3314" y="868"/>
                </a:lnTo>
                <a:lnTo>
                  <a:pt x="3312" y="870"/>
                </a:lnTo>
                <a:lnTo>
                  <a:pt x="3312" y="872"/>
                </a:lnTo>
                <a:lnTo>
                  <a:pt x="3314" y="880"/>
                </a:lnTo>
                <a:lnTo>
                  <a:pt x="3322" y="898"/>
                </a:lnTo>
                <a:lnTo>
                  <a:pt x="3328" y="914"/>
                </a:lnTo>
                <a:lnTo>
                  <a:pt x="3330" y="920"/>
                </a:lnTo>
                <a:lnTo>
                  <a:pt x="3330" y="924"/>
                </a:lnTo>
                <a:lnTo>
                  <a:pt x="3328" y="926"/>
                </a:lnTo>
                <a:lnTo>
                  <a:pt x="3326" y="928"/>
                </a:lnTo>
                <a:lnTo>
                  <a:pt x="3320" y="930"/>
                </a:lnTo>
                <a:lnTo>
                  <a:pt x="3314" y="930"/>
                </a:lnTo>
                <a:lnTo>
                  <a:pt x="3310" y="932"/>
                </a:lnTo>
                <a:lnTo>
                  <a:pt x="3308" y="934"/>
                </a:lnTo>
                <a:lnTo>
                  <a:pt x="3310" y="936"/>
                </a:lnTo>
                <a:lnTo>
                  <a:pt x="3316" y="946"/>
                </a:lnTo>
                <a:lnTo>
                  <a:pt x="3324" y="956"/>
                </a:lnTo>
                <a:lnTo>
                  <a:pt x="3334" y="960"/>
                </a:lnTo>
                <a:lnTo>
                  <a:pt x="3340" y="962"/>
                </a:lnTo>
                <a:lnTo>
                  <a:pt x="3348" y="962"/>
                </a:lnTo>
                <a:lnTo>
                  <a:pt x="3354" y="962"/>
                </a:lnTo>
                <a:lnTo>
                  <a:pt x="3358" y="962"/>
                </a:lnTo>
                <a:lnTo>
                  <a:pt x="3362" y="966"/>
                </a:lnTo>
                <a:lnTo>
                  <a:pt x="3364" y="974"/>
                </a:lnTo>
                <a:lnTo>
                  <a:pt x="3362" y="978"/>
                </a:lnTo>
                <a:lnTo>
                  <a:pt x="3360" y="980"/>
                </a:lnTo>
                <a:lnTo>
                  <a:pt x="3356" y="982"/>
                </a:lnTo>
                <a:lnTo>
                  <a:pt x="3350" y="982"/>
                </a:lnTo>
                <a:lnTo>
                  <a:pt x="3336" y="978"/>
                </a:lnTo>
                <a:lnTo>
                  <a:pt x="3320" y="970"/>
                </a:lnTo>
                <a:lnTo>
                  <a:pt x="3304" y="960"/>
                </a:lnTo>
                <a:lnTo>
                  <a:pt x="3294" y="948"/>
                </a:lnTo>
                <a:lnTo>
                  <a:pt x="3290" y="940"/>
                </a:lnTo>
                <a:lnTo>
                  <a:pt x="3288" y="934"/>
                </a:lnTo>
                <a:lnTo>
                  <a:pt x="3288" y="926"/>
                </a:lnTo>
                <a:lnTo>
                  <a:pt x="3290" y="920"/>
                </a:lnTo>
                <a:lnTo>
                  <a:pt x="3294" y="908"/>
                </a:lnTo>
                <a:lnTo>
                  <a:pt x="3294" y="900"/>
                </a:lnTo>
                <a:lnTo>
                  <a:pt x="3290" y="894"/>
                </a:lnTo>
                <a:lnTo>
                  <a:pt x="3286" y="890"/>
                </a:lnTo>
                <a:lnTo>
                  <a:pt x="3282" y="886"/>
                </a:lnTo>
                <a:lnTo>
                  <a:pt x="3280" y="880"/>
                </a:lnTo>
                <a:lnTo>
                  <a:pt x="3284" y="872"/>
                </a:lnTo>
                <a:lnTo>
                  <a:pt x="3294" y="856"/>
                </a:lnTo>
                <a:lnTo>
                  <a:pt x="3308" y="842"/>
                </a:lnTo>
                <a:lnTo>
                  <a:pt x="3320" y="832"/>
                </a:lnTo>
                <a:lnTo>
                  <a:pt x="3330" y="824"/>
                </a:lnTo>
                <a:lnTo>
                  <a:pt x="3338" y="820"/>
                </a:lnTo>
                <a:lnTo>
                  <a:pt x="3348" y="814"/>
                </a:lnTo>
                <a:lnTo>
                  <a:pt x="3352" y="812"/>
                </a:lnTo>
                <a:lnTo>
                  <a:pt x="3354" y="808"/>
                </a:lnTo>
                <a:lnTo>
                  <a:pt x="3352" y="804"/>
                </a:lnTo>
                <a:lnTo>
                  <a:pt x="3350" y="802"/>
                </a:lnTo>
                <a:lnTo>
                  <a:pt x="3340" y="800"/>
                </a:lnTo>
                <a:lnTo>
                  <a:pt x="3324" y="798"/>
                </a:lnTo>
                <a:lnTo>
                  <a:pt x="3304" y="798"/>
                </a:lnTo>
                <a:lnTo>
                  <a:pt x="3280" y="800"/>
                </a:lnTo>
                <a:lnTo>
                  <a:pt x="3256" y="806"/>
                </a:lnTo>
                <a:lnTo>
                  <a:pt x="3232" y="814"/>
                </a:lnTo>
                <a:lnTo>
                  <a:pt x="3210" y="824"/>
                </a:lnTo>
                <a:lnTo>
                  <a:pt x="3192" y="836"/>
                </a:lnTo>
                <a:lnTo>
                  <a:pt x="3182" y="846"/>
                </a:lnTo>
                <a:lnTo>
                  <a:pt x="3176" y="852"/>
                </a:lnTo>
                <a:lnTo>
                  <a:pt x="3172" y="858"/>
                </a:lnTo>
                <a:lnTo>
                  <a:pt x="3172" y="868"/>
                </a:lnTo>
                <a:lnTo>
                  <a:pt x="3170" y="874"/>
                </a:lnTo>
                <a:lnTo>
                  <a:pt x="3164" y="880"/>
                </a:lnTo>
                <a:lnTo>
                  <a:pt x="3158" y="886"/>
                </a:lnTo>
                <a:lnTo>
                  <a:pt x="3154" y="894"/>
                </a:lnTo>
                <a:lnTo>
                  <a:pt x="3148" y="910"/>
                </a:lnTo>
                <a:lnTo>
                  <a:pt x="3146" y="928"/>
                </a:lnTo>
                <a:lnTo>
                  <a:pt x="3142" y="954"/>
                </a:lnTo>
                <a:lnTo>
                  <a:pt x="3140" y="966"/>
                </a:lnTo>
                <a:lnTo>
                  <a:pt x="3140" y="976"/>
                </a:lnTo>
                <a:lnTo>
                  <a:pt x="3142" y="982"/>
                </a:lnTo>
                <a:lnTo>
                  <a:pt x="3148" y="986"/>
                </a:lnTo>
                <a:lnTo>
                  <a:pt x="3156" y="990"/>
                </a:lnTo>
                <a:lnTo>
                  <a:pt x="3166" y="992"/>
                </a:lnTo>
                <a:lnTo>
                  <a:pt x="3198" y="994"/>
                </a:lnTo>
                <a:lnTo>
                  <a:pt x="3216" y="996"/>
                </a:lnTo>
                <a:lnTo>
                  <a:pt x="3230" y="1000"/>
                </a:lnTo>
                <a:lnTo>
                  <a:pt x="3240" y="1004"/>
                </a:lnTo>
                <a:lnTo>
                  <a:pt x="3246" y="1008"/>
                </a:lnTo>
                <a:lnTo>
                  <a:pt x="3246" y="1012"/>
                </a:lnTo>
                <a:lnTo>
                  <a:pt x="3244" y="1016"/>
                </a:lnTo>
                <a:lnTo>
                  <a:pt x="3234" y="1016"/>
                </a:lnTo>
                <a:lnTo>
                  <a:pt x="3220" y="1016"/>
                </a:lnTo>
                <a:lnTo>
                  <a:pt x="3190" y="1014"/>
                </a:lnTo>
                <a:lnTo>
                  <a:pt x="3180" y="1014"/>
                </a:lnTo>
                <a:lnTo>
                  <a:pt x="3174" y="1016"/>
                </a:lnTo>
                <a:lnTo>
                  <a:pt x="3172" y="1018"/>
                </a:lnTo>
                <a:lnTo>
                  <a:pt x="3172" y="1020"/>
                </a:lnTo>
                <a:lnTo>
                  <a:pt x="3174" y="1026"/>
                </a:lnTo>
                <a:lnTo>
                  <a:pt x="3180" y="1036"/>
                </a:lnTo>
                <a:lnTo>
                  <a:pt x="3192" y="1048"/>
                </a:lnTo>
                <a:lnTo>
                  <a:pt x="3208" y="1060"/>
                </a:lnTo>
                <a:lnTo>
                  <a:pt x="3222" y="1066"/>
                </a:lnTo>
                <a:lnTo>
                  <a:pt x="3234" y="1068"/>
                </a:lnTo>
                <a:lnTo>
                  <a:pt x="3248" y="1068"/>
                </a:lnTo>
                <a:lnTo>
                  <a:pt x="3260" y="1066"/>
                </a:lnTo>
                <a:lnTo>
                  <a:pt x="3270" y="1066"/>
                </a:lnTo>
                <a:lnTo>
                  <a:pt x="3282" y="1068"/>
                </a:lnTo>
                <a:lnTo>
                  <a:pt x="3292" y="1074"/>
                </a:lnTo>
                <a:lnTo>
                  <a:pt x="3304" y="1082"/>
                </a:lnTo>
                <a:lnTo>
                  <a:pt x="3314" y="1086"/>
                </a:lnTo>
                <a:lnTo>
                  <a:pt x="3324" y="1086"/>
                </a:lnTo>
                <a:lnTo>
                  <a:pt x="3334" y="1086"/>
                </a:lnTo>
                <a:lnTo>
                  <a:pt x="3350" y="1084"/>
                </a:lnTo>
                <a:lnTo>
                  <a:pt x="3360" y="1082"/>
                </a:lnTo>
                <a:lnTo>
                  <a:pt x="3374" y="1086"/>
                </a:lnTo>
                <a:lnTo>
                  <a:pt x="3386" y="1088"/>
                </a:lnTo>
                <a:lnTo>
                  <a:pt x="3400" y="1088"/>
                </a:lnTo>
                <a:lnTo>
                  <a:pt x="3408" y="1086"/>
                </a:lnTo>
                <a:lnTo>
                  <a:pt x="3416" y="1088"/>
                </a:lnTo>
                <a:lnTo>
                  <a:pt x="3428" y="1090"/>
                </a:lnTo>
                <a:lnTo>
                  <a:pt x="3444" y="1094"/>
                </a:lnTo>
                <a:lnTo>
                  <a:pt x="3456" y="1096"/>
                </a:lnTo>
                <a:lnTo>
                  <a:pt x="3464" y="1096"/>
                </a:lnTo>
                <a:lnTo>
                  <a:pt x="3470" y="1094"/>
                </a:lnTo>
                <a:lnTo>
                  <a:pt x="3472" y="1090"/>
                </a:lnTo>
                <a:lnTo>
                  <a:pt x="3476" y="1088"/>
                </a:lnTo>
                <a:lnTo>
                  <a:pt x="3480" y="1086"/>
                </a:lnTo>
                <a:lnTo>
                  <a:pt x="3486" y="1088"/>
                </a:lnTo>
                <a:lnTo>
                  <a:pt x="3496" y="1096"/>
                </a:lnTo>
                <a:lnTo>
                  <a:pt x="3514" y="1108"/>
                </a:lnTo>
                <a:lnTo>
                  <a:pt x="3518" y="1110"/>
                </a:lnTo>
                <a:lnTo>
                  <a:pt x="3520" y="1110"/>
                </a:lnTo>
                <a:lnTo>
                  <a:pt x="3520" y="1108"/>
                </a:lnTo>
                <a:lnTo>
                  <a:pt x="3516" y="1102"/>
                </a:lnTo>
                <a:lnTo>
                  <a:pt x="3504" y="1088"/>
                </a:lnTo>
                <a:lnTo>
                  <a:pt x="3498" y="1082"/>
                </a:lnTo>
                <a:lnTo>
                  <a:pt x="3498" y="1080"/>
                </a:lnTo>
                <a:lnTo>
                  <a:pt x="3500" y="1080"/>
                </a:lnTo>
                <a:lnTo>
                  <a:pt x="3508" y="1078"/>
                </a:lnTo>
                <a:lnTo>
                  <a:pt x="3520" y="1080"/>
                </a:lnTo>
                <a:lnTo>
                  <a:pt x="3550" y="1088"/>
                </a:lnTo>
                <a:lnTo>
                  <a:pt x="3584" y="1094"/>
                </a:lnTo>
                <a:lnTo>
                  <a:pt x="3590" y="1094"/>
                </a:lnTo>
                <a:lnTo>
                  <a:pt x="3596" y="1094"/>
                </a:lnTo>
                <a:lnTo>
                  <a:pt x="3598" y="1092"/>
                </a:lnTo>
                <a:lnTo>
                  <a:pt x="3600" y="1088"/>
                </a:lnTo>
                <a:lnTo>
                  <a:pt x="3602" y="1080"/>
                </a:lnTo>
                <a:lnTo>
                  <a:pt x="3600" y="1072"/>
                </a:lnTo>
                <a:lnTo>
                  <a:pt x="3596" y="1058"/>
                </a:lnTo>
                <a:lnTo>
                  <a:pt x="3596" y="1056"/>
                </a:lnTo>
                <a:lnTo>
                  <a:pt x="3598" y="1056"/>
                </a:lnTo>
                <a:lnTo>
                  <a:pt x="3604" y="1062"/>
                </a:lnTo>
                <a:lnTo>
                  <a:pt x="3612" y="1068"/>
                </a:lnTo>
                <a:lnTo>
                  <a:pt x="3618" y="1070"/>
                </a:lnTo>
                <a:lnTo>
                  <a:pt x="3626" y="1070"/>
                </a:lnTo>
                <a:lnTo>
                  <a:pt x="3630" y="1070"/>
                </a:lnTo>
                <a:lnTo>
                  <a:pt x="3636" y="1070"/>
                </a:lnTo>
                <a:lnTo>
                  <a:pt x="3638" y="1070"/>
                </a:lnTo>
                <a:lnTo>
                  <a:pt x="3640" y="1074"/>
                </a:lnTo>
                <a:lnTo>
                  <a:pt x="3642" y="1082"/>
                </a:lnTo>
                <a:lnTo>
                  <a:pt x="3642" y="1092"/>
                </a:lnTo>
                <a:lnTo>
                  <a:pt x="3644" y="1100"/>
                </a:lnTo>
                <a:lnTo>
                  <a:pt x="3648" y="1104"/>
                </a:lnTo>
                <a:lnTo>
                  <a:pt x="3652" y="1108"/>
                </a:lnTo>
                <a:lnTo>
                  <a:pt x="3670" y="1114"/>
                </a:lnTo>
                <a:lnTo>
                  <a:pt x="3696" y="1124"/>
                </a:lnTo>
                <a:lnTo>
                  <a:pt x="3710" y="1130"/>
                </a:lnTo>
                <a:lnTo>
                  <a:pt x="3720" y="1136"/>
                </a:lnTo>
                <a:lnTo>
                  <a:pt x="3724" y="1142"/>
                </a:lnTo>
                <a:lnTo>
                  <a:pt x="3724" y="1146"/>
                </a:lnTo>
                <a:lnTo>
                  <a:pt x="3722" y="1150"/>
                </a:lnTo>
                <a:lnTo>
                  <a:pt x="3716" y="1152"/>
                </a:lnTo>
                <a:lnTo>
                  <a:pt x="3708" y="1154"/>
                </a:lnTo>
                <a:lnTo>
                  <a:pt x="3698" y="1154"/>
                </a:lnTo>
                <a:lnTo>
                  <a:pt x="3690" y="1156"/>
                </a:lnTo>
                <a:lnTo>
                  <a:pt x="3684" y="1158"/>
                </a:lnTo>
                <a:lnTo>
                  <a:pt x="3680" y="1162"/>
                </a:lnTo>
                <a:lnTo>
                  <a:pt x="3678" y="1168"/>
                </a:lnTo>
                <a:lnTo>
                  <a:pt x="3678" y="1172"/>
                </a:lnTo>
                <a:lnTo>
                  <a:pt x="3684" y="1176"/>
                </a:lnTo>
                <a:lnTo>
                  <a:pt x="3692" y="1176"/>
                </a:lnTo>
                <a:lnTo>
                  <a:pt x="3704" y="1174"/>
                </a:lnTo>
                <a:lnTo>
                  <a:pt x="3718" y="1172"/>
                </a:lnTo>
                <a:lnTo>
                  <a:pt x="3732" y="1172"/>
                </a:lnTo>
                <a:lnTo>
                  <a:pt x="3746" y="1174"/>
                </a:lnTo>
                <a:lnTo>
                  <a:pt x="3760" y="1176"/>
                </a:lnTo>
                <a:lnTo>
                  <a:pt x="3772" y="1182"/>
                </a:lnTo>
                <a:lnTo>
                  <a:pt x="3782" y="1186"/>
                </a:lnTo>
                <a:lnTo>
                  <a:pt x="3788" y="1192"/>
                </a:lnTo>
                <a:lnTo>
                  <a:pt x="3794" y="1198"/>
                </a:lnTo>
                <a:lnTo>
                  <a:pt x="3798" y="1202"/>
                </a:lnTo>
                <a:lnTo>
                  <a:pt x="3802" y="1206"/>
                </a:lnTo>
                <a:lnTo>
                  <a:pt x="3816" y="1210"/>
                </a:lnTo>
                <a:lnTo>
                  <a:pt x="3822" y="1214"/>
                </a:lnTo>
                <a:lnTo>
                  <a:pt x="3828" y="1218"/>
                </a:lnTo>
                <a:lnTo>
                  <a:pt x="3832" y="1226"/>
                </a:lnTo>
                <a:lnTo>
                  <a:pt x="3836" y="1236"/>
                </a:lnTo>
                <a:lnTo>
                  <a:pt x="3838" y="1248"/>
                </a:lnTo>
                <a:lnTo>
                  <a:pt x="3844" y="1256"/>
                </a:lnTo>
                <a:lnTo>
                  <a:pt x="3852" y="1272"/>
                </a:lnTo>
                <a:lnTo>
                  <a:pt x="3856" y="1278"/>
                </a:lnTo>
                <a:lnTo>
                  <a:pt x="3858" y="1282"/>
                </a:lnTo>
                <a:lnTo>
                  <a:pt x="3856" y="1288"/>
                </a:lnTo>
                <a:lnTo>
                  <a:pt x="3850" y="1292"/>
                </a:lnTo>
                <a:lnTo>
                  <a:pt x="3836" y="1302"/>
                </a:lnTo>
                <a:lnTo>
                  <a:pt x="3824" y="1314"/>
                </a:lnTo>
                <a:lnTo>
                  <a:pt x="3808" y="1330"/>
                </a:lnTo>
                <a:lnTo>
                  <a:pt x="3788" y="1346"/>
                </a:lnTo>
                <a:lnTo>
                  <a:pt x="3784" y="1350"/>
                </a:lnTo>
                <a:lnTo>
                  <a:pt x="3782" y="1356"/>
                </a:lnTo>
                <a:lnTo>
                  <a:pt x="3780" y="1362"/>
                </a:lnTo>
                <a:lnTo>
                  <a:pt x="3782" y="1366"/>
                </a:lnTo>
                <a:lnTo>
                  <a:pt x="3786" y="1378"/>
                </a:lnTo>
                <a:lnTo>
                  <a:pt x="3794" y="1388"/>
                </a:lnTo>
                <a:lnTo>
                  <a:pt x="3806" y="1402"/>
                </a:lnTo>
                <a:lnTo>
                  <a:pt x="3806" y="1404"/>
                </a:lnTo>
                <a:lnTo>
                  <a:pt x="3798" y="1402"/>
                </a:lnTo>
                <a:lnTo>
                  <a:pt x="3786" y="1400"/>
                </a:lnTo>
                <a:lnTo>
                  <a:pt x="3776" y="1402"/>
                </a:lnTo>
                <a:lnTo>
                  <a:pt x="3768" y="1406"/>
                </a:lnTo>
                <a:lnTo>
                  <a:pt x="3760" y="1410"/>
                </a:lnTo>
                <a:lnTo>
                  <a:pt x="3750" y="1414"/>
                </a:lnTo>
                <a:lnTo>
                  <a:pt x="3736" y="1416"/>
                </a:lnTo>
                <a:lnTo>
                  <a:pt x="3716" y="1416"/>
                </a:lnTo>
                <a:lnTo>
                  <a:pt x="3692" y="1412"/>
                </a:lnTo>
                <a:lnTo>
                  <a:pt x="3670" y="1408"/>
                </a:lnTo>
                <a:lnTo>
                  <a:pt x="3656" y="1406"/>
                </a:lnTo>
                <a:lnTo>
                  <a:pt x="3650" y="1406"/>
                </a:lnTo>
                <a:lnTo>
                  <a:pt x="3650" y="1410"/>
                </a:lnTo>
                <a:lnTo>
                  <a:pt x="3650" y="1414"/>
                </a:lnTo>
                <a:lnTo>
                  <a:pt x="3650" y="1420"/>
                </a:lnTo>
                <a:lnTo>
                  <a:pt x="3646" y="1428"/>
                </a:lnTo>
                <a:lnTo>
                  <a:pt x="3634" y="1436"/>
                </a:lnTo>
                <a:lnTo>
                  <a:pt x="3628" y="1440"/>
                </a:lnTo>
                <a:lnTo>
                  <a:pt x="3624" y="1444"/>
                </a:lnTo>
                <a:lnTo>
                  <a:pt x="3622" y="1450"/>
                </a:lnTo>
                <a:lnTo>
                  <a:pt x="3622" y="1456"/>
                </a:lnTo>
                <a:lnTo>
                  <a:pt x="3622" y="1460"/>
                </a:lnTo>
                <a:lnTo>
                  <a:pt x="3624" y="1466"/>
                </a:lnTo>
                <a:lnTo>
                  <a:pt x="3634" y="1476"/>
                </a:lnTo>
                <a:lnTo>
                  <a:pt x="3646" y="1484"/>
                </a:lnTo>
                <a:lnTo>
                  <a:pt x="3654" y="1486"/>
                </a:lnTo>
                <a:lnTo>
                  <a:pt x="3664" y="1488"/>
                </a:lnTo>
                <a:lnTo>
                  <a:pt x="3672" y="1488"/>
                </a:lnTo>
                <a:lnTo>
                  <a:pt x="3682" y="1486"/>
                </a:lnTo>
                <a:lnTo>
                  <a:pt x="3692" y="1484"/>
                </a:lnTo>
                <a:lnTo>
                  <a:pt x="3702" y="1480"/>
                </a:lnTo>
                <a:lnTo>
                  <a:pt x="3720" y="1472"/>
                </a:lnTo>
                <a:lnTo>
                  <a:pt x="3732" y="1472"/>
                </a:lnTo>
                <a:lnTo>
                  <a:pt x="3742" y="1474"/>
                </a:lnTo>
                <a:lnTo>
                  <a:pt x="3748" y="1478"/>
                </a:lnTo>
                <a:lnTo>
                  <a:pt x="3752" y="1482"/>
                </a:lnTo>
                <a:lnTo>
                  <a:pt x="3758" y="1484"/>
                </a:lnTo>
                <a:lnTo>
                  <a:pt x="3762" y="1484"/>
                </a:lnTo>
                <a:lnTo>
                  <a:pt x="3768" y="1478"/>
                </a:lnTo>
                <a:lnTo>
                  <a:pt x="3776" y="1472"/>
                </a:lnTo>
                <a:lnTo>
                  <a:pt x="3780" y="1470"/>
                </a:lnTo>
                <a:lnTo>
                  <a:pt x="3782" y="1474"/>
                </a:lnTo>
                <a:lnTo>
                  <a:pt x="3784" y="1478"/>
                </a:lnTo>
                <a:lnTo>
                  <a:pt x="3786" y="1486"/>
                </a:lnTo>
                <a:lnTo>
                  <a:pt x="3788" y="1486"/>
                </a:lnTo>
                <a:lnTo>
                  <a:pt x="3792" y="1482"/>
                </a:lnTo>
                <a:lnTo>
                  <a:pt x="3796" y="1472"/>
                </a:lnTo>
                <a:lnTo>
                  <a:pt x="3798" y="1470"/>
                </a:lnTo>
                <a:lnTo>
                  <a:pt x="3802" y="1468"/>
                </a:lnTo>
                <a:lnTo>
                  <a:pt x="3806" y="1470"/>
                </a:lnTo>
                <a:lnTo>
                  <a:pt x="3812" y="1476"/>
                </a:lnTo>
                <a:lnTo>
                  <a:pt x="3836" y="1502"/>
                </a:lnTo>
                <a:lnTo>
                  <a:pt x="3848" y="1516"/>
                </a:lnTo>
                <a:lnTo>
                  <a:pt x="3858" y="1524"/>
                </a:lnTo>
                <a:lnTo>
                  <a:pt x="3864" y="1526"/>
                </a:lnTo>
                <a:lnTo>
                  <a:pt x="3868" y="1524"/>
                </a:lnTo>
                <a:lnTo>
                  <a:pt x="3872" y="1522"/>
                </a:lnTo>
                <a:lnTo>
                  <a:pt x="3876" y="1522"/>
                </a:lnTo>
                <a:lnTo>
                  <a:pt x="3882" y="1524"/>
                </a:lnTo>
                <a:lnTo>
                  <a:pt x="3890" y="1530"/>
                </a:lnTo>
                <a:lnTo>
                  <a:pt x="3896" y="1536"/>
                </a:lnTo>
                <a:lnTo>
                  <a:pt x="3896" y="1538"/>
                </a:lnTo>
                <a:lnTo>
                  <a:pt x="3896" y="1540"/>
                </a:lnTo>
                <a:lnTo>
                  <a:pt x="3890" y="1540"/>
                </a:lnTo>
                <a:lnTo>
                  <a:pt x="3882" y="1542"/>
                </a:lnTo>
                <a:lnTo>
                  <a:pt x="3876" y="1542"/>
                </a:lnTo>
                <a:lnTo>
                  <a:pt x="3872" y="1544"/>
                </a:lnTo>
                <a:lnTo>
                  <a:pt x="3872" y="1546"/>
                </a:lnTo>
                <a:lnTo>
                  <a:pt x="3872" y="1550"/>
                </a:lnTo>
                <a:lnTo>
                  <a:pt x="3874" y="1554"/>
                </a:lnTo>
                <a:lnTo>
                  <a:pt x="3884" y="1566"/>
                </a:lnTo>
                <a:lnTo>
                  <a:pt x="3896" y="1572"/>
                </a:lnTo>
                <a:lnTo>
                  <a:pt x="3908" y="1578"/>
                </a:lnTo>
                <a:lnTo>
                  <a:pt x="3934" y="1584"/>
                </a:lnTo>
                <a:lnTo>
                  <a:pt x="3956" y="1590"/>
                </a:lnTo>
                <a:lnTo>
                  <a:pt x="3966" y="1596"/>
                </a:lnTo>
                <a:lnTo>
                  <a:pt x="3974" y="1602"/>
                </a:lnTo>
                <a:lnTo>
                  <a:pt x="3982" y="1610"/>
                </a:lnTo>
                <a:lnTo>
                  <a:pt x="3994" y="1616"/>
                </a:lnTo>
                <a:lnTo>
                  <a:pt x="4008" y="1620"/>
                </a:lnTo>
                <a:lnTo>
                  <a:pt x="4024" y="1626"/>
                </a:lnTo>
                <a:lnTo>
                  <a:pt x="4058" y="1634"/>
                </a:lnTo>
                <a:lnTo>
                  <a:pt x="4090" y="1644"/>
                </a:lnTo>
                <a:lnTo>
                  <a:pt x="4102" y="1648"/>
                </a:lnTo>
                <a:lnTo>
                  <a:pt x="4110" y="1648"/>
                </a:lnTo>
                <a:lnTo>
                  <a:pt x="4112" y="1646"/>
                </a:lnTo>
                <a:lnTo>
                  <a:pt x="4114" y="1644"/>
                </a:lnTo>
                <a:lnTo>
                  <a:pt x="4114" y="1638"/>
                </a:lnTo>
                <a:lnTo>
                  <a:pt x="4112" y="1630"/>
                </a:lnTo>
                <a:lnTo>
                  <a:pt x="4106" y="1620"/>
                </a:lnTo>
                <a:lnTo>
                  <a:pt x="4098" y="1610"/>
                </a:lnTo>
                <a:lnTo>
                  <a:pt x="4088" y="1600"/>
                </a:lnTo>
                <a:lnTo>
                  <a:pt x="4076" y="1588"/>
                </a:lnTo>
                <a:lnTo>
                  <a:pt x="4060" y="1578"/>
                </a:lnTo>
                <a:lnTo>
                  <a:pt x="4028" y="1556"/>
                </a:lnTo>
                <a:lnTo>
                  <a:pt x="4014" y="1546"/>
                </a:lnTo>
                <a:lnTo>
                  <a:pt x="4002" y="1536"/>
                </a:lnTo>
                <a:lnTo>
                  <a:pt x="3994" y="1528"/>
                </a:lnTo>
                <a:lnTo>
                  <a:pt x="3994" y="1526"/>
                </a:lnTo>
                <a:lnTo>
                  <a:pt x="3994" y="1522"/>
                </a:lnTo>
                <a:lnTo>
                  <a:pt x="3996" y="1520"/>
                </a:lnTo>
                <a:lnTo>
                  <a:pt x="3998" y="1520"/>
                </a:lnTo>
                <a:lnTo>
                  <a:pt x="4004" y="1522"/>
                </a:lnTo>
                <a:lnTo>
                  <a:pt x="4020" y="1534"/>
                </a:lnTo>
                <a:lnTo>
                  <a:pt x="4036" y="1544"/>
                </a:lnTo>
                <a:lnTo>
                  <a:pt x="4040" y="1546"/>
                </a:lnTo>
                <a:lnTo>
                  <a:pt x="4042" y="1544"/>
                </a:lnTo>
                <a:lnTo>
                  <a:pt x="4042" y="1542"/>
                </a:lnTo>
                <a:lnTo>
                  <a:pt x="4044" y="1540"/>
                </a:lnTo>
                <a:lnTo>
                  <a:pt x="4048" y="1540"/>
                </a:lnTo>
                <a:lnTo>
                  <a:pt x="4064" y="1552"/>
                </a:lnTo>
                <a:lnTo>
                  <a:pt x="4074" y="1560"/>
                </a:lnTo>
                <a:lnTo>
                  <a:pt x="4084" y="1568"/>
                </a:lnTo>
                <a:lnTo>
                  <a:pt x="4096" y="1574"/>
                </a:lnTo>
                <a:lnTo>
                  <a:pt x="4108" y="1576"/>
                </a:lnTo>
                <a:lnTo>
                  <a:pt x="4120" y="1580"/>
                </a:lnTo>
                <a:lnTo>
                  <a:pt x="4130" y="1586"/>
                </a:lnTo>
                <a:lnTo>
                  <a:pt x="4138" y="1594"/>
                </a:lnTo>
                <a:lnTo>
                  <a:pt x="4146" y="1602"/>
                </a:lnTo>
                <a:lnTo>
                  <a:pt x="4150" y="1610"/>
                </a:lnTo>
                <a:lnTo>
                  <a:pt x="4154" y="1612"/>
                </a:lnTo>
                <a:lnTo>
                  <a:pt x="4154" y="1610"/>
                </a:lnTo>
                <a:lnTo>
                  <a:pt x="4154" y="1600"/>
                </a:lnTo>
                <a:lnTo>
                  <a:pt x="4152" y="1590"/>
                </a:lnTo>
                <a:lnTo>
                  <a:pt x="4152" y="1586"/>
                </a:lnTo>
                <a:lnTo>
                  <a:pt x="4154" y="1584"/>
                </a:lnTo>
                <a:lnTo>
                  <a:pt x="4156" y="1586"/>
                </a:lnTo>
                <a:lnTo>
                  <a:pt x="4158" y="1586"/>
                </a:lnTo>
                <a:lnTo>
                  <a:pt x="4160" y="1584"/>
                </a:lnTo>
                <a:lnTo>
                  <a:pt x="4160" y="1576"/>
                </a:lnTo>
                <a:lnTo>
                  <a:pt x="4158" y="1564"/>
                </a:lnTo>
                <a:lnTo>
                  <a:pt x="4158" y="1548"/>
                </a:lnTo>
                <a:lnTo>
                  <a:pt x="4160" y="1552"/>
                </a:lnTo>
                <a:lnTo>
                  <a:pt x="4162" y="1556"/>
                </a:lnTo>
                <a:lnTo>
                  <a:pt x="4166" y="1556"/>
                </a:lnTo>
                <a:lnTo>
                  <a:pt x="4168" y="1554"/>
                </a:lnTo>
                <a:lnTo>
                  <a:pt x="4172" y="1544"/>
                </a:lnTo>
                <a:lnTo>
                  <a:pt x="4172" y="1532"/>
                </a:lnTo>
                <a:lnTo>
                  <a:pt x="4170" y="1524"/>
                </a:lnTo>
                <a:lnTo>
                  <a:pt x="4166" y="1522"/>
                </a:lnTo>
                <a:lnTo>
                  <a:pt x="4162" y="1520"/>
                </a:lnTo>
                <a:lnTo>
                  <a:pt x="4158" y="1520"/>
                </a:lnTo>
                <a:lnTo>
                  <a:pt x="4154" y="1520"/>
                </a:lnTo>
                <a:lnTo>
                  <a:pt x="4156" y="1516"/>
                </a:lnTo>
                <a:lnTo>
                  <a:pt x="4158" y="1510"/>
                </a:lnTo>
                <a:lnTo>
                  <a:pt x="4162" y="1504"/>
                </a:lnTo>
                <a:lnTo>
                  <a:pt x="4162" y="1500"/>
                </a:lnTo>
                <a:lnTo>
                  <a:pt x="4158" y="1498"/>
                </a:lnTo>
                <a:lnTo>
                  <a:pt x="4152" y="1498"/>
                </a:lnTo>
                <a:lnTo>
                  <a:pt x="4146" y="1496"/>
                </a:lnTo>
                <a:lnTo>
                  <a:pt x="4142" y="1494"/>
                </a:lnTo>
                <a:lnTo>
                  <a:pt x="4140" y="1492"/>
                </a:lnTo>
                <a:lnTo>
                  <a:pt x="4142" y="1486"/>
                </a:lnTo>
                <a:lnTo>
                  <a:pt x="4148" y="1478"/>
                </a:lnTo>
                <a:lnTo>
                  <a:pt x="4150" y="1474"/>
                </a:lnTo>
                <a:lnTo>
                  <a:pt x="4150" y="1468"/>
                </a:lnTo>
                <a:lnTo>
                  <a:pt x="4146" y="1464"/>
                </a:lnTo>
                <a:lnTo>
                  <a:pt x="4140" y="1460"/>
                </a:lnTo>
                <a:lnTo>
                  <a:pt x="4132" y="1456"/>
                </a:lnTo>
                <a:lnTo>
                  <a:pt x="4106" y="1446"/>
                </a:lnTo>
                <a:lnTo>
                  <a:pt x="4092" y="1438"/>
                </a:lnTo>
                <a:lnTo>
                  <a:pt x="4082" y="1430"/>
                </a:lnTo>
                <a:lnTo>
                  <a:pt x="4076" y="1420"/>
                </a:lnTo>
                <a:lnTo>
                  <a:pt x="4072" y="1408"/>
                </a:lnTo>
                <a:lnTo>
                  <a:pt x="4068" y="1400"/>
                </a:lnTo>
                <a:lnTo>
                  <a:pt x="4064" y="1394"/>
                </a:lnTo>
                <a:lnTo>
                  <a:pt x="4060" y="1390"/>
                </a:lnTo>
                <a:lnTo>
                  <a:pt x="4052" y="1390"/>
                </a:lnTo>
                <a:lnTo>
                  <a:pt x="4044" y="1392"/>
                </a:lnTo>
                <a:lnTo>
                  <a:pt x="4038" y="1392"/>
                </a:lnTo>
                <a:lnTo>
                  <a:pt x="4032" y="1390"/>
                </a:lnTo>
                <a:lnTo>
                  <a:pt x="4030" y="1388"/>
                </a:lnTo>
                <a:lnTo>
                  <a:pt x="4030" y="1384"/>
                </a:lnTo>
                <a:lnTo>
                  <a:pt x="4034" y="1380"/>
                </a:lnTo>
                <a:lnTo>
                  <a:pt x="4040" y="1378"/>
                </a:lnTo>
                <a:lnTo>
                  <a:pt x="4048" y="1376"/>
                </a:lnTo>
                <a:lnTo>
                  <a:pt x="4054" y="1374"/>
                </a:lnTo>
                <a:lnTo>
                  <a:pt x="4056" y="1372"/>
                </a:lnTo>
                <a:lnTo>
                  <a:pt x="4058" y="1370"/>
                </a:lnTo>
                <a:lnTo>
                  <a:pt x="4058" y="1368"/>
                </a:lnTo>
                <a:lnTo>
                  <a:pt x="4054" y="1360"/>
                </a:lnTo>
                <a:lnTo>
                  <a:pt x="4050" y="1354"/>
                </a:lnTo>
                <a:lnTo>
                  <a:pt x="4042" y="1344"/>
                </a:lnTo>
                <a:lnTo>
                  <a:pt x="4042" y="1342"/>
                </a:lnTo>
                <a:lnTo>
                  <a:pt x="4044" y="1342"/>
                </a:lnTo>
                <a:lnTo>
                  <a:pt x="4050" y="1344"/>
                </a:lnTo>
                <a:lnTo>
                  <a:pt x="4058" y="1344"/>
                </a:lnTo>
                <a:lnTo>
                  <a:pt x="4064" y="1342"/>
                </a:lnTo>
                <a:lnTo>
                  <a:pt x="4068" y="1340"/>
                </a:lnTo>
                <a:lnTo>
                  <a:pt x="4070" y="1336"/>
                </a:lnTo>
                <a:lnTo>
                  <a:pt x="4072" y="1332"/>
                </a:lnTo>
                <a:lnTo>
                  <a:pt x="4074" y="1332"/>
                </a:lnTo>
                <a:lnTo>
                  <a:pt x="4078" y="1334"/>
                </a:lnTo>
                <a:lnTo>
                  <a:pt x="4084" y="1342"/>
                </a:lnTo>
                <a:lnTo>
                  <a:pt x="4090" y="1350"/>
                </a:lnTo>
                <a:lnTo>
                  <a:pt x="4094" y="1354"/>
                </a:lnTo>
                <a:lnTo>
                  <a:pt x="4100" y="1356"/>
                </a:lnTo>
                <a:lnTo>
                  <a:pt x="4104" y="1356"/>
                </a:lnTo>
                <a:lnTo>
                  <a:pt x="4110" y="1356"/>
                </a:lnTo>
                <a:lnTo>
                  <a:pt x="4112" y="1360"/>
                </a:lnTo>
                <a:lnTo>
                  <a:pt x="4114" y="1364"/>
                </a:lnTo>
                <a:lnTo>
                  <a:pt x="4116" y="1370"/>
                </a:lnTo>
                <a:lnTo>
                  <a:pt x="4120" y="1374"/>
                </a:lnTo>
                <a:lnTo>
                  <a:pt x="4126" y="1376"/>
                </a:lnTo>
                <a:lnTo>
                  <a:pt x="4130" y="1378"/>
                </a:lnTo>
                <a:lnTo>
                  <a:pt x="4132" y="1380"/>
                </a:lnTo>
                <a:lnTo>
                  <a:pt x="4134" y="1384"/>
                </a:lnTo>
                <a:lnTo>
                  <a:pt x="4134" y="1388"/>
                </a:lnTo>
                <a:lnTo>
                  <a:pt x="4134" y="1394"/>
                </a:lnTo>
                <a:lnTo>
                  <a:pt x="4138" y="1398"/>
                </a:lnTo>
                <a:lnTo>
                  <a:pt x="4148" y="1410"/>
                </a:lnTo>
                <a:lnTo>
                  <a:pt x="4162" y="1424"/>
                </a:lnTo>
                <a:lnTo>
                  <a:pt x="4180" y="1434"/>
                </a:lnTo>
                <a:lnTo>
                  <a:pt x="4196" y="1442"/>
                </a:lnTo>
                <a:lnTo>
                  <a:pt x="4204" y="1444"/>
                </a:lnTo>
                <a:lnTo>
                  <a:pt x="4210" y="1446"/>
                </a:lnTo>
                <a:lnTo>
                  <a:pt x="4216" y="1444"/>
                </a:lnTo>
                <a:lnTo>
                  <a:pt x="4218" y="1440"/>
                </a:lnTo>
                <a:lnTo>
                  <a:pt x="4220" y="1434"/>
                </a:lnTo>
                <a:lnTo>
                  <a:pt x="4220" y="1426"/>
                </a:lnTo>
                <a:lnTo>
                  <a:pt x="4218" y="1416"/>
                </a:lnTo>
                <a:lnTo>
                  <a:pt x="4218" y="1408"/>
                </a:lnTo>
                <a:lnTo>
                  <a:pt x="4220" y="1404"/>
                </a:lnTo>
                <a:lnTo>
                  <a:pt x="4224" y="1400"/>
                </a:lnTo>
                <a:lnTo>
                  <a:pt x="4228" y="1396"/>
                </a:lnTo>
                <a:lnTo>
                  <a:pt x="4232" y="1396"/>
                </a:lnTo>
                <a:lnTo>
                  <a:pt x="4242" y="1394"/>
                </a:lnTo>
                <a:lnTo>
                  <a:pt x="4260" y="1394"/>
                </a:lnTo>
                <a:lnTo>
                  <a:pt x="4262" y="1394"/>
                </a:lnTo>
                <a:lnTo>
                  <a:pt x="4264" y="1392"/>
                </a:lnTo>
                <a:lnTo>
                  <a:pt x="4264" y="1390"/>
                </a:lnTo>
                <a:lnTo>
                  <a:pt x="4262" y="1386"/>
                </a:lnTo>
                <a:lnTo>
                  <a:pt x="4258" y="1378"/>
                </a:lnTo>
                <a:lnTo>
                  <a:pt x="4258" y="1374"/>
                </a:lnTo>
                <a:lnTo>
                  <a:pt x="4260" y="1372"/>
                </a:lnTo>
                <a:lnTo>
                  <a:pt x="4262" y="1370"/>
                </a:lnTo>
                <a:lnTo>
                  <a:pt x="4268" y="1368"/>
                </a:lnTo>
                <a:lnTo>
                  <a:pt x="4270" y="1366"/>
                </a:lnTo>
                <a:lnTo>
                  <a:pt x="4268" y="1360"/>
                </a:lnTo>
                <a:lnTo>
                  <a:pt x="4266" y="1358"/>
                </a:lnTo>
                <a:lnTo>
                  <a:pt x="4266" y="1356"/>
                </a:lnTo>
                <a:lnTo>
                  <a:pt x="4270" y="1352"/>
                </a:lnTo>
                <a:lnTo>
                  <a:pt x="4284" y="1346"/>
                </a:lnTo>
                <a:lnTo>
                  <a:pt x="4290" y="1340"/>
                </a:lnTo>
                <a:lnTo>
                  <a:pt x="4294" y="1334"/>
                </a:lnTo>
                <a:lnTo>
                  <a:pt x="4296" y="1330"/>
                </a:lnTo>
                <a:lnTo>
                  <a:pt x="4296" y="1324"/>
                </a:lnTo>
                <a:lnTo>
                  <a:pt x="4290" y="1312"/>
                </a:lnTo>
                <a:close/>
                <a:moveTo>
                  <a:pt x="3666" y="1230"/>
                </a:moveTo>
                <a:lnTo>
                  <a:pt x="3666" y="1230"/>
                </a:lnTo>
                <a:lnTo>
                  <a:pt x="3660" y="1240"/>
                </a:lnTo>
                <a:lnTo>
                  <a:pt x="3656" y="1250"/>
                </a:lnTo>
                <a:lnTo>
                  <a:pt x="3656" y="1258"/>
                </a:lnTo>
                <a:lnTo>
                  <a:pt x="3658" y="1266"/>
                </a:lnTo>
                <a:lnTo>
                  <a:pt x="3664" y="1272"/>
                </a:lnTo>
                <a:lnTo>
                  <a:pt x="3674" y="1278"/>
                </a:lnTo>
                <a:lnTo>
                  <a:pt x="3690" y="1280"/>
                </a:lnTo>
                <a:lnTo>
                  <a:pt x="3710" y="1280"/>
                </a:lnTo>
                <a:lnTo>
                  <a:pt x="3730" y="1278"/>
                </a:lnTo>
                <a:lnTo>
                  <a:pt x="3742" y="1274"/>
                </a:lnTo>
                <a:lnTo>
                  <a:pt x="3748" y="1268"/>
                </a:lnTo>
                <a:lnTo>
                  <a:pt x="3750" y="1262"/>
                </a:lnTo>
                <a:lnTo>
                  <a:pt x="3750" y="1252"/>
                </a:lnTo>
                <a:lnTo>
                  <a:pt x="3748" y="1244"/>
                </a:lnTo>
                <a:lnTo>
                  <a:pt x="3746" y="1234"/>
                </a:lnTo>
                <a:lnTo>
                  <a:pt x="3748" y="1226"/>
                </a:lnTo>
                <a:lnTo>
                  <a:pt x="3748" y="1220"/>
                </a:lnTo>
                <a:lnTo>
                  <a:pt x="3746" y="1216"/>
                </a:lnTo>
                <a:lnTo>
                  <a:pt x="3744" y="1212"/>
                </a:lnTo>
                <a:lnTo>
                  <a:pt x="3740" y="1210"/>
                </a:lnTo>
                <a:lnTo>
                  <a:pt x="3730" y="1206"/>
                </a:lnTo>
                <a:lnTo>
                  <a:pt x="3716" y="1204"/>
                </a:lnTo>
                <a:lnTo>
                  <a:pt x="3702" y="1204"/>
                </a:lnTo>
                <a:lnTo>
                  <a:pt x="3688" y="1208"/>
                </a:lnTo>
                <a:lnTo>
                  <a:pt x="3676" y="1218"/>
                </a:lnTo>
                <a:lnTo>
                  <a:pt x="3670" y="1222"/>
                </a:lnTo>
                <a:lnTo>
                  <a:pt x="3666" y="1230"/>
                </a:lnTo>
                <a:close/>
                <a:moveTo>
                  <a:pt x="3526" y="1508"/>
                </a:moveTo>
                <a:lnTo>
                  <a:pt x="3526" y="1508"/>
                </a:lnTo>
                <a:lnTo>
                  <a:pt x="3516" y="1498"/>
                </a:lnTo>
                <a:lnTo>
                  <a:pt x="3512" y="1496"/>
                </a:lnTo>
                <a:lnTo>
                  <a:pt x="3510" y="1498"/>
                </a:lnTo>
                <a:lnTo>
                  <a:pt x="3504" y="1500"/>
                </a:lnTo>
                <a:lnTo>
                  <a:pt x="3498" y="1502"/>
                </a:lnTo>
                <a:lnTo>
                  <a:pt x="3490" y="1500"/>
                </a:lnTo>
                <a:lnTo>
                  <a:pt x="3484" y="1496"/>
                </a:lnTo>
                <a:lnTo>
                  <a:pt x="3478" y="1490"/>
                </a:lnTo>
                <a:lnTo>
                  <a:pt x="3474" y="1478"/>
                </a:lnTo>
                <a:lnTo>
                  <a:pt x="3472" y="1470"/>
                </a:lnTo>
                <a:lnTo>
                  <a:pt x="3466" y="1464"/>
                </a:lnTo>
                <a:lnTo>
                  <a:pt x="3458" y="1458"/>
                </a:lnTo>
                <a:lnTo>
                  <a:pt x="3446" y="1452"/>
                </a:lnTo>
                <a:lnTo>
                  <a:pt x="3432" y="1446"/>
                </a:lnTo>
                <a:lnTo>
                  <a:pt x="3418" y="1438"/>
                </a:lnTo>
                <a:lnTo>
                  <a:pt x="3396" y="1420"/>
                </a:lnTo>
                <a:lnTo>
                  <a:pt x="3386" y="1414"/>
                </a:lnTo>
                <a:lnTo>
                  <a:pt x="3376" y="1408"/>
                </a:lnTo>
                <a:lnTo>
                  <a:pt x="3368" y="1408"/>
                </a:lnTo>
                <a:lnTo>
                  <a:pt x="3364" y="1408"/>
                </a:lnTo>
                <a:lnTo>
                  <a:pt x="3362" y="1412"/>
                </a:lnTo>
                <a:lnTo>
                  <a:pt x="3358" y="1414"/>
                </a:lnTo>
                <a:lnTo>
                  <a:pt x="3356" y="1416"/>
                </a:lnTo>
                <a:lnTo>
                  <a:pt x="3352" y="1414"/>
                </a:lnTo>
                <a:lnTo>
                  <a:pt x="3350" y="1414"/>
                </a:lnTo>
                <a:lnTo>
                  <a:pt x="3346" y="1408"/>
                </a:lnTo>
                <a:lnTo>
                  <a:pt x="3340" y="1400"/>
                </a:lnTo>
                <a:lnTo>
                  <a:pt x="3336" y="1390"/>
                </a:lnTo>
                <a:lnTo>
                  <a:pt x="3330" y="1382"/>
                </a:lnTo>
                <a:lnTo>
                  <a:pt x="3324" y="1378"/>
                </a:lnTo>
                <a:lnTo>
                  <a:pt x="3320" y="1376"/>
                </a:lnTo>
                <a:lnTo>
                  <a:pt x="3316" y="1376"/>
                </a:lnTo>
                <a:lnTo>
                  <a:pt x="3312" y="1378"/>
                </a:lnTo>
                <a:lnTo>
                  <a:pt x="3308" y="1380"/>
                </a:lnTo>
                <a:lnTo>
                  <a:pt x="3302" y="1390"/>
                </a:lnTo>
                <a:lnTo>
                  <a:pt x="3296" y="1402"/>
                </a:lnTo>
                <a:lnTo>
                  <a:pt x="3292" y="1416"/>
                </a:lnTo>
                <a:lnTo>
                  <a:pt x="3290" y="1434"/>
                </a:lnTo>
                <a:lnTo>
                  <a:pt x="3288" y="1450"/>
                </a:lnTo>
                <a:lnTo>
                  <a:pt x="3290" y="1466"/>
                </a:lnTo>
                <a:lnTo>
                  <a:pt x="3292" y="1480"/>
                </a:lnTo>
                <a:lnTo>
                  <a:pt x="3292" y="1488"/>
                </a:lnTo>
                <a:lnTo>
                  <a:pt x="3292" y="1492"/>
                </a:lnTo>
                <a:lnTo>
                  <a:pt x="3290" y="1496"/>
                </a:lnTo>
                <a:lnTo>
                  <a:pt x="3288" y="1500"/>
                </a:lnTo>
                <a:lnTo>
                  <a:pt x="3282" y="1506"/>
                </a:lnTo>
                <a:lnTo>
                  <a:pt x="3272" y="1510"/>
                </a:lnTo>
                <a:lnTo>
                  <a:pt x="3264" y="1514"/>
                </a:lnTo>
                <a:lnTo>
                  <a:pt x="3258" y="1518"/>
                </a:lnTo>
                <a:lnTo>
                  <a:pt x="3256" y="1522"/>
                </a:lnTo>
                <a:lnTo>
                  <a:pt x="3256" y="1524"/>
                </a:lnTo>
                <a:lnTo>
                  <a:pt x="3256" y="1528"/>
                </a:lnTo>
                <a:lnTo>
                  <a:pt x="3258" y="1534"/>
                </a:lnTo>
                <a:lnTo>
                  <a:pt x="3260" y="1536"/>
                </a:lnTo>
                <a:lnTo>
                  <a:pt x="3262" y="1536"/>
                </a:lnTo>
                <a:lnTo>
                  <a:pt x="3270" y="1536"/>
                </a:lnTo>
                <a:lnTo>
                  <a:pt x="3294" y="1532"/>
                </a:lnTo>
                <a:lnTo>
                  <a:pt x="3304" y="1530"/>
                </a:lnTo>
                <a:lnTo>
                  <a:pt x="3314" y="1530"/>
                </a:lnTo>
                <a:lnTo>
                  <a:pt x="3318" y="1532"/>
                </a:lnTo>
                <a:lnTo>
                  <a:pt x="3320" y="1534"/>
                </a:lnTo>
                <a:lnTo>
                  <a:pt x="3322" y="1536"/>
                </a:lnTo>
                <a:lnTo>
                  <a:pt x="3322" y="1542"/>
                </a:lnTo>
                <a:lnTo>
                  <a:pt x="3322" y="1550"/>
                </a:lnTo>
                <a:lnTo>
                  <a:pt x="3324" y="1558"/>
                </a:lnTo>
                <a:lnTo>
                  <a:pt x="3330" y="1562"/>
                </a:lnTo>
                <a:lnTo>
                  <a:pt x="3336" y="1566"/>
                </a:lnTo>
                <a:lnTo>
                  <a:pt x="3344" y="1566"/>
                </a:lnTo>
                <a:lnTo>
                  <a:pt x="3350" y="1564"/>
                </a:lnTo>
                <a:lnTo>
                  <a:pt x="3358" y="1560"/>
                </a:lnTo>
                <a:lnTo>
                  <a:pt x="3364" y="1550"/>
                </a:lnTo>
                <a:lnTo>
                  <a:pt x="3368" y="1542"/>
                </a:lnTo>
                <a:lnTo>
                  <a:pt x="3374" y="1538"/>
                </a:lnTo>
                <a:lnTo>
                  <a:pt x="3378" y="1534"/>
                </a:lnTo>
                <a:lnTo>
                  <a:pt x="3384" y="1534"/>
                </a:lnTo>
                <a:lnTo>
                  <a:pt x="3388" y="1534"/>
                </a:lnTo>
                <a:lnTo>
                  <a:pt x="3392" y="1530"/>
                </a:lnTo>
                <a:lnTo>
                  <a:pt x="3396" y="1526"/>
                </a:lnTo>
                <a:lnTo>
                  <a:pt x="3400" y="1518"/>
                </a:lnTo>
                <a:lnTo>
                  <a:pt x="3404" y="1508"/>
                </a:lnTo>
                <a:lnTo>
                  <a:pt x="3410" y="1502"/>
                </a:lnTo>
                <a:lnTo>
                  <a:pt x="3416" y="1500"/>
                </a:lnTo>
                <a:lnTo>
                  <a:pt x="3424" y="1500"/>
                </a:lnTo>
                <a:lnTo>
                  <a:pt x="3432" y="1502"/>
                </a:lnTo>
                <a:lnTo>
                  <a:pt x="3438" y="1506"/>
                </a:lnTo>
                <a:lnTo>
                  <a:pt x="3444" y="1512"/>
                </a:lnTo>
                <a:lnTo>
                  <a:pt x="3446" y="1518"/>
                </a:lnTo>
                <a:lnTo>
                  <a:pt x="3448" y="1524"/>
                </a:lnTo>
                <a:lnTo>
                  <a:pt x="3450" y="1528"/>
                </a:lnTo>
                <a:lnTo>
                  <a:pt x="3452" y="1530"/>
                </a:lnTo>
                <a:lnTo>
                  <a:pt x="3456" y="1530"/>
                </a:lnTo>
                <a:lnTo>
                  <a:pt x="3468" y="1532"/>
                </a:lnTo>
                <a:lnTo>
                  <a:pt x="3488" y="1534"/>
                </a:lnTo>
                <a:lnTo>
                  <a:pt x="3498" y="1536"/>
                </a:lnTo>
                <a:lnTo>
                  <a:pt x="3508" y="1538"/>
                </a:lnTo>
                <a:lnTo>
                  <a:pt x="3518" y="1536"/>
                </a:lnTo>
                <a:lnTo>
                  <a:pt x="3526" y="1534"/>
                </a:lnTo>
                <a:lnTo>
                  <a:pt x="3532" y="1528"/>
                </a:lnTo>
                <a:lnTo>
                  <a:pt x="3534" y="1522"/>
                </a:lnTo>
                <a:lnTo>
                  <a:pt x="3532" y="1516"/>
                </a:lnTo>
                <a:lnTo>
                  <a:pt x="3526" y="1508"/>
                </a:lnTo>
                <a:close/>
                <a:moveTo>
                  <a:pt x="3466" y="1576"/>
                </a:moveTo>
                <a:lnTo>
                  <a:pt x="3466" y="1576"/>
                </a:lnTo>
                <a:lnTo>
                  <a:pt x="3462" y="1574"/>
                </a:lnTo>
                <a:lnTo>
                  <a:pt x="3456" y="1572"/>
                </a:lnTo>
                <a:lnTo>
                  <a:pt x="3442" y="1574"/>
                </a:lnTo>
                <a:lnTo>
                  <a:pt x="3428" y="1578"/>
                </a:lnTo>
                <a:lnTo>
                  <a:pt x="3412" y="1584"/>
                </a:lnTo>
                <a:lnTo>
                  <a:pt x="3400" y="1594"/>
                </a:lnTo>
                <a:lnTo>
                  <a:pt x="3392" y="1604"/>
                </a:lnTo>
                <a:lnTo>
                  <a:pt x="3390" y="1608"/>
                </a:lnTo>
                <a:lnTo>
                  <a:pt x="3388" y="1614"/>
                </a:lnTo>
                <a:lnTo>
                  <a:pt x="3390" y="1620"/>
                </a:lnTo>
                <a:lnTo>
                  <a:pt x="3394" y="1624"/>
                </a:lnTo>
                <a:lnTo>
                  <a:pt x="3398" y="1628"/>
                </a:lnTo>
                <a:lnTo>
                  <a:pt x="3404" y="1630"/>
                </a:lnTo>
                <a:lnTo>
                  <a:pt x="3410" y="1630"/>
                </a:lnTo>
                <a:lnTo>
                  <a:pt x="3416" y="1628"/>
                </a:lnTo>
                <a:lnTo>
                  <a:pt x="3432" y="1622"/>
                </a:lnTo>
                <a:lnTo>
                  <a:pt x="3446" y="1614"/>
                </a:lnTo>
                <a:lnTo>
                  <a:pt x="3458" y="1602"/>
                </a:lnTo>
                <a:lnTo>
                  <a:pt x="3466" y="1592"/>
                </a:lnTo>
                <a:lnTo>
                  <a:pt x="3468" y="1586"/>
                </a:lnTo>
                <a:lnTo>
                  <a:pt x="3470" y="1582"/>
                </a:lnTo>
                <a:lnTo>
                  <a:pt x="3468" y="1578"/>
                </a:lnTo>
                <a:lnTo>
                  <a:pt x="3466" y="1576"/>
                </a:lnTo>
                <a:close/>
                <a:moveTo>
                  <a:pt x="3512" y="820"/>
                </a:moveTo>
                <a:lnTo>
                  <a:pt x="3512" y="820"/>
                </a:lnTo>
                <a:lnTo>
                  <a:pt x="3510" y="830"/>
                </a:lnTo>
                <a:lnTo>
                  <a:pt x="3512" y="836"/>
                </a:lnTo>
                <a:lnTo>
                  <a:pt x="3516" y="840"/>
                </a:lnTo>
                <a:lnTo>
                  <a:pt x="3528" y="844"/>
                </a:lnTo>
                <a:lnTo>
                  <a:pt x="3534" y="848"/>
                </a:lnTo>
                <a:lnTo>
                  <a:pt x="3536" y="850"/>
                </a:lnTo>
                <a:lnTo>
                  <a:pt x="3538" y="858"/>
                </a:lnTo>
                <a:lnTo>
                  <a:pt x="3538" y="862"/>
                </a:lnTo>
                <a:lnTo>
                  <a:pt x="3542" y="866"/>
                </a:lnTo>
                <a:lnTo>
                  <a:pt x="3546" y="872"/>
                </a:lnTo>
                <a:lnTo>
                  <a:pt x="3556" y="878"/>
                </a:lnTo>
                <a:lnTo>
                  <a:pt x="3568" y="882"/>
                </a:lnTo>
                <a:lnTo>
                  <a:pt x="3576" y="882"/>
                </a:lnTo>
                <a:lnTo>
                  <a:pt x="3582" y="880"/>
                </a:lnTo>
                <a:lnTo>
                  <a:pt x="3590" y="878"/>
                </a:lnTo>
                <a:lnTo>
                  <a:pt x="3604" y="872"/>
                </a:lnTo>
                <a:lnTo>
                  <a:pt x="3614" y="872"/>
                </a:lnTo>
                <a:lnTo>
                  <a:pt x="3628" y="872"/>
                </a:lnTo>
                <a:lnTo>
                  <a:pt x="3658" y="876"/>
                </a:lnTo>
                <a:lnTo>
                  <a:pt x="3686" y="876"/>
                </a:lnTo>
                <a:lnTo>
                  <a:pt x="3696" y="876"/>
                </a:lnTo>
                <a:lnTo>
                  <a:pt x="3702" y="872"/>
                </a:lnTo>
                <a:lnTo>
                  <a:pt x="3704" y="870"/>
                </a:lnTo>
                <a:lnTo>
                  <a:pt x="3704" y="868"/>
                </a:lnTo>
                <a:lnTo>
                  <a:pt x="3698" y="862"/>
                </a:lnTo>
                <a:lnTo>
                  <a:pt x="3684" y="846"/>
                </a:lnTo>
                <a:lnTo>
                  <a:pt x="3676" y="838"/>
                </a:lnTo>
                <a:lnTo>
                  <a:pt x="3666" y="830"/>
                </a:lnTo>
                <a:lnTo>
                  <a:pt x="3654" y="824"/>
                </a:lnTo>
                <a:lnTo>
                  <a:pt x="3642" y="818"/>
                </a:lnTo>
                <a:lnTo>
                  <a:pt x="3626" y="814"/>
                </a:lnTo>
                <a:lnTo>
                  <a:pt x="3606" y="814"/>
                </a:lnTo>
                <a:lnTo>
                  <a:pt x="3586" y="814"/>
                </a:lnTo>
                <a:lnTo>
                  <a:pt x="3568" y="812"/>
                </a:lnTo>
                <a:lnTo>
                  <a:pt x="3540" y="806"/>
                </a:lnTo>
                <a:lnTo>
                  <a:pt x="3528" y="806"/>
                </a:lnTo>
                <a:lnTo>
                  <a:pt x="3520" y="808"/>
                </a:lnTo>
                <a:lnTo>
                  <a:pt x="3518" y="808"/>
                </a:lnTo>
                <a:lnTo>
                  <a:pt x="3516" y="812"/>
                </a:lnTo>
                <a:lnTo>
                  <a:pt x="3512" y="820"/>
                </a:lnTo>
                <a:close/>
                <a:moveTo>
                  <a:pt x="3202" y="736"/>
                </a:moveTo>
                <a:lnTo>
                  <a:pt x="3202" y="736"/>
                </a:lnTo>
                <a:lnTo>
                  <a:pt x="3202" y="744"/>
                </a:lnTo>
                <a:lnTo>
                  <a:pt x="3202" y="748"/>
                </a:lnTo>
                <a:lnTo>
                  <a:pt x="3204" y="750"/>
                </a:lnTo>
                <a:lnTo>
                  <a:pt x="3212" y="752"/>
                </a:lnTo>
                <a:lnTo>
                  <a:pt x="3224" y="752"/>
                </a:lnTo>
                <a:lnTo>
                  <a:pt x="3266" y="752"/>
                </a:lnTo>
                <a:lnTo>
                  <a:pt x="3332" y="752"/>
                </a:lnTo>
                <a:lnTo>
                  <a:pt x="3366" y="750"/>
                </a:lnTo>
                <a:lnTo>
                  <a:pt x="3390" y="746"/>
                </a:lnTo>
                <a:lnTo>
                  <a:pt x="3406" y="740"/>
                </a:lnTo>
                <a:lnTo>
                  <a:pt x="3414" y="734"/>
                </a:lnTo>
                <a:lnTo>
                  <a:pt x="3420" y="730"/>
                </a:lnTo>
                <a:lnTo>
                  <a:pt x="3420" y="726"/>
                </a:lnTo>
                <a:lnTo>
                  <a:pt x="3422" y="726"/>
                </a:lnTo>
                <a:lnTo>
                  <a:pt x="3424" y="732"/>
                </a:lnTo>
                <a:lnTo>
                  <a:pt x="3426" y="736"/>
                </a:lnTo>
                <a:lnTo>
                  <a:pt x="3430" y="740"/>
                </a:lnTo>
                <a:lnTo>
                  <a:pt x="3444" y="746"/>
                </a:lnTo>
                <a:lnTo>
                  <a:pt x="3464" y="748"/>
                </a:lnTo>
                <a:lnTo>
                  <a:pt x="3486" y="750"/>
                </a:lnTo>
                <a:lnTo>
                  <a:pt x="3506" y="750"/>
                </a:lnTo>
                <a:lnTo>
                  <a:pt x="3524" y="746"/>
                </a:lnTo>
                <a:lnTo>
                  <a:pt x="3536" y="742"/>
                </a:lnTo>
                <a:lnTo>
                  <a:pt x="3540" y="738"/>
                </a:lnTo>
                <a:lnTo>
                  <a:pt x="3542" y="734"/>
                </a:lnTo>
                <a:lnTo>
                  <a:pt x="3544" y="728"/>
                </a:lnTo>
                <a:lnTo>
                  <a:pt x="3548" y="724"/>
                </a:lnTo>
                <a:lnTo>
                  <a:pt x="3554" y="722"/>
                </a:lnTo>
                <a:lnTo>
                  <a:pt x="3562" y="720"/>
                </a:lnTo>
                <a:lnTo>
                  <a:pt x="3566" y="718"/>
                </a:lnTo>
                <a:lnTo>
                  <a:pt x="3570" y="716"/>
                </a:lnTo>
                <a:lnTo>
                  <a:pt x="3568" y="714"/>
                </a:lnTo>
                <a:lnTo>
                  <a:pt x="3560" y="710"/>
                </a:lnTo>
                <a:lnTo>
                  <a:pt x="3554" y="706"/>
                </a:lnTo>
                <a:lnTo>
                  <a:pt x="3552" y="704"/>
                </a:lnTo>
                <a:lnTo>
                  <a:pt x="3552" y="700"/>
                </a:lnTo>
                <a:lnTo>
                  <a:pt x="3556" y="698"/>
                </a:lnTo>
                <a:lnTo>
                  <a:pt x="3560" y="694"/>
                </a:lnTo>
                <a:lnTo>
                  <a:pt x="3562" y="688"/>
                </a:lnTo>
                <a:lnTo>
                  <a:pt x="3564" y="682"/>
                </a:lnTo>
                <a:lnTo>
                  <a:pt x="3560" y="674"/>
                </a:lnTo>
                <a:lnTo>
                  <a:pt x="3554" y="668"/>
                </a:lnTo>
                <a:lnTo>
                  <a:pt x="3548" y="664"/>
                </a:lnTo>
                <a:lnTo>
                  <a:pt x="3540" y="660"/>
                </a:lnTo>
                <a:lnTo>
                  <a:pt x="3532" y="660"/>
                </a:lnTo>
                <a:lnTo>
                  <a:pt x="3516" y="658"/>
                </a:lnTo>
                <a:lnTo>
                  <a:pt x="3508" y="656"/>
                </a:lnTo>
                <a:lnTo>
                  <a:pt x="3502" y="652"/>
                </a:lnTo>
                <a:lnTo>
                  <a:pt x="3496" y="648"/>
                </a:lnTo>
                <a:lnTo>
                  <a:pt x="3486" y="646"/>
                </a:lnTo>
                <a:lnTo>
                  <a:pt x="3474" y="644"/>
                </a:lnTo>
                <a:lnTo>
                  <a:pt x="3460" y="644"/>
                </a:lnTo>
                <a:lnTo>
                  <a:pt x="3420" y="648"/>
                </a:lnTo>
                <a:lnTo>
                  <a:pt x="3366" y="654"/>
                </a:lnTo>
                <a:lnTo>
                  <a:pt x="3340" y="658"/>
                </a:lnTo>
                <a:lnTo>
                  <a:pt x="3324" y="664"/>
                </a:lnTo>
                <a:lnTo>
                  <a:pt x="3314" y="668"/>
                </a:lnTo>
                <a:lnTo>
                  <a:pt x="3308" y="672"/>
                </a:lnTo>
                <a:lnTo>
                  <a:pt x="3302" y="676"/>
                </a:lnTo>
                <a:lnTo>
                  <a:pt x="3298" y="678"/>
                </a:lnTo>
                <a:lnTo>
                  <a:pt x="3290" y="676"/>
                </a:lnTo>
                <a:lnTo>
                  <a:pt x="3276" y="672"/>
                </a:lnTo>
                <a:lnTo>
                  <a:pt x="3262" y="668"/>
                </a:lnTo>
                <a:lnTo>
                  <a:pt x="3250" y="666"/>
                </a:lnTo>
                <a:lnTo>
                  <a:pt x="3242" y="668"/>
                </a:lnTo>
                <a:lnTo>
                  <a:pt x="3236" y="670"/>
                </a:lnTo>
                <a:lnTo>
                  <a:pt x="3228" y="672"/>
                </a:lnTo>
                <a:lnTo>
                  <a:pt x="3222" y="672"/>
                </a:lnTo>
                <a:lnTo>
                  <a:pt x="3216" y="670"/>
                </a:lnTo>
                <a:lnTo>
                  <a:pt x="3206" y="664"/>
                </a:lnTo>
                <a:lnTo>
                  <a:pt x="3198" y="658"/>
                </a:lnTo>
                <a:lnTo>
                  <a:pt x="3194" y="658"/>
                </a:lnTo>
                <a:lnTo>
                  <a:pt x="3190" y="660"/>
                </a:lnTo>
                <a:lnTo>
                  <a:pt x="3190" y="664"/>
                </a:lnTo>
                <a:lnTo>
                  <a:pt x="3188" y="668"/>
                </a:lnTo>
                <a:lnTo>
                  <a:pt x="3186" y="672"/>
                </a:lnTo>
                <a:lnTo>
                  <a:pt x="3184" y="674"/>
                </a:lnTo>
                <a:lnTo>
                  <a:pt x="3178" y="672"/>
                </a:lnTo>
                <a:lnTo>
                  <a:pt x="3172" y="668"/>
                </a:lnTo>
                <a:lnTo>
                  <a:pt x="3170" y="664"/>
                </a:lnTo>
                <a:lnTo>
                  <a:pt x="3170" y="662"/>
                </a:lnTo>
                <a:lnTo>
                  <a:pt x="3170" y="658"/>
                </a:lnTo>
                <a:lnTo>
                  <a:pt x="3172" y="654"/>
                </a:lnTo>
                <a:lnTo>
                  <a:pt x="3170" y="650"/>
                </a:lnTo>
                <a:lnTo>
                  <a:pt x="3168" y="646"/>
                </a:lnTo>
                <a:lnTo>
                  <a:pt x="3162" y="638"/>
                </a:lnTo>
                <a:lnTo>
                  <a:pt x="3154" y="634"/>
                </a:lnTo>
                <a:lnTo>
                  <a:pt x="3146" y="630"/>
                </a:lnTo>
                <a:lnTo>
                  <a:pt x="3142" y="630"/>
                </a:lnTo>
                <a:lnTo>
                  <a:pt x="3136" y="632"/>
                </a:lnTo>
                <a:lnTo>
                  <a:pt x="3128" y="634"/>
                </a:lnTo>
                <a:lnTo>
                  <a:pt x="3126" y="632"/>
                </a:lnTo>
                <a:lnTo>
                  <a:pt x="3124" y="628"/>
                </a:lnTo>
                <a:lnTo>
                  <a:pt x="3124" y="624"/>
                </a:lnTo>
                <a:lnTo>
                  <a:pt x="3124" y="622"/>
                </a:lnTo>
                <a:lnTo>
                  <a:pt x="3130" y="620"/>
                </a:lnTo>
                <a:lnTo>
                  <a:pt x="3150" y="622"/>
                </a:lnTo>
                <a:lnTo>
                  <a:pt x="3170" y="622"/>
                </a:lnTo>
                <a:lnTo>
                  <a:pt x="3176" y="620"/>
                </a:lnTo>
                <a:lnTo>
                  <a:pt x="3176" y="618"/>
                </a:lnTo>
                <a:lnTo>
                  <a:pt x="3176" y="616"/>
                </a:lnTo>
                <a:lnTo>
                  <a:pt x="3174" y="610"/>
                </a:lnTo>
                <a:lnTo>
                  <a:pt x="3170" y="608"/>
                </a:lnTo>
                <a:lnTo>
                  <a:pt x="3156" y="604"/>
                </a:lnTo>
                <a:lnTo>
                  <a:pt x="3138" y="602"/>
                </a:lnTo>
                <a:lnTo>
                  <a:pt x="3130" y="598"/>
                </a:lnTo>
                <a:lnTo>
                  <a:pt x="3120" y="594"/>
                </a:lnTo>
                <a:lnTo>
                  <a:pt x="3100" y="584"/>
                </a:lnTo>
                <a:lnTo>
                  <a:pt x="3092" y="582"/>
                </a:lnTo>
                <a:lnTo>
                  <a:pt x="3084" y="580"/>
                </a:lnTo>
                <a:lnTo>
                  <a:pt x="3066" y="580"/>
                </a:lnTo>
                <a:lnTo>
                  <a:pt x="3042" y="584"/>
                </a:lnTo>
                <a:lnTo>
                  <a:pt x="3030" y="586"/>
                </a:lnTo>
                <a:lnTo>
                  <a:pt x="3022" y="582"/>
                </a:lnTo>
                <a:lnTo>
                  <a:pt x="3014" y="578"/>
                </a:lnTo>
                <a:lnTo>
                  <a:pt x="3008" y="574"/>
                </a:lnTo>
                <a:lnTo>
                  <a:pt x="2996" y="562"/>
                </a:lnTo>
                <a:lnTo>
                  <a:pt x="2990" y="560"/>
                </a:lnTo>
                <a:lnTo>
                  <a:pt x="2984" y="558"/>
                </a:lnTo>
                <a:lnTo>
                  <a:pt x="2974" y="560"/>
                </a:lnTo>
                <a:lnTo>
                  <a:pt x="2964" y="558"/>
                </a:lnTo>
                <a:lnTo>
                  <a:pt x="2938" y="556"/>
                </a:lnTo>
                <a:lnTo>
                  <a:pt x="2908" y="552"/>
                </a:lnTo>
                <a:lnTo>
                  <a:pt x="2876" y="550"/>
                </a:lnTo>
                <a:lnTo>
                  <a:pt x="2870" y="550"/>
                </a:lnTo>
                <a:lnTo>
                  <a:pt x="2866" y="552"/>
                </a:lnTo>
                <a:lnTo>
                  <a:pt x="2862" y="554"/>
                </a:lnTo>
                <a:lnTo>
                  <a:pt x="2860" y="558"/>
                </a:lnTo>
                <a:lnTo>
                  <a:pt x="2862" y="562"/>
                </a:lnTo>
                <a:lnTo>
                  <a:pt x="2864" y="568"/>
                </a:lnTo>
                <a:lnTo>
                  <a:pt x="2870" y="574"/>
                </a:lnTo>
                <a:lnTo>
                  <a:pt x="2878" y="582"/>
                </a:lnTo>
                <a:lnTo>
                  <a:pt x="2888" y="588"/>
                </a:lnTo>
                <a:lnTo>
                  <a:pt x="2896" y="592"/>
                </a:lnTo>
                <a:lnTo>
                  <a:pt x="2910" y="598"/>
                </a:lnTo>
                <a:lnTo>
                  <a:pt x="2920" y="602"/>
                </a:lnTo>
                <a:lnTo>
                  <a:pt x="2922" y="604"/>
                </a:lnTo>
                <a:lnTo>
                  <a:pt x="2924" y="610"/>
                </a:lnTo>
                <a:lnTo>
                  <a:pt x="2926" y="614"/>
                </a:lnTo>
                <a:lnTo>
                  <a:pt x="2930" y="618"/>
                </a:lnTo>
                <a:lnTo>
                  <a:pt x="2938" y="620"/>
                </a:lnTo>
                <a:lnTo>
                  <a:pt x="2948" y="620"/>
                </a:lnTo>
                <a:lnTo>
                  <a:pt x="2972" y="616"/>
                </a:lnTo>
                <a:lnTo>
                  <a:pt x="3000" y="610"/>
                </a:lnTo>
                <a:lnTo>
                  <a:pt x="3012" y="608"/>
                </a:lnTo>
                <a:lnTo>
                  <a:pt x="3020" y="610"/>
                </a:lnTo>
                <a:lnTo>
                  <a:pt x="3026" y="612"/>
                </a:lnTo>
                <a:lnTo>
                  <a:pt x="3030" y="616"/>
                </a:lnTo>
                <a:lnTo>
                  <a:pt x="3040" y="626"/>
                </a:lnTo>
                <a:lnTo>
                  <a:pt x="3046" y="634"/>
                </a:lnTo>
                <a:lnTo>
                  <a:pt x="3054" y="640"/>
                </a:lnTo>
                <a:lnTo>
                  <a:pt x="3060" y="644"/>
                </a:lnTo>
                <a:lnTo>
                  <a:pt x="3062" y="648"/>
                </a:lnTo>
                <a:lnTo>
                  <a:pt x="3064" y="650"/>
                </a:lnTo>
                <a:lnTo>
                  <a:pt x="3064" y="654"/>
                </a:lnTo>
                <a:lnTo>
                  <a:pt x="3060" y="662"/>
                </a:lnTo>
                <a:lnTo>
                  <a:pt x="3056" y="670"/>
                </a:lnTo>
                <a:lnTo>
                  <a:pt x="3050" y="678"/>
                </a:lnTo>
                <a:lnTo>
                  <a:pt x="3046" y="684"/>
                </a:lnTo>
                <a:lnTo>
                  <a:pt x="3046" y="690"/>
                </a:lnTo>
                <a:lnTo>
                  <a:pt x="3046" y="692"/>
                </a:lnTo>
                <a:lnTo>
                  <a:pt x="3050" y="694"/>
                </a:lnTo>
                <a:lnTo>
                  <a:pt x="3056" y="698"/>
                </a:lnTo>
                <a:lnTo>
                  <a:pt x="3058" y="704"/>
                </a:lnTo>
                <a:lnTo>
                  <a:pt x="3060" y="714"/>
                </a:lnTo>
                <a:lnTo>
                  <a:pt x="3060" y="720"/>
                </a:lnTo>
                <a:lnTo>
                  <a:pt x="3062" y="724"/>
                </a:lnTo>
                <a:lnTo>
                  <a:pt x="3068" y="730"/>
                </a:lnTo>
                <a:lnTo>
                  <a:pt x="3076" y="736"/>
                </a:lnTo>
                <a:lnTo>
                  <a:pt x="3086" y="740"/>
                </a:lnTo>
                <a:lnTo>
                  <a:pt x="3092" y="740"/>
                </a:lnTo>
                <a:lnTo>
                  <a:pt x="3096" y="740"/>
                </a:lnTo>
                <a:lnTo>
                  <a:pt x="3100" y="738"/>
                </a:lnTo>
                <a:lnTo>
                  <a:pt x="3104" y="736"/>
                </a:lnTo>
                <a:lnTo>
                  <a:pt x="3110" y="736"/>
                </a:lnTo>
                <a:lnTo>
                  <a:pt x="3120" y="738"/>
                </a:lnTo>
                <a:lnTo>
                  <a:pt x="3134" y="744"/>
                </a:lnTo>
                <a:lnTo>
                  <a:pt x="3142" y="746"/>
                </a:lnTo>
                <a:lnTo>
                  <a:pt x="3150" y="748"/>
                </a:lnTo>
                <a:lnTo>
                  <a:pt x="3164" y="748"/>
                </a:lnTo>
                <a:lnTo>
                  <a:pt x="3176" y="744"/>
                </a:lnTo>
                <a:lnTo>
                  <a:pt x="3186" y="738"/>
                </a:lnTo>
                <a:lnTo>
                  <a:pt x="3200" y="730"/>
                </a:lnTo>
                <a:lnTo>
                  <a:pt x="3202" y="730"/>
                </a:lnTo>
                <a:lnTo>
                  <a:pt x="3202" y="736"/>
                </a:lnTo>
                <a:close/>
                <a:moveTo>
                  <a:pt x="2978" y="738"/>
                </a:moveTo>
                <a:lnTo>
                  <a:pt x="2978" y="738"/>
                </a:lnTo>
                <a:lnTo>
                  <a:pt x="2992" y="738"/>
                </a:lnTo>
                <a:lnTo>
                  <a:pt x="3004" y="734"/>
                </a:lnTo>
                <a:lnTo>
                  <a:pt x="3008" y="728"/>
                </a:lnTo>
                <a:lnTo>
                  <a:pt x="3010" y="720"/>
                </a:lnTo>
                <a:lnTo>
                  <a:pt x="3008" y="710"/>
                </a:lnTo>
                <a:lnTo>
                  <a:pt x="3004" y="700"/>
                </a:lnTo>
                <a:lnTo>
                  <a:pt x="2996" y="688"/>
                </a:lnTo>
                <a:lnTo>
                  <a:pt x="2986" y="678"/>
                </a:lnTo>
                <a:lnTo>
                  <a:pt x="2974" y="668"/>
                </a:lnTo>
                <a:lnTo>
                  <a:pt x="2964" y="664"/>
                </a:lnTo>
                <a:lnTo>
                  <a:pt x="2952" y="660"/>
                </a:lnTo>
                <a:lnTo>
                  <a:pt x="2940" y="662"/>
                </a:lnTo>
                <a:lnTo>
                  <a:pt x="2928" y="664"/>
                </a:lnTo>
                <a:lnTo>
                  <a:pt x="2918" y="670"/>
                </a:lnTo>
                <a:lnTo>
                  <a:pt x="2908" y="676"/>
                </a:lnTo>
                <a:lnTo>
                  <a:pt x="2898" y="684"/>
                </a:lnTo>
                <a:lnTo>
                  <a:pt x="2888" y="698"/>
                </a:lnTo>
                <a:lnTo>
                  <a:pt x="2884" y="704"/>
                </a:lnTo>
                <a:lnTo>
                  <a:pt x="2882" y="708"/>
                </a:lnTo>
                <a:lnTo>
                  <a:pt x="2884" y="714"/>
                </a:lnTo>
                <a:lnTo>
                  <a:pt x="2886" y="718"/>
                </a:lnTo>
                <a:lnTo>
                  <a:pt x="2894" y="720"/>
                </a:lnTo>
                <a:lnTo>
                  <a:pt x="2904" y="722"/>
                </a:lnTo>
                <a:lnTo>
                  <a:pt x="2914" y="724"/>
                </a:lnTo>
                <a:lnTo>
                  <a:pt x="2924" y="726"/>
                </a:lnTo>
                <a:lnTo>
                  <a:pt x="2936" y="732"/>
                </a:lnTo>
                <a:lnTo>
                  <a:pt x="2950" y="736"/>
                </a:lnTo>
                <a:lnTo>
                  <a:pt x="2962" y="738"/>
                </a:lnTo>
                <a:lnTo>
                  <a:pt x="2978" y="738"/>
                </a:lnTo>
                <a:close/>
                <a:moveTo>
                  <a:pt x="3076" y="866"/>
                </a:moveTo>
                <a:lnTo>
                  <a:pt x="3076" y="866"/>
                </a:lnTo>
                <a:lnTo>
                  <a:pt x="3086" y="852"/>
                </a:lnTo>
                <a:lnTo>
                  <a:pt x="3098" y="840"/>
                </a:lnTo>
                <a:lnTo>
                  <a:pt x="3118" y="818"/>
                </a:lnTo>
                <a:lnTo>
                  <a:pt x="3126" y="810"/>
                </a:lnTo>
                <a:lnTo>
                  <a:pt x="3128" y="806"/>
                </a:lnTo>
                <a:lnTo>
                  <a:pt x="3128" y="802"/>
                </a:lnTo>
                <a:lnTo>
                  <a:pt x="3128" y="798"/>
                </a:lnTo>
                <a:lnTo>
                  <a:pt x="3126" y="794"/>
                </a:lnTo>
                <a:lnTo>
                  <a:pt x="3122" y="792"/>
                </a:lnTo>
                <a:lnTo>
                  <a:pt x="3114" y="790"/>
                </a:lnTo>
                <a:lnTo>
                  <a:pt x="3102" y="786"/>
                </a:lnTo>
                <a:lnTo>
                  <a:pt x="3090" y="784"/>
                </a:lnTo>
                <a:lnTo>
                  <a:pt x="3084" y="786"/>
                </a:lnTo>
                <a:lnTo>
                  <a:pt x="3076" y="788"/>
                </a:lnTo>
                <a:lnTo>
                  <a:pt x="3066" y="790"/>
                </a:lnTo>
                <a:lnTo>
                  <a:pt x="3058" y="790"/>
                </a:lnTo>
                <a:lnTo>
                  <a:pt x="3050" y="786"/>
                </a:lnTo>
                <a:lnTo>
                  <a:pt x="3034" y="778"/>
                </a:lnTo>
                <a:lnTo>
                  <a:pt x="3026" y="776"/>
                </a:lnTo>
                <a:lnTo>
                  <a:pt x="3016" y="774"/>
                </a:lnTo>
                <a:lnTo>
                  <a:pt x="3006" y="772"/>
                </a:lnTo>
                <a:lnTo>
                  <a:pt x="2994" y="774"/>
                </a:lnTo>
                <a:lnTo>
                  <a:pt x="2958" y="780"/>
                </a:lnTo>
                <a:lnTo>
                  <a:pt x="2940" y="784"/>
                </a:lnTo>
                <a:lnTo>
                  <a:pt x="2932" y="788"/>
                </a:lnTo>
                <a:lnTo>
                  <a:pt x="2928" y="792"/>
                </a:lnTo>
                <a:lnTo>
                  <a:pt x="2928" y="796"/>
                </a:lnTo>
                <a:lnTo>
                  <a:pt x="2932" y="802"/>
                </a:lnTo>
                <a:lnTo>
                  <a:pt x="2932" y="804"/>
                </a:lnTo>
                <a:lnTo>
                  <a:pt x="2928" y="804"/>
                </a:lnTo>
                <a:lnTo>
                  <a:pt x="2918" y="804"/>
                </a:lnTo>
                <a:lnTo>
                  <a:pt x="2916" y="806"/>
                </a:lnTo>
                <a:lnTo>
                  <a:pt x="2914" y="808"/>
                </a:lnTo>
                <a:lnTo>
                  <a:pt x="2910" y="822"/>
                </a:lnTo>
                <a:lnTo>
                  <a:pt x="2910" y="846"/>
                </a:lnTo>
                <a:lnTo>
                  <a:pt x="2910" y="860"/>
                </a:lnTo>
                <a:lnTo>
                  <a:pt x="2912" y="872"/>
                </a:lnTo>
                <a:lnTo>
                  <a:pt x="2916" y="880"/>
                </a:lnTo>
                <a:lnTo>
                  <a:pt x="2920" y="888"/>
                </a:lnTo>
                <a:lnTo>
                  <a:pt x="2928" y="900"/>
                </a:lnTo>
                <a:lnTo>
                  <a:pt x="2930" y="906"/>
                </a:lnTo>
                <a:lnTo>
                  <a:pt x="2930" y="916"/>
                </a:lnTo>
                <a:lnTo>
                  <a:pt x="2930" y="924"/>
                </a:lnTo>
                <a:lnTo>
                  <a:pt x="2932" y="928"/>
                </a:lnTo>
                <a:lnTo>
                  <a:pt x="2936" y="930"/>
                </a:lnTo>
                <a:lnTo>
                  <a:pt x="2942" y="930"/>
                </a:lnTo>
                <a:lnTo>
                  <a:pt x="2956" y="928"/>
                </a:lnTo>
                <a:lnTo>
                  <a:pt x="2964" y="930"/>
                </a:lnTo>
                <a:lnTo>
                  <a:pt x="2974" y="934"/>
                </a:lnTo>
                <a:lnTo>
                  <a:pt x="2978" y="936"/>
                </a:lnTo>
                <a:lnTo>
                  <a:pt x="2980" y="934"/>
                </a:lnTo>
                <a:lnTo>
                  <a:pt x="2986" y="918"/>
                </a:lnTo>
                <a:lnTo>
                  <a:pt x="2988" y="914"/>
                </a:lnTo>
                <a:lnTo>
                  <a:pt x="2992" y="910"/>
                </a:lnTo>
                <a:lnTo>
                  <a:pt x="2998" y="908"/>
                </a:lnTo>
                <a:lnTo>
                  <a:pt x="3000" y="906"/>
                </a:lnTo>
                <a:lnTo>
                  <a:pt x="3002" y="902"/>
                </a:lnTo>
                <a:lnTo>
                  <a:pt x="3000" y="896"/>
                </a:lnTo>
                <a:lnTo>
                  <a:pt x="2996" y="888"/>
                </a:lnTo>
                <a:lnTo>
                  <a:pt x="2994" y="882"/>
                </a:lnTo>
                <a:lnTo>
                  <a:pt x="2994" y="880"/>
                </a:lnTo>
                <a:lnTo>
                  <a:pt x="2996" y="878"/>
                </a:lnTo>
                <a:lnTo>
                  <a:pt x="2998" y="876"/>
                </a:lnTo>
                <a:lnTo>
                  <a:pt x="3010" y="878"/>
                </a:lnTo>
                <a:lnTo>
                  <a:pt x="3022" y="880"/>
                </a:lnTo>
                <a:lnTo>
                  <a:pt x="3038" y="880"/>
                </a:lnTo>
                <a:lnTo>
                  <a:pt x="3052" y="880"/>
                </a:lnTo>
                <a:lnTo>
                  <a:pt x="3060" y="878"/>
                </a:lnTo>
                <a:lnTo>
                  <a:pt x="3066" y="876"/>
                </a:lnTo>
                <a:lnTo>
                  <a:pt x="3072" y="872"/>
                </a:lnTo>
                <a:lnTo>
                  <a:pt x="3076" y="866"/>
                </a:lnTo>
                <a:close/>
                <a:moveTo>
                  <a:pt x="2888" y="892"/>
                </a:moveTo>
                <a:lnTo>
                  <a:pt x="2888" y="892"/>
                </a:lnTo>
                <a:lnTo>
                  <a:pt x="2884" y="884"/>
                </a:lnTo>
                <a:lnTo>
                  <a:pt x="2880" y="882"/>
                </a:lnTo>
                <a:lnTo>
                  <a:pt x="2876" y="882"/>
                </a:lnTo>
                <a:lnTo>
                  <a:pt x="2872" y="884"/>
                </a:lnTo>
                <a:lnTo>
                  <a:pt x="2868" y="886"/>
                </a:lnTo>
                <a:lnTo>
                  <a:pt x="2864" y="888"/>
                </a:lnTo>
                <a:lnTo>
                  <a:pt x="2858" y="884"/>
                </a:lnTo>
                <a:lnTo>
                  <a:pt x="2852" y="876"/>
                </a:lnTo>
                <a:lnTo>
                  <a:pt x="2846" y="868"/>
                </a:lnTo>
                <a:lnTo>
                  <a:pt x="2838" y="862"/>
                </a:lnTo>
                <a:lnTo>
                  <a:pt x="2824" y="854"/>
                </a:lnTo>
                <a:lnTo>
                  <a:pt x="2820" y="850"/>
                </a:lnTo>
                <a:lnTo>
                  <a:pt x="2820" y="848"/>
                </a:lnTo>
                <a:lnTo>
                  <a:pt x="2826" y="846"/>
                </a:lnTo>
                <a:lnTo>
                  <a:pt x="2838" y="842"/>
                </a:lnTo>
                <a:lnTo>
                  <a:pt x="2850" y="838"/>
                </a:lnTo>
                <a:lnTo>
                  <a:pt x="2856" y="836"/>
                </a:lnTo>
                <a:lnTo>
                  <a:pt x="2856" y="832"/>
                </a:lnTo>
                <a:lnTo>
                  <a:pt x="2852" y="830"/>
                </a:lnTo>
                <a:lnTo>
                  <a:pt x="2848" y="828"/>
                </a:lnTo>
                <a:lnTo>
                  <a:pt x="2846" y="826"/>
                </a:lnTo>
                <a:lnTo>
                  <a:pt x="2846" y="822"/>
                </a:lnTo>
                <a:lnTo>
                  <a:pt x="2852" y="818"/>
                </a:lnTo>
                <a:lnTo>
                  <a:pt x="2860" y="814"/>
                </a:lnTo>
                <a:lnTo>
                  <a:pt x="2862" y="808"/>
                </a:lnTo>
                <a:lnTo>
                  <a:pt x="2862" y="804"/>
                </a:lnTo>
                <a:lnTo>
                  <a:pt x="2856" y="800"/>
                </a:lnTo>
                <a:lnTo>
                  <a:pt x="2848" y="798"/>
                </a:lnTo>
                <a:lnTo>
                  <a:pt x="2838" y="796"/>
                </a:lnTo>
                <a:lnTo>
                  <a:pt x="2824" y="798"/>
                </a:lnTo>
                <a:lnTo>
                  <a:pt x="2810" y="802"/>
                </a:lnTo>
                <a:lnTo>
                  <a:pt x="2796" y="806"/>
                </a:lnTo>
                <a:lnTo>
                  <a:pt x="2782" y="806"/>
                </a:lnTo>
                <a:lnTo>
                  <a:pt x="2770" y="804"/>
                </a:lnTo>
                <a:lnTo>
                  <a:pt x="2760" y="800"/>
                </a:lnTo>
                <a:lnTo>
                  <a:pt x="2750" y="796"/>
                </a:lnTo>
                <a:lnTo>
                  <a:pt x="2740" y="794"/>
                </a:lnTo>
                <a:lnTo>
                  <a:pt x="2728" y="794"/>
                </a:lnTo>
                <a:lnTo>
                  <a:pt x="2718" y="798"/>
                </a:lnTo>
                <a:lnTo>
                  <a:pt x="2694" y="808"/>
                </a:lnTo>
                <a:lnTo>
                  <a:pt x="2686" y="812"/>
                </a:lnTo>
                <a:lnTo>
                  <a:pt x="2680" y="818"/>
                </a:lnTo>
                <a:lnTo>
                  <a:pt x="2676" y="822"/>
                </a:lnTo>
                <a:lnTo>
                  <a:pt x="2678" y="826"/>
                </a:lnTo>
                <a:lnTo>
                  <a:pt x="2682" y="832"/>
                </a:lnTo>
                <a:lnTo>
                  <a:pt x="2694" y="838"/>
                </a:lnTo>
                <a:lnTo>
                  <a:pt x="2702" y="840"/>
                </a:lnTo>
                <a:lnTo>
                  <a:pt x="2712" y="846"/>
                </a:lnTo>
                <a:lnTo>
                  <a:pt x="2718" y="850"/>
                </a:lnTo>
                <a:lnTo>
                  <a:pt x="2724" y="856"/>
                </a:lnTo>
                <a:lnTo>
                  <a:pt x="2726" y="862"/>
                </a:lnTo>
                <a:lnTo>
                  <a:pt x="2724" y="866"/>
                </a:lnTo>
                <a:lnTo>
                  <a:pt x="2722" y="872"/>
                </a:lnTo>
                <a:lnTo>
                  <a:pt x="2716" y="876"/>
                </a:lnTo>
                <a:lnTo>
                  <a:pt x="2710" y="880"/>
                </a:lnTo>
                <a:lnTo>
                  <a:pt x="2704" y="882"/>
                </a:lnTo>
                <a:lnTo>
                  <a:pt x="2698" y="882"/>
                </a:lnTo>
                <a:lnTo>
                  <a:pt x="2688" y="880"/>
                </a:lnTo>
                <a:lnTo>
                  <a:pt x="2678" y="874"/>
                </a:lnTo>
                <a:lnTo>
                  <a:pt x="2668" y="866"/>
                </a:lnTo>
                <a:lnTo>
                  <a:pt x="2660" y="860"/>
                </a:lnTo>
                <a:lnTo>
                  <a:pt x="2650" y="856"/>
                </a:lnTo>
                <a:lnTo>
                  <a:pt x="2646" y="856"/>
                </a:lnTo>
                <a:lnTo>
                  <a:pt x="2642" y="858"/>
                </a:lnTo>
                <a:lnTo>
                  <a:pt x="2636" y="860"/>
                </a:lnTo>
                <a:lnTo>
                  <a:pt x="2632" y="864"/>
                </a:lnTo>
                <a:lnTo>
                  <a:pt x="2630" y="872"/>
                </a:lnTo>
                <a:lnTo>
                  <a:pt x="2632" y="880"/>
                </a:lnTo>
                <a:lnTo>
                  <a:pt x="2636" y="888"/>
                </a:lnTo>
                <a:lnTo>
                  <a:pt x="2646" y="896"/>
                </a:lnTo>
                <a:lnTo>
                  <a:pt x="2656" y="904"/>
                </a:lnTo>
                <a:lnTo>
                  <a:pt x="2672" y="912"/>
                </a:lnTo>
                <a:lnTo>
                  <a:pt x="2688" y="918"/>
                </a:lnTo>
                <a:lnTo>
                  <a:pt x="2704" y="924"/>
                </a:lnTo>
                <a:lnTo>
                  <a:pt x="2722" y="932"/>
                </a:lnTo>
                <a:lnTo>
                  <a:pt x="2734" y="940"/>
                </a:lnTo>
                <a:lnTo>
                  <a:pt x="2746" y="952"/>
                </a:lnTo>
                <a:lnTo>
                  <a:pt x="2756" y="962"/>
                </a:lnTo>
                <a:lnTo>
                  <a:pt x="2772" y="982"/>
                </a:lnTo>
                <a:lnTo>
                  <a:pt x="2782" y="988"/>
                </a:lnTo>
                <a:lnTo>
                  <a:pt x="2792" y="992"/>
                </a:lnTo>
                <a:lnTo>
                  <a:pt x="2800" y="992"/>
                </a:lnTo>
                <a:lnTo>
                  <a:pt x="2806" y="988"/>
                </a:lnTo>
                <a:lnTo>
                  <a:pt x="2810" y="984"/>
                </a:lnTo>
                <a:lnTo>
                  <a:pt x="2810" y="978"/>
                </a:lnTo>
                <a:lnTo>
                  <a:pt x="2812" y="972"/>
                </a:lnTo>
                <a:lnTo>
                  <a:pt x="2814" y="966"/>
                </a:lnTo>
                <a:lnTo>
                  <a:pt x="2816" y="964"/>
                </a:lnTo>
                <a:lnTo>
                  <a:pt x="2822" y="964"/>
                </a:lnTo>
                <a:lnTo>
                  <a:pt x="2830" y="966"/>
                </a:lnTo>
                <a:lnTo>
                  <a:pt x="2840" y="966"/>
                </a:lnTo>
                <a:lnTo>
                  <a:pt x="2850" y="964"/>
                </a:lnTo>
                <a:lnTo>
                  <a:pt x="2860" y="960"/>
                </a:lnTo>
                <a:lnTo>
                  <a:pt x="2868" y="956"/>
                </a:lnTo>
                <a:lnTo>
                  <a:pt x="2876" y="948"/>
                </a:lnTo>
                <a:lnTo>
                  <a:pt x="2880" y="940"/>
                </a:lnTo>
                <a:lnTo>
                  <a:pt x="2882" y="932"/>
                </a:lnTo>
                <a:lnTo>
                  <a:pt x="2882" y="922"/>
                </a:lnTo>
                <a:lnTo>
                  <a:pt x="2884" y="918"/>
                </a:lnTo>
                <a:lnTo>
                  <a:pt x="2888" y="910"/>
                </a:lnTo>
                <a:lnTo>
                  <a:pt x="2888" y="908"/>
                </a:lnTo>
                <a:lnTo>
                  <a:pt x="2890" y="904"/>
                </a:lnTo>
                <a:lnTo>
                  <a:pt x="2890" y="900"/>
                </a:lnTo>
                <a:lnTo>
                  <a:pt x="2888" y="892"/>
                </a:lnTo>
                <a:close/>
                <a:moveTo>
                  <a:pt x="2794" y="1126"/>
                </a:moveTo>
                <a:lnTo>
                  <a:pt x="2794" y="1126"/>
                </a:lnTo>
                <a:lnTo>
                  <a:pt x="2784" y="1136"/>
                </a:lnTo>
                <a:lnTo>
                  <a:pt x="2776" y="1142"/>
                </a:lnTo>
                <a:lnTo>
                  <a:pt x="2768" y="1146"/>
                </a:lnTo>
                <a:lnTo>
                  <a:pt x="2760" y="1148"/>
                </a:lnTo>
                <a:lnTo>
                  <a:pt x="2756" y="1150"/>
                </a:lnTo>
                <a:lnTo>
                  <a:pt x="2754" y="1152"/>
                </a:lnTo>
                <a:lnTo>
                  <a:pt x="2756" y="1154"/>
                </a:lnTo>
                <a:lnTo>
                  <a:pt x="2762" y="1162"/>
                </a:lnTo>
                <a:lnTo>
                  <a:pt x="2772" y="1168"/>
                </a:lnTo>
                <a:lnTo>
                  <a:pt x="2786" y="1172"/>
                </a:lnTo>
                <a:lnTo>
                  <a:pt x="2826" y="1180"/>
                </a:lnTo>
                <a:lnTo>
                  <a:pt x="2836" y="1182"/>
                </a:lnTo>
                <a:lnTo>
                  <a:pt x="2848" y="1186"/>
                </a:lnTo>
                <a:lnTo>
                  <a:pt x="2864" y="1194"/>
                </a:lnTo>
                <a:lnTo>
                  <a:pt x="2872" y="1196"/>
                </a:lnTo>
                <a:lnTo>
                  <a:pt x="2880" y="1196"/>
                </a:lnTo>
                <a:lnTo>
                  <a:pt x="2888" y="1194"/>
                </a:lnTo>
                <a:lnTo>
                  <a:pt x="2896" y="1190"/>
                </a:lnTo>
                <a:lnTo>
                  <a:pt x="2902" y="1184"/>
                </a:lnTo>
                <a:lnTo>
                  <a:pt x="2908" y="1182"/>
                </a:lnTo>
                <a:lnTo>
                  <a:pt x="2916" y="1180"/>
                </a:lnTo>
                <a:lnTo>
                  <a:pt x="2924" y="1180"/>
                </a:lnTo>
                <a:lnTo>
                  <a:pt x="2926" y="1176"/>
                </a:lnTo>
                <a:lnTo>
                  <a:pt x="2930" y="1172"/>
                </a:lnTo>
                <a:lnTo>
                  <a:pt x="2932" y="1166"/>
                </a:lnTo>
                <a:lnTo>
                  <a:pt x="2932" y="1164"/>
                </a:lnTo>
                <a:lnTo>
                  <a:pt x="2928" y="1164"/>
                </a:lnTo>
                <a:lnTo>
                  <a:pt x="2922" y="1164"/>
                </a:lnTo>
                <a:lnTo>
                  <a:pt x="2916" y="1162"/>
                </a:lnTo>
                <a:lnTo>
                  <a:pt x="2910" y="1158"/>
                </a:lnTo>
                <a:lnTo>
                  <a:pt x="2904" y="1150"/>
                </a:lnTo>
                <a:lnTo>
                  <a:pt x="2900" y="1142"/>
                </a:lnTo>
                <a:lnTo>
                  <a:pt x="2896" y="1138"/>
                </a:lnTo>
                <a:lnTo>
                  <a:pt x="2892" y="1136"/>
                </a:lnTo>
                <a:lnTo>
                  <a:pt x="2888" y="1134"/>
                </a:lnTo>
                <a:lnTo>
                  <a:pt x="2876" y="1130"/>
                </a:lnTo>
                <a:lnTo>
                  <a:pt x="2868" y="1124"/>
                </a:lnTo>
                <a:lnTo>
                  <a:pt x="2858" y="1114"/>
                </a:lnTo>
                <a:lnTo>
                  <a:pt x="2848" y="1102"/>
                </a:lnTo>
                <a:lnTo>
                  <a:pt x="2838" y="1096"/>
                </a:lnTo>
                <a:lnTo>
                  <a:pt x="2830" y="1094"/>
                </a:lnTo>
                <a:lnTo>
                  <a:pt x="2822" y="1094"/>
                </a:lnTo>
                <a:lnTo>
                  <a:pt x="2816" y="1098"/>
                </a:lnTo>
                <a:lnTo>
                  <a:pt x="2808" y="1104"/>
                </a:lnTo>
                <a:lnTo>
                  <a:pt x="2794" y="1126"/>
                </a:lnTo>
                <a:close/>
                <a:moveTo>
                  <a:pt x="2544" y="400"/>
                </a:moveTo>
                <a:lnTo>
                  <a:pt x="2544" y="400"/>
                </a:lnTo>
                <a:lnTo>
                  <a:pt x="2544" y="408"/>
                </a:lnTo>
                <a:lnTo>
                  <a:pt x="2546" y="410"/>
                </a:lnTo>
                <a:lnTo>
                  <a:pt x="2550" y="408"/>
                </a:lnTo>
                <a:lnTo>
                  <a:pt x="2554" y="406"/>
                </a:lnTo>
                <a:lnTo>
                  <a:pt x="2560" y="404"/>
                </a:lnTo>
                <a:lnTo>
                  <a:pt x="2566" y="402"/>
                </a:lnTo>
                <a:lnTo>
                  <a:pt x="2572" y="406"/>
                </a:lnTo>
                <a:lnTo>
                  <a:pt x="2580" y="412"/>
                </a:lnTo>
                <a:lnTo>
                  <a:pt x="2586" y="422"/>
                </a:lnTo>
                <a:lnTo>
                  <a:pt x="2586" y="426"/>
                </a:lnTo>
                <a:lnTo>
                  <a:pt x="2582" y="428"/>
                </a:lnTo>
                <a:lnTo>
                  <a:pt x="2576" y="428"/>
                </a:lnTo>
                <a:lnTo>
                  <a:pt x="2558" y="428"/>
                </a:lnTo>
                <a:lnTo>
                  <a:pt x="2548" y="428"/>
                </a:lnTo>
                <a:lnTo>
                  <a:pt x="2540" y="430"/>
                </a:lnTo>
                <a:lnTo>
                  <a:pt x="2538" y="432"/>
                </a:lnTo>
                <a:lnTo>
                  <a:pt x="2538" y="436"/>
                </a:lnTo>
                <a:lnTo>
                  <a:pt x="2538" y="442"/>
                </a:lnTo>
                <a:lnTo>
                  <a:pt x="2542" y="446"/>
                </a:lnTo>
                <a:lnTo>
                  <a:pt x="2550" y="450"/>
                </a:lnTo>
                <a:lnTo>
                  <a:pt x="2560" y="452"/>
                </a:lnTo>
                <a:lnTo>
                  <a:pt x="2574" y="450"/>
                </a:lnTo>
                <a:lnTo>
                  <a:pt x="2592" y="446"/>
                </a:lnTo>
                <a:lnTo>
                  <a:pt x="2612" y="442"/>
                </a:lnTo>
                <a:lnTo>
                  <a:pt x="2622" y="440"/>
                </a:lnTo>
                <a:lnTo>
                  <a:pt x="2628" y="442"/>
                </a:lnTo>
                <a:lnTo>
                  <a:pt x="2628" y="444"/>
                </a:lnTo>
                <a:lnTo>
                  <a:pt x="2630" y="448"/>
                </a:lnTo>
                <a:lnTo>
                  <a:pt x="2634" y="450"/>
                </a:lnTo>
                <a:lnTo>
                  <a:pt x="2644" y="452"/>
                </a:lnTo>
                <a:lnTo>
                  <a:pt x="2660" y="450"/>
                </a:lnTo>
                <a:lnTo>
                  <a:pt x="2670" y="450"/>
                </a:lnTo>
                <a:lnTo>
                  <a:pt x="2678" y="450"/>
                </a:lnTo>
                <a:lnTo>
                  <a:pt x="2684" y="452"/>
                </a:lnTo>
                <a:lnTo>
                  <a:pt x="2688" y="454"/>
                </a:lnTo>
                <a:lnTo>
                  <a:pt x="2696" y="462"/>
                </a:lnTo>
                <a:lnTo>
                  <a:pt x="2700" y="470"/>
                </a:lnTo>
                <a:lnTo>
                  <a:pt x="2708" y="478"/>
                </a:lnTo>
                <a:lnTo>
                  <a:pt x="2712" y="482"/>
                </a:lnTo>
                <a:lnTo>
                  <a:pt x="2718" y="486"/>
                </a:lnTo>
                <a:lnTo>
                  <a:pt x="2724" y="488"/>
                </a:lnTo>
                <a:lnTo>
                  <a:pt x="2734" y="490"/>
                </a:lnTo>
                <a:lnTo>
                  <a:pt x="2746" y="490"/>
                </a:lnTo>
                <a:lnTo>
                  <a:pt x="2758" y="488"/>
                </a:lnTo>
                <a:lnTo>
                  <a:pt x="2768" y="486"/>
                </a:lnTo>
                <a:lnTo>
                  <a:pt x="2776" y="484"/>
                </a:lnTo>
                <a:lnTo>
                  <a:pt x="2780" y="480"/>
                </a:lnTo>
                <a:lnTo>
                  <a:pt x="2782" y="478"/>
                </a:lnTo>
                <a:lnTo>
                  <a:pt x="2780" y="474"/>
                </a:lnTo>
                <a:lnTo>
                  <a:pt x="2778" y="470"/>
                </a:lnTo>
                <a:lnTo>
                  <a:pt x="2772" y="462"/>
                </a:lnTo>
                <a:lnTo>
                  <a:pt x="2754" y="446"/>
                </a:lnTo>
                <a:lnTo>
                  <a:pt x="2750" y="442"/>
                </a:lnTo>
                <a:lnTo>
                  <a:pt x="2750" y="440"/>
                </a:lnTo>
                <a:lnTo>
                  <a:pt x="2752" y="438"/>
                </a:lnTo>
                <a:lnTo>
                  <a:pt x="2758" y="436"/>
                </a:lnTo>
                <a:lnTo>
                  <a:pt x="2762" y="432"/>
                </a:lnTo>
                <a:lnTo>
                  <a:pt x="2762" y="428"/>
                </a:lnTo>
                <a:lnTo>
                  <a:pt x="2762" y="422"/>
                </a:lnTo>
                <a:lnTo>
                  <a:pt x="2756" y="418"/>
                </a:lnTo>
                <a:lnTo>
                  <a:pt x="2750" y="414"/>
                </a:lnTo>
                <a:lnTo>
                  <a:pt x="2738" y="410"/>
                </a:lnTo>
                <a:lnTo>
                  <a:pt x="2724" y="408"/>
                </a:lnTo>
                <a:lnTo>
                  <a:pt x="2704" y="404"/>
                </a:lnTo>
                <a:lnTo>
                  <a:pt x="2702" y="402"/>
                </a:lnTo>
                <a:lnTo>
                  <a:pt x="2700" y="400"/>
                </a:lnTo>
                <a:lnTo>
                  <a:pt x="2698" y="398"/>
                </a:lnTo>
                <a:lnTo>
                  <a:pt x="2696" y="396"/>
                </a:lnTo>
                <a:lnTo>
                  <a:pt x="2690" y="392"/>
                </a:lnTo>
                <a:lnTo>
                  <a:pt x="2678" y="388"/>
                </a:lnTo>
                <a:lnTo>
                  <a:pt x="2664" y="384"/>
                </a:lnTo>
                <a:lnTo>
                  <a:pt x="2656" y="384"/>
                </a:lnTo>
                <a:lnTo>
                  <a:pt x="2648" y="388"/>
                </a:lnTo>
                <a:lnTo>
                  <a:pt x="2644" y="392"/>
                </a:lnTo>
                <a:lnTo>
                  <a:pt x="2642" y="394"/>
                </a:lnTo>
                <a:lnTo>
                  <a:pt x="2638" y="396"/>
                </a:lnTo>
                <a:lnTo>
                  <a:pt x="2636" y="394"/>
                </a:lnTo>
                <a:lnTo>
                  <a:pt x="2632" y="386"/>
                </a:lnTo>
                <a:lnTo>
                  <a:pt x="2630" y="382"/>
                </a:lnTo>
                <a:lnTo>
                  <a:pt x="2624" y="378"/>
                </a:lnTo>
                <a:lnTo>
                  <a:pt x="2610" y="370"/>
                </a:lnTo>
                <a:lnTo>
                  <a:pt x="2592" y="364"/>
                </a:lnTo>
                <a:lnTo>
                  <a:pt x="2574" y="360"/>
                </a:lnTo>
                <a:lnTo>
                  <a:pt x="2554" y="358"/>
                </a:lnTo>
                <a:lnTo>
                  <a:pt x="2536" y="360"/>
                </a:lnTo>
                <a:lnTo>
                  <a:pt x="2530" y="364"/>
                </a:lnTo>
                <a:lnTo>
                  <a:pt x="2524" y="366"/>
                </a:lnTo>
                <a:lnTo>
                  <a:pt x="2520" y="372"/>
                </a:lnTo>
                <a:lnTo>
                  <a:pt x="2516" y="378"/>
                </a:lnTo>
                <a:lnTo>
                  <a:pt x="2516" y="388"/>
                </a:lnTo>
                <a:lnTo>
                  <a:pt x="2516" y="390"/>
                </a:lnTo>
                <a:lnTo>
                  <a:pt x="2518" y="392"/>
                </a:lnTo>
                <a:lnTo>
                  <a:pt x="2522" y="392"/>
                </a:lnTo>
                <a:lnTo>
                  <a:pt x="2528" y="392"/>
                </a:lnTo>
                <a:lnTo>
                  <a:pt x="2534" y="390"/>
                </a:lnTo>
                <a:lnTo>
                  <a:pt x="2540" y="390"/>
                </a:lnTo>
                <a:lnTo>
                  <a:pt x="2544" y="392"/>
                </a:lnTo>
                <a:lnTo>
                  <a:pt x="2544" y="400"/>
                </a:lnTo>
                <a:close/>
                <a:moveTo>
                  <a:pt x="3116" y="190"/>
                </a:moveTo>
                <a:lnTo>
                  <a:pt x="3116" y="190"/>
                </a:lnTo>
                <a:lnTo>
                  <a:pt x="3124" y="194"/>
                </a:lnTo>
                <a:lnTo>
                  <a:pt x="3132" y="196"/>
                </a:lnTo>
                <a:lnTo>
                  <a:pt x="3146" y="194"/>
                </a:lnTo>
                <a:lnTo>
                  <a:pt x="3154" y="194"/>
                </a:lnTo>
                <a:lnTo>
                  <a:pt x="3152" y="196"/>
                </a:lnTo>
                <a:lnTo>
                  <a:pt x="3146" y="200"/>
                </a:lnTo>
                <a:lnTo>
                  <a:pt x="3140" y="206"/>
                </a:lnTo>
                <a:lnTo>
                  <a:pt x="3136" y="210"/>
                </a:lnTo>
                <a:lnTo>
                  <a:pt x="3134" y="216"/>
                </a:lnTo>
                <a:lnTo>
                  <a:pt x="3134" y="220"/>
                </a:lnTo>
                <a:lnTo>
                  <a:pt x="3138" y="226"/>
                </a:lnTo>
                <a:lnTo>
                  <a:pt x="3144" y="230"/>
                </a:lnTo>
                <a:lnTo>
                  <a:pt x="3154" y="234"/>
                </a:lnTo>
                <a:lnTo>
                  <a:pt x="3168" y="238"/>
                </a:lnTo>
                <a:lnTo>
                  <a:pt x="3182" y="242"/>
                </a:lnTo>
                <a:lnTo>
                  <a:pt x="3194" y="248"/>
                </a:lnTo>
                <a:lnTo>
                  <a:pt x="3216" y="256"/>
                </a:lnTo>
                <a:lnTo>
                  <a:pt x="3228" y="258"/>
                </a:lnTo>
                <a:lnTo>
                  <a:pt x="3240" y="258"/>
                </a:lnTo>
                <a:lnTo>
                  <a:pt x="3252" y="254"/>
                </a:lnTo>
                <a:lnTo>
                  <a:pt x="3264" y="246"/>
                </a:lnTo>
                <a:lnTo>
                  <a:pt x="3280" y="238"/>
                </a:lnTo>
                <a:lnTo>
                  <a:pt x="3294" y="232"/>
                </a:lnTo>
                <a:lnTo>
                  <a:pt x="3306" y="228"/>
                </a:lnTo>
                <a:lnTo>
                  <a:pt x="3318" y="226"/>
                </a:lnTo>
                <a:lnTo>
                  <a:pt x="3326" y="226"/>
                </a:lnTo>
                <a:lnTo>
                  <a:pt x="3330" y="226"/>
                </a:lnTo>
                <a:lnTo>
                  <a:pt x="3328" y="228"/>
                </a:lnTo>
                <a:lnTo>
                  <a:pt x="3322" y="230"/>
                </a:lnTo>
                <a:lnTo>
                  <a:pt x="3296" y="238"/>
                </a:lnTo>
                <a:lnTo>
                  <a:pt x="3286" y="244"/>
                </a:lnTo>
                <a:lnTo>
                  <a:pt x="3278" y="248"/>
                </a:lnTo>
                <a:lnTo>
                  <a:pt x="3276" y="252"/>
                </a:lnTo>
                <a:lnTo>
                  <a:pt x="3276" y="254"/>
                </a:lnTo>
                <a:lnTo>
                  <a:pt x="3276" y="256"/>
                </a:lnTo>
                <a:lnTo>
                  <a:pt x="3280" y="260"/>
                </a:lnTo>
                <a:lnTo>
                  <a:pt x="3296" y="264"/>
                </a:lnTo>
                <a:lnTo>
                  <a:pt x="3326" y="268"/>
                </a:lnTo>
                <a:lnTo>
                  <a:pt x="3356" y="268"/>
                </a:lnTo>
                <a:lnTo>
                  <a:pt x="3376" y="266"/>
                </a:lnTo>
                <a:lnTo>
                  <a:pt x="3390" y="264"/>
                </a:lnTo>
                <a:lnTo>
                  <a:pt x="3398" y="260"/>
                </a:lnTo>
                <a:lnTo>
                  <a:pt x="3406" y="254"/>
                </a:lnTo>
                <a:lnTo>
                  <a:pt x="3410" y="254"/>
                </a:lnTo>
                <a:lnTo>
                  <a:pt x="3418" y="256"/>
                </a:lnTo>
                <a:lnTo>
                  <a:pt x="3430" y="260"/>
                </a:lnTo>
                <a:lnTo>
                  <a:pt x="3446" y="262"/>
                </a:lnTo>
                <a:lnTo>
                  <a:pt x="3468" y="260"/>
                </a:lnTo>
                <a:lnTo>
                  <a:pt x="3490" y="256"/>
                </a:lnTo>
                <a:lnTo>
                  <a:pt x="3514" y="248"/>
                </a:lnTo>
                <a:lnTo>
                  <a:pt x="3540" y="240"/>
                </a:lnTo>
                <a:lnTo>
                  <a:pt x="3568" y="230"/>
                </a:lnTo>
                <a:lnTo>
                  <a:pt x="3592" y="216"/>
                </a:lnTo>
                <a:lnTo>
                  <a:pt x="3618" y="204"/>
                </a:lnTo>
                <a:lnTo>
                  <a:pt x="3618" y="206"/>
                </a:lnTo>
                <a:lnTo>
                  <a:pt x="3612" y="212"/>
                </a:lnTo>
                <a:lnTo>
                  <a:pt x="3608" y="220"/>
                </a:lnTo>
                <a:lnTo>
                  <a:pt x="3606" y="224"/>
                </a:lnTo>
                <a:lnTo>
                  <a:pt x="3606" y="226"/>
                </a:lnTo>
                <a:lnTo>
                  <a:pt x="3608" y="230"/>
                </a:lnTo>
                <a:lnTo>
                  <a:pt x="3612" y="232"/>
                </a:lnTo>
                <a:lnTo>
                  <a:pt x="3620" y="234"/>
                </a:lnTo>
                <a:lnTo>
                  <a:pt x="3630" y="236"/>
                </a:lnTo>
                <a:lnTo>
                  <a:pt x="3648" y="238"/>
                </a:lnTo>
                <a:lnTo>
                  <a:pt x="3656" y="238"/>
                </a:lnTo>
                <a:lnTo>
                  <a:pt x="3656" y="240"/>
                </a:lnTo>
                <a:lnTo>
                  <a:pt x="3654" y="240"/>
                </a:lnTo>
                <a:lnTo>
                  <a:pt x="3642" y="244"/>
                </a:lnTo>
                <a:lnTo>
                  <a:pt x="3596" y="252"/>
                </a:lnTo>
                <a:lnTo>
                  <a:pt x="3524" y="266"/>
                </a:lnTo>
                <a:lnTo>
                  <a:pt x="3460" y="278"/>
                </a:lnTo>
                <a:lnTo>
                  <a:pt x="3442" y="282"/>
                </a:lnTo>
                <a:lnTo>
                  <a:pt x="3434" y="284"/>
                </a:lnTo>
                <a:lnTo>
                  <a:pt x="3432" y="286"/>
                </a:lnTo>
                <a:lnTo>
                  <a:pt x="3430" y="288"/>
                </a:lnTo>
                <a:lnTo>
                  <a:pt x="3436" y="292"/>
                </a:lnTo>
                <a:lnTo>
                  <a:pt x="3458" y="308"/>
                </a:lnTo>
                <a:lnTo>
                  <a:pt x="3474" y="318"/>
                </a:lnTo>
                <a:lnTo>
                  <a:pt x="3490" y="326"/>
                </a:lnTo>
                <a:lnTo>
                  <a:pt x="3514" y="336"/>
                </a:lnTo>
                <a:lnTo>
                  <a:pt x="3522" y="340"/>
                </a:lnTo>
                <a:lnTo>
                  <a:pt x="3524" y="342"/>
                </a:lnTo>
                <a:lnTo>
                  <a:pt x="3520" y="344"/>
                </a:lnTo>
                <a:lnTo>
                  <a:pt x="3508" y="346"/>
                </a:lnTo>
                <a:lnTo>
                  <a:pt x="3494" y="348"/>
                </a:lnTo>
                <a:lnTo>
                  <a:pt x="3484" y="346"/>
                </a:lnTo>
                <a:lnTo>
                  <a:pt x="3474" y="342"/>
                </a:lnTo>
                <a:lnTo>
                  <a:pt x="3466" y="334"/>
                </a:lnTo>
                <a:lnTo>
                  <a:pt x="3452" y="318"/>
                </a:lnTo>
                <a:lnTo>
                  <a:pt x="3440" y="310"/>
                </a:lnTo>
                <a:lnTo>
                  <a:pt x="3428" y="304"/>
                </a:lnTo>
                <a:lnTo>
                  <a:pt x="3410" y="298"/>
                </a:lnTo>
                <a:lnTo>
                  <a:pt x="3388" y="292"/>
                </a:lnTo>
                <a:lnTo>
                  <a:pt x="3364" y="288"/>
                </a:lnTo>
                <a:lnTo>
                  <a:pt x="3340" y="284"/>
                </a:lnTo>
                <a:lnTo>
                  <a:pt x="3318" y="284"/>
                </a:lnTo>
                <a:lnTo>
                  <a:pt x="3300" y="286"/>
                </a:lnTo>
                <a:lnTo>
                  <a:pt x="3294" y="288"/>
                </a:lnTo>
                <a:lnTo>
                  <a:pt x="3288" y="290"/>
                </a:lnTo>
                <a:lnTo>
                  <a:pt x="3284" y="294"/>
                </a:lnTo>
                <a:lnTo>
                  <a:pt x="3282" y="298"/>
                </a:lnTo>
                <a:lnTo>
                  <a:pt x="3282" y="312"/>
                </a:lnTo>
                <a:lnTo>
                  <a:pt x="3284" y="316"/>
                </a:lnTo>
                <a:lnTo>
                  <a:pt x="3286" y="320"/>
                </a:lnTo>
                <a:lnTo>
                  <a:pt x="3300" y="326"/>
                </a:lnTo>
                <a:lnTo>
                  <a:pt x="3322" y="336"/>
                </a:lnTo>
                <a:lnTo>
                  <a:pt x="3336" y="342"/>
                </a:lnTo>
                <a:lnTo>
                  <a:pt x="3348" y="348"/>
                </a:lnTo>
                <a:lnTo>
                  <a:pt x="3366" y="362"/>
                </a:lnTo>
                <a:lnTo>
                  <a:pt x="3372" y="368"/>
                </a:lnTo>
                <a:lnTo>
                  <a:pt x="3376" y="374"/>
                </a:lnTo>
                <a:lnTo>
                  <a:pt x="3374" y="378"/>
                </a:lnTo>
                <a:lnTo>
                  <a:pt x="3370" y="380"/>
                </a:lnTo>
                <a:lnTo>
                  <a:pt x="3362" y="382"/>
                </a:lnTo>
                <a:lnTo>
                  <a:pt x="3358" y="384"/>
                </a:lnTo>
                <a:lnTo>
                  <a:pt x="3356" y="386"/>
                </a:lnTo>
                <a:lnTo>
                  <a:pt x="3358" y="390"/>
                </a:lnTo>
                <a:lnTo>
                  <a:pt x="3362" y="392"/>
                </a:lnTo>
                <a:lnTo>
                  <a:pt x="3370" y="394"/>
                </a:lnTo>
                <a:lnTo>
                  <a:pt x="3380" y="396"/>
                </a:lnTo>
                <a:lnTo>
                  <a:pt x="3394" y="398"/>
                </a:lnTo>
                <a:lnTo>
                  <a:pt x="3408" y="400"/>
                </a:lnTo>
                <a:lnTo>
                  <a:pt x="3420" y="402"/>
                </a:lnTo>
                <a:lnTo>
                  <a:pt x="3430" y="406"/>
                </a:lnTo>
                <a:lnTo>
                  <a:pt x="3434" y="408"/>
                </a:lnTo>
                <a:lnTo>
                  <a:pt x="3436" y="410"/>
                </a:lnTo>
                <a:lnTo>
                  <a:pt x="3434" y="412"/>
                </a:lnTo>
                <a:lnTo>
                  <a:pt x="3424" y="412"/>
                </a:lnTo>
                <a:lnTo>
                  <a:pt x="3412" y="410"/>
                </a:lnTo>
                <a:lnTo>
                  <a:pt x="3392" y="408"/>
                </a:lnTo>
                <a:lnTo>
                  <a:pt x="3370" y="408"/>
                </a:lnTo>
                <a:lnTo>
                  <a:pt x="3322" y="410"/>
                </a:lnTo>
                <a:lnTo>
                  <a:pt x="3300" y="412"/>
                </a:lnTo>
                <a:lnTo>
                  <a:pt x="3280" y="414"/>
                </a:lnTo>
                <a:lnTo>
                  <a:pt x="3264" y="420"/>
                </a:lnTo>
                <a:lnTo>
                  <a:pt x="3254" y="424"/>
                </a:lnTo>
                <a:lnTo>
                  <a:pt x="3250" y="430"/>
                </a:lnTo>
                <a:lnTo>
                  <a:pt x="3244" y="438"/>
                </a:lnTo>
                <a:lnTo>
                  <a:pt x="3242" y="446"/>
                </a:lnTo>
                <a:lnTo>
                  <a:pt x="3240" y="452"/>
                </a:lnTo>
                <a:lnTo>
                  <a:pt x="3242" y="458"/>
                </a:lnTo>
                <a:lnTo>
                  <a:pt x="3248" y="462"/>
                </a:lnTo>
                <a:lnTo>
                  <a:pt x="3256" y="464"/>
                </a:lnTo>
                <a:lnTo>
                  <a:pt x="3268" y="464"/>
                </a:lnTo>
                <a:lnTo>
                  <a:pt x="3280" y="460"/>
                </a:lnTo>
                <a:lnTo>
                  <a:pt x="3288" y="460"/>
                </a:lnTo>
                <a:lnTo>
                  <a:pt x="3294" y="462"/>
                </a:lnTo>
                <a:lnTo>
                  <a:pt x="3296" y="464"/>
                </a:lnTo>
                <a:lnTo>
                  <a:pt x="3298" y="466"/>
                </a:lnTo>
                <a:lnTo>
                  <a:pt x="3302" y="468"/>
                </a:lnTo>
                <a:lnTo>
                  <a:pt x="3308" y="468"/>
                </a:lnTo>
                <a:lnTo>
                  <a:pt x="3318" y="466"/>
                </a:lnTo>
                <a:lnTo>
                  <a:pt x="3328" y="464"/>
                </a:lnTo>
                <a:lnTo>
                  <a:pt x="3332" y="464"/>
                </a:lnTo>
                <a:lnTo>
                  <a:pt x="3332" y="468"/>
                </a:lnTo>
                <a:lnTo>
                  <a:pt x="3332" y="472"/>
                </a:lnTo>
                <a:lnTo>
                  <a:pt x="3330" y="476"/>
                </a:lnTo>
                <a:lnTo>
                  <a:pt x="3330" y="484"/>
                </a:lnTo>
                <a:lnTo>
                  <a:pt x="3332" y="494"/>
                </a:lnTo>
                <a:lnTo>
                  <a:pt x="3338" y="504"/>
                </a:lnTo>
                <a:lnTo>
                  <a:pt x="3342" y="508"/>
                </a:lnTo>
                <a:lnTo>
                  <a:pt x="3348" y="512"/>
                </a:lnTo>
                <a:lnTo>
                  <a:pt x="3354" y="514"/>
                </a:lnTo>
                <a:lnTo>
                  <a:pt x="3360" y="514"/>
                </a:lnTo>
                <a:lnTo>
                  <a:pt x="3374" y="514"/>
                </a:lnTo>
                <a:lnTo>
                  <a:pt x="3388" y="510"/>
                </a:lnTo>
                <a:lnTo>
                  <a:pt x="3402" y="502"/>
                </a:lnTo>
                <a:lnTo>
                  <a:pt x="3416" y="494"/>
                </a:lnTo>
                <a:lnTo>
                  <a:pt x="3428" y="484"/>
                </a:lnTo>
                <a:lnTo>
                  <a:pt x="3438" y="474"/>
                </a:lnTo>
                <a:lnTo>
                  <a:pt x="3444" y="470"/>
                </a:lnTo>
                <a:lnTo>
                  <a:pt x="3444" y="474"/>
                </a:lnTo>
                <a:lnTo>
                  <a:pt x="3438" y="482"/>
                </a:lnTo>
                <a:lnTo>
                  <a:pt x="3428" y="494"/>
                </a:lnTo>
                <a:lnTo>
                  <a:pt x="3414" y="508"/>
                </a:lnTo>
                <a:lnTo>
                  <a:pt x="3398" y="520"/>
                </a:lnTo>
                <a:lnTo>
                  <a:pt x="3388" y="524"/>
                </a:lnTo>
                <a:lnTo>
                  <a:pt x="3380" y="528"/>
                </a:lnTo>
                <a:lnTo>
                  <a:pt x="3370" y="530"/>
                </a:lnTo>
                <a:lnTo>
                  <a:pt x="3358" y="530"/>
                </a:lnTo>
                <a:lnTo>
                  <a:pt x="3342" y="526"/>
                </a:lnTo>
                <a:lnTo>
                  <a:pt x="3330" y="520"/>
                </a:lnTo>
                <a:lnTo>
                  <a:pt x="3318" y="512"/>
                </a:lnTo>
                <a:lnTo>
                  <a:pt x="3310" y="504"/>
                </a:lnTo>
                <a:lnTo>
                  <a:pt x="3300" y="496"/>
                </a:lnTo>
                <a:lnTo>
                  <a:pt x="3290" y="488"/>
                </a:lnTo>
                <a:lnTo>
                  <a:pt x="3278" y="484"/>
                </a:lnTo>
                <a:lnTo>
                  <a:pt x="3262" y="482"/>
                </a:lnTo>
                <a:lnTo>
                  <a:pt x="3234" y="482"/>
                </a:lnTo>
                <a:lnTo>
                  <a:pt x="3224" y="484"/>
                </a:lnTo>
                <a:lnTo>
                  <a:pt x="3216" y="486"/>
                </a:lnTo>
                <a:lnTo>
                  <a:pt x="3212" y="490"/>
                </a:lnTo>
                <a:lnTo>
                  <a:pt x="3212" y="494"/>
                </a:lnTo>
                <a:lnTo>
                  <a:pt x="3216" y="500"/>
                </a:lnTo>
                <a:lnTo>
                  <a:pt x="3222" y="506"/>
                </a:lnTo>
                <a:lnTo>
                  <a:pt x="3240" y="520"/>
                </a:lnTo>
                <a:lnTo>
                  <a:pt x="3254" y="532"/>
                </a:lnTo>
                <a:lnTo>
                  <a:pt x="3256" y="538"/>
                </a:lnTo>
                <a:lnTo>
                  <a:pt x="3256" y="540"/>
                </a:lnTo>
                <a:lnTo>
                  <a:pt x="3254" y="542"/>
                </a:lnTo>
                <a:lnTo>
                  <a:pt x="3246" y="544"/>
                </a:lnTo>
                <a:lnTo>
                  <a:pt x="3232" y="544"/>
                </a:lnTo>
                <a:lnTo>
                  <a:pt x="3214" y="546"/>
                </a:lnTo>
                <a:lnTo>
                  <a:pt x="3198" y="550"/>
                </a:lnTo>
                <a:lnTo>
                  <a:pt x="3182" y="556"/>
                </a:lnTo>
                <a:lnTo>
                  <a:pt x="3172" y="562"/>
                </a:lnTo>
                <a:lnTo>
                  <a:pt x="3164" y="570"/>
                </a:lnTo>
                <a:lnTo>
                  <a:pt x="3160" y="578"/>
                </a:lnTo>
                <a:lnTo>
                  <a:pt x="3160" y="582"/>
                </a:lnTo>
                <a:lnTo>
                  <a:pt x="3162" y="586"/>
                </a:lnTo>
                <a:lnTo>
                  <a:pt x="3164" y="590"/>
                </a:lnTo>
                <a:lnTo>
                  <a:pt x="3168" y="594"/>
                </a:lnTo>
                <a:lnTo>
                  <a:pt x="3172" y="596"/>
                </a:lnTo>
                <a:lnTo>
                  <a:pt x="3178" y="596"/>
                </a:lnTo>
                <a:lnTo>
                  <a:pt x="3186" y="596"/>
                </a:lnTo>
                <a:lnTo>
                  <a:pt x="3198" y="596"/>
                </a:lnTo>
                <a:lnTo>
                  <a:pt x="3204" y="598"/>
                </a:lnTo>
                <a:lnTo>
                  <a:pt x="3210" y="602"/>
                </a:lnTo>
                <a:lnTo>
                  <a:pt x="3218" y="606"/>
                </a:lnTo>
                <a:lnTo>
                  <a:pt x="3226" y="608"/>
                </a:lnTo>
                <a:lnTo>
                  <a:pt x="3234" y="608"/>
                </a:lnTo>
                <a:lnTo>
                  <a:pt x="3242" y="608"/>
                </a:lnTo>
                <a:lnTo>
                  <a:pt x="3258" y="602"/>
                </a:lnTo>
                <a:lnTo>
                  <a:pt x="3272" y="596"/>
                </a:lnTo>
                <a:lnTo>
                  <a:pt x="3278" y="594"/>
                </a:lnTo>
                <a:lnTo>
                  <a:pt x="3284" y="596"/>
                </a:lnTo>
                <a:lnTo>
                  <a:pt x="3298" y="600"/>
                </a:lnTo>
                <a:lnTo>
                  <a:pt x="3316" y="606"/>
                </a:lnTo>
                <a:lnTo>
                  <a:pt x="3328" y="608"/>
                </a:lnTo>
                <a:lnTo>
                  <a:pt x="3344" y="610"/>
                </a:lnTo>
                <a:lnTo>
                  <a:pt x="3358" y="610"/>
                </a:lnTo>
                <a:lnTo>
                  <a:pt x="3366" y="606"/>
                </a:lnTo>
                <a:lnTo>
                  <a:pt x="3372" y="604"/>
                </a:lnTo>
                <a:lnTo>
                  <a:pt x="3374" y="600"/>
                </a:lnTo>
                <a:lnTo>
                  <a:pt x="3378" y="596"/>
                </a:lnTo>
                <a:lnTo>
                  <a:pt x="3384" y="596"/>
                </a:lnTo>
                <a:lnTo>
                  <a:pt x="3394" y="596"/>
                </a:lnTo>
                <a:lnTo>
                  <a:pt x="3410" y="600"/>
                </a:lnTo>
                <a:lnTo>
                  <a:pt x="3418" y="602"/>
                </a:lnTo>
                <a:lnTo>
                  <a:pt x="3428" y="604"/>
                </a:lnTo>
                <a:lnTo>
                  <a:pt x="3448" y="604"/>
                </a:lnTo>
                <a:lnTo>
                  <a:pt x="3466" y="600"/>
                </a:lnTo>
                <a:lnTo>
                  <a:pt x="3484" y="596"/>
                </a:lnTo>
                <a:lnTo>
                  <a:pt x="3498" y="592"/>
                </a:lnTo>
                <a:lnTo>
                  <a:pt x="3508" y="590"/>
                </a:lnTo>
                <a:lnTo>
                  <a:pt x="3510" y="592"/>
                </a:lnTo>
                <a:lnTo>
                  <a:pt x="3512" y="594"/>
                </a:lnTo>
                <a:lnTo>
                  <a:pt x="3514" y="598"/>
                </a:lnTo>
                <a:lnTo>
                  <a:pt x="3512" y="602"/>
                </a:lnTo>
                <a:lnTo>
                  <a:pt x="3512" y="608"/>
                </a:lnTo>
                <a:lnTo>
                  <a:pt x="3512" y="612"/>
                </a:lnTo>
                <a:lnTo>
                  <a:pt x="3512" y="616"/>
                </a:lnTo>
                <a:lnTo>
                  <a:pt x="3516" y="618"/>
                </a:lnTo>
                <a:lnTo>
                  <a:pt x="3522" y="620"/>
                </a:lnTo>
                <a:lnTo>
                  <a:pt x="3534" y="620"/>
                </a:lnTo>
                <a:lnTo>
                  <a:pt x="3546" y="618"/>
                </a:lnTo>
                <a:lnTo>
                  <a:pt x="3558" y="612"/>
                </a:lnTo>
                <a:lnTo>
                  <a:pt x="3582" y="600"/>
                </a:lnTo>
                <a:lnTo>
                  <a:pt x="3592" y="596"/>
                </a:lnTo>
                <a:lnTo>
                  <a:pt x="3600" y="594"/>
                </a:lnTo>
                <a:lnTo>
                  <a:pt x="3616" y="594"/>
                </a:lnTo>
                <a:lnTo>
                  <a:pt x="3622" y="592"/>
                </a:lnTo>
                <a:lnTo>
                  <a:pt x="3628" y="588"/>
                </a:lnTo>
                <a:lnTo>
                  <a:pt x="3632" y="582"/>
                </a:lnTo>
                <a:lnTo>
                  <a:pt x="3634" y="570"/>
                </a:lnTo>
                <a:lnTo>
                  <a:pt x="3634" y="564"/>
                </a:lnTo>
                <a:lnTo>
                  <a:pt x="3634" y="560"/>
                </a:lnTo>
                <a:lnTo>
                  <a:pt x="3630" y="558"/>
                </a:lnTo>
                <a:lnTo>
                  <a:pt x="3628" y="556"/>
                </a:lnTo>
                <a:lnTo>
                  <a:pt x="3620" y="556"/>
                </a:lnTo>
                <a:lnTo>
                  <a:pt x="3610" y="556"/>
                </a:lnTo>
                <a:lnTo>
                  <a:pt x="3598" y="558"/>
                </a:lnTo>
                <a:lnTo>
                  <a:pt x="3590" y="558"/>
                </a:lnTo>
                <a:lnTo>
                  <a:pt x="3584" y="556"/>
                </a:lnTo>
                <a:lnTo>
                  <a:pt x="3582" y="552"/>
                </a:lnTo>
                <a:lnTo>
                  <a:pt x="3582" y="550"/>
                </a:lnTo>
                <a:lnTo>
                  <a:pt x="3582" y="542"/>
                </a:lnTo>
                <a:lnTo>
                  <a:pt x="3584" y="538"/>
                </a:lnTo>
                <a:lnTo>
                  <a:pt x="3588" y="534"/>
                </a:lnTo>
                <a:lnTo>
                  <a:pt x="3592" y="530"/>
                </a:lnTo>
                <a:lnTo>
                  <a:pt x="3604" y="524"/>
                </a:lnTo>
                <a:lnTo>
                  <a:pt x="3622" y="514"/>
                </a:lnTo>
                <a:lnTo>
                  <a:pt x="3626" y="512"/>
                </a:lnTo>
                <a:lnTo>
                  <a:pt x="3628" y="508"/>
                </a:lnTo>
                <a:lnTo>
                  <a:pt x="3630" y="504"/>
                </a:lnTo>
                <a:lnTo>
                  <a:pt x="3628" y="500"/>
                </a:lnTo>
                <a:lnTo>
                  <a:pt x="3626" y="492"/>
                </a:lnTo>
                <a:lnTo>
                  <a:pt x="3620" y="484"/>
                </a:lnTo>
                <a:lnTo>
                  <a:pt x="3618" y="478"/>
                </a:lnTo>
                <a:lnTo>
                  <a:pt x="3620" y="476"/>
                </a:lnTo>
                <a:lnTo>
                  <a:pt x="3622" y="474"/>
                </a:lnTo>
                <a:lnTo>
                  <a:pt x="3632" y="474"/>
                </a:lnTo>
                <a:lnTo>
                  <a:pt x="3654" y="476"/>
                </a:lnTo>
                <a:lnTo>
                  <a:pt x="3674" y="478"/>
                </a:lnTo>
                <a:lnTo>
                  <a:pt x="3692" y="476"/>
                </a:lnTo>
                <a:lnTo>
                  <a:pt x="3708" y="474"/>
                </a:lnTo>
                <a:lnTo>
                  <a:pt x="3722" y="468"/>
                </a:lnTo>
                <a:lnTo>
                  <a:pt x="3732" y="460"/>
                </a:lnTo>
                <a:lnTo>
                  <a:pt x="3738" y="454"/>
                </a:lnTo>
                <a:lnTo>
                  <a:pt x="3740" y="446"/>
                </a:lnTo>
                <a:lnTo>
                  <a:pt x="3740" y="442"/>
                </a:lnTo>
                <a:lnTo>
                  <a:pt x="3738" y="440"/>
                </a:lnTo>
                <a:lnTo>
                  <a:pt x="3736" y="436"/>
                </a:lnTo>
                <a:lnTo>
                  <a:pt x="3736" y="434"/>
                </a:lnTo>
                <a:lnTo>
                  <a:pt x="3740" y="430"/>
                </a:lnTo>
                <a:lnTo>
                  <a:pt x="3752" y="424"/>
                </a:lnTo>
                <a:lnTo>
                  <a:pt x="3756" y="420"/>
                </a:lnTo>
                <a:lnTo>
                  <a:pt x="3756" y="418"/>
                </a:lnTo>
                <a:lnTo>
                  <a:pt x="3756" y="416"/>
                </a:lnTo>
                <a:lnTo>
                  <a:pt x="3750" y="410"/>
                </a:lnTo>
                <a:lnTo>
                  <a:pt x="3734" y="400"/>
                </a:lnTo>
                <a:lnTo>
                  <a:pt x="3720" y="392"/>
                </a:lnTo>
                <a:lnTo>
                  <a:pt x="3718" y="390"/>
                </a:lnTo>
                <a:lnTo>
                  <a:pt x="3722" y="390"/>
                </a:lnTo>
                <a:lnTo>
                  <a:pt x="3734" y="390"/>
                </a:lnTo>
                <a:lnTo>
                  <a:pt x="3746" y="392"/>
                </a:lnTo>
                <a:lnTo>
                  <a:pt x="3758" y="392"/>
                </a:lnTo>
                <a:lnTo>
                  <a:pt x="3764" y="392"/>
                </a:lnTo>
                <a:lnTo>
                  <a:pt x="3766" y="390"/>
                </a:lnTo>
                <a:lnTo>
                  <a:pt x="3768" y="386"/>
                </a:lnTo>
                <a:lnTo>
                  <a:pt x="3766" y="384"/>
                </a:lnTo>
                <a:lnTo>
                  <a:pt x="3762" y="376"/>
                </a:lnTo>
                <a:lnTo>
                  <a:pt x="3758" y="370"/>
                </a:lnTo>
                <a:lnTo>
                  <a:pt x="3752" y="368"/>
                </a:lnTo>
                <a:lnTo>
                  <a:pt x="3746" y="368"/>
                </a:lnTo>
                <a:lnTo>
                  <a:pt x="3732" y="368"/>
                </a:lnTo>
                <a:lnTo>
                  <a:pt x="3712" y="372"/>
                </a:lnTo>
                <a:lnTo>
                  <a:pt x="3688" y="372"/>
                </a:lnTo>
                <a:lnTo>
                  <a:pt x="3666" y="372"/>
                </a:lnTo>
                <a:lnTo>
                  <a:pt x="3656" y="372"/>
                </a:lnTo>
                <a:lnTo>
                  <a:pt x="3650" y="370"/>
                </a:lnTo>
                <a:lnTo>
                  <a:pt x="3650" y="368"/>
                </a:lnTo>
                <a:lnTo>
                  <a:pt x="3652" y="364"/>
                </a:lnTo>
                <a:lnTo>
                  <a:pt x="3660" y="360"/>
                </a:lnTo>
                <a:lnTo>
                  <a:pt x="3676" y="358"/>
                </a:lnTo>
                <a:lnTo>
                  <a:pt x="3718" y="354"/>
                </a:lnTo>
                <a:lnTo>
                  <a:pt x="3764" y="352"/>
                </a:lnTo>
                <a:lnTo>
                  <a:pt x="3804" y="350"/>
                </a:lnTo>
                <a:lnTo>
                  <a:pt x="3816" y="348"/>
                </a:lnTo>
                <a:lnTo>
                  <a:pt x="3822" y="344"/>
                </a:lnTo>
                <a:lnTo>
                  <a:pt x="3824" y="338"/>
                </a:lnTo>
                <a:lnTo>
                  <a:pt x="3826" y="334"/>
                </a:lnTo>
                <a:lnTo>
                  <a:pt x="3824" y="328"/>
                </a:lnTo>
                <a:lnTo>
                  <a:pt x="3828" y="328"/>
                </a:lnTo>
                <a:lnTo>
                  <a:pt x="3834" y="330"/>
                </a:lnTo>
                <a:lnTo>
                  <a:pt x="3842" y="334"/>
                </a:lnTo>
                <a:lnTo>
                  <a:pt x="3852" y="336"/>
                </a:lnTo>
                <a:lnTo>
                  <a:pt x="3862" y="336"/>
                </a:lnTo>
                <a:lnTo>
                  <a:pt x="3872" y="336"/>
                </a:lnTo>
                <a:lnTo>
                  <a:pt x="3884" y="334"/>
                </a:lnTo>
                <a:lnTo>
                  <a:pt x="3894" y="330"/>
                </a:lnTo>
                <a:lnTo>
                  <a:pt x="3904" y="322"/>
                </a:lnTo>
                <a:lnTo>
                  <a:pt x="3914" y="312"/>
                </a:lnTo>
                <a:lnTo>
                  <a:pt x="3924" y="302"/>
                </a:lnTo>
                <a:lnTo>
                  <a:pt x="3938" y="292"/>
                </a:lnTo>
                <a:lnTo>
                  <a:pt x="3954" y="282"/>
                </a:lnTo>
                <a:lnTo>
                  <a:pt x="3974" y="272"/>
                </a:lnTo>
                <a:lnTo>
                  <a:pt x="4026" y="248"/>
                </a:lnTo>
                <a:lnTo>
                  <a:pt x="4092" y="222"/>
                </a:lnTo>
                <a:lnTo>
                  <a:pt x="4150" y="198"/>
                </a:lnTo>
                <a:lnTo>
                  <a:pt x="4164" y="190"/>
                </a:lnTo>
                <a:lnTo>
                  <a:pt x="4170" y="186"/>
                </a:lnTo>
                <a:lnTo>
                  <a:pt x="4170" y="184"/>
                </a:lnTo>
                <a:lnTo>
                  <a:pt x="4168" y="182"/>
                </a:lnTo>
                <a:lnTo>
                  <a:pt x="4156" y="182"/>
                </a:lnTo>
                <a:lnTo>
                  <a:pt x="4110" y="186"/>
                </a:lnTo>
                <a:lnTo>
                  <a:pt x="4086" y="188"/>
                </a:lnTo>
                <a:lnTo>
                  <a:pt x="4074" y="186"/>
                </a:lnTo>
                <a:lnTo>
                  <a:pt x="4072" y="186"/>
                </a:lnTo>
                <a:lnTo>
                  <a:pt x="4072" y="184"/>
                </a:lnTo>
                <a:lnTo>
                  <a:pt x="4078" y="182"/>
                </a:lnTo>
                <a:lnTo>
                  <a:pt x="4106" y="172"/>
                </a:lnTo>
                <a:lnTo>
                  <a:pt x="4144" y="164"/>
                </a:lnTo>
                <a:lnTo>
                  <a:pt x="4190" y="156"/>
                </a:lnTo>
                <a:lnTo>
                  <a:pt x="4244" y="144"/>
                </a:lnTo>
                <a:lnTo>
                  <a:pt x="4270" y="136"/>
                </a:lnTo>
                <a:lnTo>
                  <a:pt x="4290" y="128"/>
                </a:lnTo>
                <a:lnTo>
                  <a:pt x="4304" y="120"/>
                </a:lnTo>
                <a:lnTo>
                  <a:pt x="4308" y="116"/>
                </a:lnTo>
                <a:lnTo>
                  <a:pt x="4310" y="112"/>
                </a:lnTo>
                <a:lnTo>
                  <a:pt x="4308" y="108"/>
                </a:lnTo>
                <a:lnTo>
                  <a:pt x="4306" y="106"/>
                </a:lnTo>
                <a:lnTo>
                  <a:pt x="4296" y="102"/>
                </a:lnTo>
                <a:lnTo>
                  <a:pt x="4284" y="100"/>
                </a:lnTo>
                <a:lnTo>
                  <a:pt x="4268" y="100"/>
                </a:lnTo>
                <a:lnTo>
                  <a:pt x="4254" y="100"/>
                </a:lnTo>
                <a:lnTo>
                  <a:pt x="4240" y="98"/>
                </a:lnTo>
                <a:lnTo>
                  <a:pt x="4232" y="94"/>
                </a:lnTo>
                <a:lnTo>
                  <a:pt x="4230" y="90"/>
                </a:lnTo>
                <a:lnTo>
                  <a:pt x="4228" y="88"/>
                </a:lnTo>
                <a:lnTo>
                  <a:pt x="4228" y="84"/>
                </a:lnTo>
                <a:lnTo>
                  <a:pt x="4226" y="80"/>
                </a:lnTo>
                <a:lnTo>
                  <a:pt x="4218" y="74"/>
                </a:lnTo>
                <a:lnTo>
                  <a:pt x="4208" y="70"/>
                </a:lnTo>
                <a:lnTo>
                  <a:pt x="4194" y="66"/>
                </a:lnTo>
                <a:lnTo>
                  <a:pt x="4168" y="64"/>
                </a:lnTo>
                <a:lnTo>
                  <a:pt x="4150" y="64"/>
                </a:lnTo>
                <a:lnTo>
                  <a:pt x="4134" y="66"/>
                </a:lnTo>
                <a:lnTo>
                  <a:pt x="4124" y="64"/>
                </a:lnTo>
                <a:lnTo>
                  <a:pt x="4112" y="66"/>
                </a:lnTo>
                <a:lnTo>
                  <a:pt x="4092" y="72"/>
                </a:lnTo>
                <a:lnTo>
                  <a:pt x="4076" y="78"/>
                </a:lnTo>
                <a:lnTo>
                  <a:pt x="4062" y="82"/>
                </a:lnTo>
                <a:lnTo>
                  <a:pt x="4034" y="84"/>
                </a:lnTo>
                <a:lnTo>
                  <a:pt x="4020" y="84"/>
                </a:lnTo>
                <a:lnTo>
                  <a:pt x="4020" y="82"/>
                </a:lnTo>
                <a:lnTo>
                  <a:pt x="4022" y="82"/>
                </a:lnTo>
                <a:lnTo>
                  <a:pt x="4030" y="80"/>
                </a:lnTo>
                <a:lnTo>
                  <a:pt x="4058" y="74"/>
                </a:lnTo>
                <a:lnTo>
                  <a:pt x="4078" y="68"/>
                </a:lnTo>
                <a:lnTo>
                  <a:pt x="4082" y="64"/>
                </a:lnTo>
                <a:lnTo>
                  <a:pt x="4080" y="64"/>
                </a:lnTo>
                <a:lnTo>
                  <a:pt x="4080" y="62"/>
                </a:lnTo>
                <a:lnTo>
                  <a:pt x="4070" y="60"/>
                </a:lnTo>
                <a:lnTo>
                  <a:pt x="4052" y="60"/>
                </a:lnTo>
                <a:lnTo>
                  <a:pt x="4032" y="60"/>
                </a:lnTo>
                <a:lnTo>
                  <a:pt x="4014" y="56"/>
                </a:lnTo>
                <a:lnTo>
                  <a:pt x="3986" y="50"/>
                </a:lnTo>
                <a:lnTo>
                  <a:pt x="3972" y="46"/>
                </a:lnTo>
                <a:lnTo>
                  <a:pt x="3960" y="44"/>
                </a:lnTo>
                <a:lnTo>
                  <a:pt x="3946" y="44"/>
                </a:lnTo>
                <a:lnTo>
                  <a:pt x="3930" y="44"/>
                </a:lnTo>
                <a:lnTo>
                  <a:pt x="3902" y="48"/>
                </a:lnTo>
                <a:lnTo>
                  <a:pt x="3880" y="46"/>
                </a:lnTo>
                <a:lnTo>
                  <a:pt x="3860" y="48"/>
                </a:lnTo>
                <a:lnTo>
                  <a:pt x="3848" y="50"/>
                </a:lnTo>
                <a:lnTo>
                  <a:pt x="3834" y="54"/>
                </a:lnTo>
                <a:lnTo>
                  <a:pt x="3818" y="58"/>
                </a:lnTo>
                <a:lnTo>
                  <a:pt x="3800" y="58"/>
                </a:lnTo>
                <a:lnTo>
                  <a:pt x="3762" y="54"/>
                </a:lnTo>
                <a:lnTo>
                  <a:pt x="3738" y="52"/>
                </a:lnTo>
                <a:lnTo>
                  <a:pt x="3712" y="52"/>
                </a:lnTo>
                <a:lnTo>
                  <a:pt x="3682" y="56"/>
                </a:lnTo>
                <a:lnTo>
                  <a:pt x="3646" y="62"/>
                </a:lnTo>
                <a:lnTo>
                  <a:pt x="3630" y="66"/>
                </a:lnTo>
                <a:lnTo>
                  <a:pt x="3614" y="64"/>
                </a:lnTo>
                <a:lnTo>
                  <a:pt x="3598" y="62"/>
                </a:lnTo>
                <a:lnTo>
                  <a:pt x="3586" y="60"/>
                </a:lnTo>
                <a:lnTo>
                  <a:pt x="3574" y="56"/>
                </a:lnTo>
                <a:lnTo>
                  <a:pt x="3562" y="56"/>
                </a:lnTo>
                <a:lnTo>
                  <a:pt x="3550" y="56"/>
                </a:lnTo>
                <a:lnTo>
                  <a:pt x="3538" y="62"/>
                </a:lnTo>
                <a:lnTo>
                  <a:pt x="3526" y="66"/>
                </a:lnTo>
                <a:lnTo>
                  <a:pt x="3516" y="68"/>
                </a:lnTo>
                <a:lnTo>
                  <a:pt x="3504" y="68"/>
                </a:lnTo>
                <a:lnTo>
                  <a:pt x="3494" y="66"/>
                </a:lnTo>
                <a:lnTo>
                  <a:pt x="3488" y="66"/>
                </a:lnTo>
                <a:lnTo>
                  <a:pt x="3486" y="68"/>
                </a:lnTo>
                <a:lnTo>
                  <a:pt x="3488" y="72"/>
                </a:lnTo>
                <a:lnTo>
                  <a:pt x="3496" y="80"/>
                </a:lnTo>
                <a:lnTo>
                  <a:pt x="3502" y="88"/>
                </a:lnTo>
                <a:lnTo>
                  <a:pt x="3504" y="90"/>
                </a:lnTo>
                <a:lnTo>
                  <a:pt x="3502" y="90"/>
                </a:lnTo>
                <a:lnTo>
                  <a:pt x="3496" y="90"/>
                </a:lnTo>
                <a:lnTo>
                  <a:pt x="3486" y="88"/>
                </a:lnTo>
                <a:lnTo>
                  <a:pt x="3476" y="86"/>
                </a:lnTo>
                <a:lnTo>
                  <a:pt x="3464" y="86"/>
                </a:lnTo>
                <a:lnTo>
                  <a:pt x="3456" y="88"/>
                </a:lnTo>
                <a:lnTo>
                  <a:pt x="3452" y="90"/>
                </a:lnTo>
                <a:lnTo>
                  <a:pt x="3450" y="92"/>
                </a:lnTo>
                <a:lnTo>
                  <a:pt x="3448" y="100"/>
                </a:lnTo>
                <a:lnTo>
                  <a:pt x="3444" y="106"/>
                </a:lnTo>
                <a:lnTo>
                  <a:pt x="3438" y="110"/>
                </a:lnTo>
                <a:lnTo>
                  <a:pt x="3432" y="112"/>
                </a:lnTo>
                <a:lnTo>
                  <a:pt x="3424" y="114"/>
                </a:lnTo>
                <a:lnTo>
                  <a:pt x="3412" y="114"/>
                </a:lnTo>
                <a:lnTo>
                  <a:pt x="3384" y="110"/>
                </a:lnTo>
                <a:lnTo>
                  <a:pt x="3372" y="108"/>
                </a:lnTo>
                <a:lnTo>
                  <a:pt x="3366" y="106"/>
                </a:lnTo>
                <a:lnTo>
                  <a:pt x="3364" y="104"/>
                </a:lnTo>
                <a:lnTo>
                  <a:pt x="3364" y="102"/>
                </a:lnTo>
                <a:lnTo>
                  <a:pt x="3362" y="100"/>
                </a:lnTo>
                <a:lnTo>
                  <a:pt x="3360" y="98"/>
                </a:lnTo>
                <a:lnTo>
                  <a:pt x="3352" y="96"/>
                </a:lnTo>
                <a:lnTo>
                  <a:pt x="3336" y="94"/>
                </a:lnTo>
                <a:lnTo>
                  <a:pt x="3322" y="94"/>
                </a:lnTo>
                <a:lnTo>
                  <a:pt x="3316" y="96"/>
                </a:lnTo>
                <a:lnTo>
                  <a:pt x="3316" y="100"/>
                </a:lnTo>
                <a:lnTo>
                  <a:pt x="3318" y="104"/>
                </a:lnTo>
                <a:lnTo>
                  <a:pt x="3320" y="108"/>
                </a:lnTo>
                <a:lnTo>
                  <a:pt x="3322" y="110"/>
                </a:lnTo>
                <a:lnTo>
                  <a:pt x="3320" y="112"/>
                </a:lnTo>
                <a:lnTo>
                  <a:pt x="3312" y="116"/>
                </a:lnTo>
                <a:lnTo>
                  <a:pt x="3296" y="118"/>
                </a:lnTo>
                <a:lnTo>
                  <a:pt x="3280" y="120"/>
                </a:lnTo>
                <a:lnTo>
                  <a:pt x="3278" y="122"/>
                </a:lnTo>
                <a:lnTo>
                  <a:pt x="3278" y="124"/>
                </a:lnTo>
                <a:lnTo>
                  <a:pt x="3284" y="126"/>
                </a:lnTo>
                <a:lnTo>
                  <a:pt x="3296" y="130"/>
                </a:lnTo>
                <a:lnTo>
                  <a:pt x="3320" y="134"/>
                </a:lnTo>
                <a:lnTo>
                  <a:pt x="3326" y="138"/>
                </a:lnTo>
                <a:lnTo>
                  <a:pt x="3324" y="140"/>
                </a:lnTo>
                <a:lnTo>
                  <a:pt x="3322" y="140"/>
                </a:lnTo>
                <a:lnTo>
                  <a:pt x="3310" y="142"/>
                </a:lnTo>
                <a:lnTo>
                  <a:pt x="3300" y="142"/>
                </a:lnTo>
                <a:lnTo>
                  <a:pt x="3280" y="136"/>
                </a:lnTo>
                <a:lnTo>
                  <a:pt x="3268" y="134"/>
                </a:lnTo>
                <a:lnTo>
                  <a:pt x="3254" y="130"/>
                </a:lnTo>
                <a:lnTo>
                  <a:pt x="3238" y="130"/>
                </a:lnTo>
                <a:lnTo>
                  <a:pt x="3218" y="132"/>
                </a:lnTo>
                <a:lnTo>
                  <a:pt x="3202" y="134"/>
                </a:lnTo>
                <a:lnTo>
                  <a:pt x="3192" y="138"/>
                </a:lnTo>
                <a:lnTo>
                  <a:pt x="3184" y="142"/>
                </a:lnTo>
                <a:lnTo>
                  <a:pt x="3180" y="146"/>
                </a:lnTo>
                <a:lnTo>
                  <a:pt x="3176" y="148"/>
                </a:lnTo>
                <a:lnTo>
                  <a:pt x="3172" y="150"/>
                </a:lnTo>
                <a:lnTo>
                  <a:pt x="3164" y="150"/>
                </a:lnTo>
                <a:lnTo>
                  <a:pt x="3152" y="148"/>
                </a:lnTo>
                <a:lnTo>
                  <a:pt x="3138" y="148"/>
                </a:lnTo>
                <a:lnTo>
                  <a:pt x="3122" y="148"/>
                </a:lnTo>
                <a:lnTo>
                  <a:pt x="3108" y="152"/>
                </a:lnTo>
                <a:lnTo>
                  <a:pt x="3094" y="156"/>
                </a:lnTo>
                <a:lnTo>
                  <a:pt x="3084" y="162"/>
                </a:lnTo>
                <a:lnTo>
                  <a:pt x="3076" y="168"/>
                </a:lnTo>
                <a:lnTo>
                  <a:pt x="3074" y="174"/>
                </a:lnTo>
                <a:lnTo>
                  <a:pt x="3074" y="178"/>
                </a:lnTo>
                <a:lnTo>
                  <a:pt x="3076" y="180"/>
                </a:lnTo>
                <a:lnTo>
                  <a:pt x="3080" y="186"/>
                </a:lnTo>
                <a:lnTo>
                  <a:pt x="3084" y="188"/>
                </a:lnTo>
                <a:lnTo>
                  <a:pt x="3090" y="188"/>
                </a:lnTo>
                <a:lnTo>
                  <a:pt x="3094" y="188"/>
                </a:lnTo>
                <a:lnTo>
                  <a:pt x="3104" y="186"/>
                </a:lnTo>
                <a:lnTo>
                  <a:pt x="3110" y="188"/>
                </a:lnTo>
                <a:lnTo>
                  <a:pt x="3116" y="190"/>
                </a:lnTo>
                <a:close/>
                <a:moveTo>
                  <a:pt x="2922" y="360"/>
                </a:moveTo>
                <a:lnTo>
                  <a:pt x="2922" y="360"/>
                </a:lnTo>
                <a:lnTo>
                  <a:pt x="2936" y="368"/>
                </a:lnTo>
                <a:lnTo>
                  <a:pt x="2946" y="370"/>
                </a:lnTo>
                <a:lnTo>
                  <a:pt x="2956" y="368"/>
                </a:lnTo>
                <a:lnTo>
                  <a:pt x="2966" y="364"/>
                </a:lnTo>
                <a:lnTo>
                  <a:pt x="2978" y="360"/>
                </a:lnTo>
                <a:lnTo>
                  <a:pt x="2978" y="366"/>
                </a:lnTo>
                <a:lnTo>
                  <a:pt x="2976" y="368"/>
                </a:lnTo>
                <a:lnTo>
                  <a:pt x="2978" y="370"/>
                </a:lnTo>
                <a:lnTo>
                  <a:pt x="2986" y="370"/>
                </a:lnTo>
                <a:lnTo>
                  <a:pt x="3012" y="364"/>
                </a:lnTo>
                <a:lnTo>
                  <a:pt x="3038" y="358"/>
                </a:lnTo>
                <a:lnTo>
                  <a:pt x="3044" y="358"/>
                </a:lnTo>
                <a:lnTo>
                  <a:pt x="3046" y="360"/>
                </a:lnTo>
                <a:lnTo>
                  <a:pt x="3044" y="364"/>
                </a:lnTo>
                <a:lnTo>
                  <a:pt x="3042" y="366"/>
                </a:lnTo>
                <a:lnTo>
                  <a:pt x="3038" y="370"/>
                </a:lnTo>
                <a:lnTo>
                  <a:pt x="3026" y="376"/>
                </a:lnTo>
                <a:lnTo>
                  <a:pt x="3000" y="384"/>
                </a:lnTo>
                <a:lnTo>
                  <a:pt x="2986" y="388"/>
                </a:lnTo>
                <a:lnTo>
                  <a:pt x="2978" y="390"/>
                </a:lnTo>
                <a:lnTo>
                  <a:pt x="2974" y="394"/>
                </a:lnTo>
                <a:lnTo>
                  <a:pt x="2974" y="396"/>
                </a:lnTo>
                <a:lnTo>
                  <a:pt x="2976" y="398"/>
                </a:lnTo>
                <a:lnTo>
                  <a:pt x="2990" y="408"/>
                </a:lnTo>
                <a:lnTo>
                  <a:pt x="3002" y="420"/>
                </a:lnTo>
                <a:lnTo>
                  <a:pt x="3018" y="434"/>
                </a:lnTo>
                <a:lnTo>
                  <a:pt x="3036" y="444"/>
                </a:lnTo>
                <a:lnTo>
                  <a:pt x="3062" y="456"/>
                </a:lnTo>
                <a:lnTo>
                  <a:pt x="3092" y="464"/>
                </a:lnTo>
                <a:lnTo>
                  <a:pt x="3106" y="464"/>
                </a:lnTo>
                <a:lnTo>
                  <a:pt x="3118" y="464"/>
                </a:lnTo>
                <a:lnTo>
                  <a:pt x="3126" y="462"/>
                </a:lnTo>
                <a:lnTo>
                  <a:pt x="3128" y="458"/>
                </a:lnTo>
                <a:lnTo>
                  <a:pt x="3130" y="454"/>
                </a:lnTo>
                <a:lnTo>
                  <a:pt x="3132" y="448"/>
                </a:lnTo>
                <a:lnTo>
                  <a:pt x="3136" y="448"/>
                </a:lnTo>
                <a:lnTo>
                  <a:pt x="3142" y="448"/>
                </a:lnTo>
                <a:lnTo>
                  <a:pt x="3148" y="452"/>
                </a:lnTo>
                <a:lnTo>
                  <a:pt x="3154" y="454"/>
                </a:lnTo>
                <a:lnTo>
                  <a:pt x="3156" y="454"/>
                </a:lnTo>
                <a:lnTo>
                  <a:pt x="3158" y="452"/>
                </a:lnTo>
                <a:lnTo>
                  <a:pt x="3154" y="446"/>
                </a:lnTo>
                <a:lnTo>
                  <a:pt x="3150" y="436"/>
                </a:lnTo>
                <a:lnTo>
                  <a:pt x="3148" y="432"/>
                </a:lnTo>
                <a:lnTo>
                  <a:pt x="3150" y="430"/>
                </a:lnTo>
                <a:lnTo>
                  <a:pt x="3154" y="432"/>
                </a:lnTo>
                <a:lnTo>
                  <a:pt x="3166" y="440"/>
                </a:lnTo>
                <a:lnTo>
                  <a:pt x="3182" y="456"/>
                </a:lnTo>
                <a:lnTo>
                  <a:pt x="3188" y="462"/>
                </a:lnTo>
                <a:lnTo>
                  <a:pt x="3192" y="462"/>
                </a:lnTo>
                <a:lnTo>
                  <a:pt x="3192" y="460"/>
                </a:lnTo>
                <a:lnTo>
                  <a:pt x="3196" y="456"/>
                </a:lnTo>
                <a:lnTo>
                  <a:pt x="3196" y="450"/>
                </a:lnTo>
                <a:lnTo>
                  <a:pt x="3196" y="442"/>
                </a:lnTo>
                <a:lnTo>
                  <a:pt x="3198" y="434"/>
                </a:lnTo>
                <a:lnTo>
                  <a:pt x="3202" y="430"/>
                </a:lnTo>
                <a:lnTo>
                  <a:pt x="3204" y="430"/>
                </a:lnTo>
                <a:lnTo>
                  <a:pt x="3208" y="430"/>
                </a:lnTo>
                <a:lnTo>
                  <a:pt x="3216" y="430"/>
                </a:lnTo>
                <a:lnTo>
                  <a:pt x="3224" y="430"/>
                </a:lnTo>
                <a:lnTo>
                  <a:pt x="3234" y="426"/>
                </a:lnTo>
                <a:lnTo>
                  <a:pt x="3242" y="420"/>
                </a:lnTo>
                <a:lnTo>
                  <a:pt x="3282" y="394"/>
                </a:lnTo>
                <a:lnTo>
                  <a:pt x="3294" y="386"/>
                </a:lnTo>
                <a:lnTo>
                  <a:pt x="3308" y="382"/>
                </a:lnTo>
                <a:lnTo>
                  <a:pt x="3334" y="374"/>
                </a:lnTo>
                <a:lnTo>
                  <a:pt x="3342" y="372"/>
                </a:lnTo>
                <a:lnTo>
                  <a:pt x="3348" y="370"/>
                </a:lnTo>
                <a:lnTo>
                  <a:pt x="3348" y="368"/>
                </a:lnTo>
                <a:lnTo>
                  <a:pt x="3348" y="366"/>
                </a:lnTo>
                <a:lnTo>
                  <a:pt x="3340" y="362"/>
                </a:lnTo>
                <a:lnTo>
                  <a:pt x="3332" y="356"/>
                </a:lnTo>
                <a:lnTo>
                  <a:pt x="3324" y="352"/>
                </a:lnTo>
                <a:lnTo>
                  <a:pt x="3314" y="344"/>
                </a:lnTo>
                <a:lnTo>
                  <a:pt x="3306" y="342"/>
                </a:lnTo>
                <a:lnTo>
                  <a:pt x="3298" y="340"/>
                </a:lnTo>
                <a:lnTo>
                  <a:pt x="3286" y="340"/>
                </a:lnTo>
                <a:lnTo>
                  <a:pt x="3270" y="342"/>
                </a:lnTo>
                <a:lnTo>
                  <a:pt x="3256" y="344"/>
                </a:lnTo>
                <a:lnTo>
                  <a:pt x="3252" y="344"/>
                </a:lnTo>
                <a:lnTo>
                  <a:pt x="3254" y="342"/>
                </a:lnTo>
                <a:lnTo>
                  <a:pt x="3260" y="336"/>
                </a:lnTo>
                <a:lnTo>
                  <a:pt x="3266" y="332"/>
                </a:lnTo>
                <a:lnTo>
                  <a:pt x="3268" y="324"/>
                </a:lnTo>
                <a:lnTo>
                  <a:pt x="3270" y="320"/>
                </a:lnTo>
                <a:lnTo>
                  <a:pt x="3268" y="318"/>
                </a:lnTo>
                <a:lnTo>
                  <a:pt x="3264" y="314"/>
                </a:lnTo>
                <a:lnTo>
                  <a:pt x="3260" y="310"/>
                </a:lnTo>
                <a:lnTo>
                  <a:pt x="3250" y="302"/>
                </a:lnTo>
                <a:lnTo>
                  <a:pt x="3246" y="296"/>
                </a:lnTo>
                <a:lnTo>
                  <a:pt x="3244" y="290"/>
                </a:lnTo>
                <a:lnTo>
                  <a:pt x="3244" y="286"/>
                </a:lnTo>
                <a:lnTo>
                  <a:pt x="3244" y="282"/>
                </a:lnTo>
                <a:lnTo>
                  <a:pt x="3242" y="278"/>
                </a:lnTo>
                <a:lnTo>
                  <a:pt x="3234" y="274"/>
                </a:lnTo>
                <a:lnTo>
                  <a:pt x="3220" y="272"/>
                </a:lnTo>
                <a:lnTo>
                  <a:pt x="3206" y="272"/>
                </a:lnTo>
                <a:lnTo>
                  <a:pt x="3200" y="276"/>
                </a:lnTo>
                <a:lnTo>
                  <a:pt x="3196" y="280"/>
                </a:lnTo>
                <a:lnTo>
                  <a:pt x="3196" y="286"/>
                </a:lnTo>
                <a:lnTo>
                  <a:pt x="3198" y="292"/>
                </a:lnTo>
                <a:lnTo>
                  <a:pt x="3198" y="296"/>
                </a:lnTo>
                <a:lnTo>
                  <a:pt x="3196" y="298"/>
                </a:lnTo>
                <a:lnTo>
                  <a:pt x="3194" y="298"/>
                </a:lnTo>
                <a:lnTo>
                  <a:pt x="3186" y="296"/>
                </a:lnTo>
                <a:lnTo>
                  <a:pt x="3178" y="292"/>
                </a:lnTo>
                <a:lnTo>
                  <a:pt x="3174" y="286"/>
                </a:lnTo>
                <a:lnTo>
                  <a:pt x="3174" y="282"/>
                </a:lnTo>
                <a:lnTo>
                  <a:pt x="3176" y="278"/>
                </a:lnTo>
                <a:lnTo>
                  <a:pt x="3176" y="272"/>
                </a:lnTo>
                <a:lnTo>
                  <a:pt x="3174" y="270"/>
                </a:lnTo>
                <a:lnTo>
                  <a:pt x="3166" y="266"/>
                </a:lnTo>
                <a:lnTo>
                  <a:pt x="3152" y="264"/>
                </a:lnTo>
                <a:lnTo>
                  <a:pt x="3144" y="264"/>
                </a:lnTo>
                <a:lnTo>
                  <a:pt x="3134" y="260"/>
                </a:lnTo>
                <a:lnTo>
                  <a:pt x="3118" y="252"/>
                </a:lnTo>
                <a:lnTo>
                  <a:pt x="3082" y="228"/>
                </a:lnTo>
                <a:lnTo>
                  <a:pt x="3062" y="216"/>
                </a:lnTo>
                <a:lnTo>
                  <a:pt x="3040" y="204"/>
                </a:lnTo>
                <a:lnTo>
                  <a:pt x="3028" y="200"/>
                </a:lnTo>
                <a:lnTo>
                  <a:pt x="3014" y="198"/>
                </a:lnTo>
                <a:lnTo>
                  <a:pt x="3002" y="196"/>
                </a:lnTo>
                <a:lnTo>
                  <a:pt x="2988" y="196"/>
                </a:lnTo>
                <a:lnTo>
                  <a:pt x="2972" y="198"/>
                </a:lnTo>
                <a:lnTo>
                  <a:pt x="2970" y="200"/>
                </a:lnTo>
                <a:lnTo>
                  <a:pt x="2968" y="202"/>
                </a:lnTo>
                <a:lnTo>
                  <a:pt x="2970" y="206"/>
                </a:lnTo>
                <a:lnTo>
                  <a:pt x="2976" y="210"/>
                </a:lnTo>
                <a:lnTo>
                  <a:pt x="2982" y="214"/>
                </a:lnTo>
                <a:lnTo>
                  <a:pt x="2984" y="218"/>
                </a:lnTo>
                <a:lnTo>
                  <a:pt x="2982" y="220"/>
                </a:lnTo>
                <a:lnTo>
                  <a:pt x="2980" y="222"/>
                </a:lnTo>
                <a:lnTo>
                  <a:pt x="2966" y="222"/>
                </a:lnTo>
                <a:lnTo>
                  <a:pt x="2950" y="224"/>
                </a:lnTo>
                <a:lnTo>
                  <a:pt x="2940" y="226"/>
                </a:lnTo>
                <a:lnTo>
                  <a:pt x="2936" y="228"/>
                </a:lnTo>
                <a:lnTo>
                  <a:pt x="2932" y="232"/>
                </a:lnTo>
                <a:lnTo>
                  <a:pt x="2926" y="244"/>
                </a:lnTo>
                <a:lnTo>
                  <a:pt x="2924" y="250"/>
                </a:lnTo>
                <a:lnTo>
                  <a:pt x="2920" y="254"/>
                </a:lnTo>
                <a:lnTo>
                  <a:pt x="2910" y="260"/>
                </a:lnTo>
                <a:lnTo>
                  <a:pt x="2900" y="266"/>
                </a:lnTo>
                <a:lnTo>
                  <a:pt x="2894" y="272"/>
                </a:lnTo>
                <a:lnTo>
                  <a:pt x="2888" y="280"/>
                </a:lnTo>
                <a:lnTo>
                  <a:pt x="2886" y="284"/>
                </a:lnTo>
                <a:lnTo>
                  <a:pt x="2886" y="286"/>
                </a:lnTo>
                <a:lnTo>
                  <a:pt x="2888" y="290"/>
                </a:lnTo>
                <a:lnTo>
                  <a:pt x="2892" y="292"/>
                </a:lnTo>
                <a:lnTo>
                  <a:pt x="2904" y="294"/>
                </a:lnTo>
                <a:lnTo>
                  <a:pt x="2918" y="296"/>
                </a:lnTo>
                <a:lnTo>
                  <a:pt x="2946" y="296"/>
                </a:lnTo>
                <a:lnTo>
                  <a:pt x="2954" y="298"/>
                </a:lnTo>
                <a:lnTo>
                  <a:pt x="2958" y="298"/>
                </a:lnTo>
                <a:lnTo>
                  <a:pt x="2958" y="300"/>
                </a:lnTo>
                <a:lnTo>
                  <a:pt x="2954" y="302"/>
                </a:lnTo>
                <a:lnTo>
                  <a:pt x="2950" y="306"/>
                </a:lnTo>
                <a:lnTo>
                  <a:pt x="2940" y="308"/>
                </a:lnTo>
                <a:lnTo>
                  <a:pt x="2926" y="306"/>
                </a:lnTo>
                <a:lnTo>
                  <a:pt x="2910" y="304"/>
                </a:lnTo>
                <a:lnTo>
                  <a:pt x="2882" y="300"/>
                </a:lnTo>
                <a:lnTo>
                  <a:pt x="2874" y="302"/>
                </a:lnTo>
                <a:lnTo>
                  <a:pt x="2870" y="302"/>
                </a:lnTo>
                <a:lnTo>
                  <a:pt x="2870" y="306"/>
                </a:lnTo>
                <a:lnTo>
                  <a:pt x="2870" y="312"/>
                </a:lnTo>
                <a:lnTo>
                  <a:pt x="2872" y="318"/>
                </a:lnTo>
                <a:lnTo>
                  <a:pt x="2876" y="324"/>
                </a:lnTo>
                <a:lnTo>
                  <a:pt x="2884" y="330"/>
                </a:lnTo>
                <a:lnTo>
                  <a:pt x="2900" y="344"/>
                </a:lnTo>
                <a:lnTo>
                  <a:pt x="2922" y="360"/>
                </a:lnTo>
                <a:close/>
                <a:moveTo>
                  <a:pt x="2814" y="444"/>
                </a:moveTo>
                <a:lnTo>
                  <a:pt x="2814" y="444"/>
                </a:lnTo>
                <a:lnTo>
                  <a:pt x="2818" y="448"/>
                </a:lnTo>
                <a:lnTo>
                  <a:pt x="2820" y="450"/>
                </a:lnTo>
                <a:lnTo>
                  <a:pt x="2826" y="454"/>
                </a:lnTo>
                <a:lnTo>
                  <a:pt x="2842" y="458"/>
                </a:lnTo>
                <a:lnTo>
                  <a:pt x="2850" y="462"/>
                </a:lnTo>
                <a:lnTo>
                  <a:pt x="2850" y="464"/>
                </a:lnTo>
                <a:lnTo>
                  <a:pt x="2846" y="466"/>
                </a:lnTo>
                <a:lnTo>
                  <a:pt x="2840" y="468"/>
                </a:lnTo>
                <a:lnTo>
                  <a:pt x="2830" y="472"/>
                </a:lnTo>
                <a:lnTo>
                  <a:pt x="2832" y="474"/>
                </a:lnTo>
                <a:lnTo>
                  <a:pt x="2838" y="474"/>
                </a:lnTo>
                <a:lnTo>
                  <a:pt x="2848" y="476"/>
                </a:lnTo>
                <a:lnTo>
                  <a:pt x="2852" y="478"/>
                </a:lnTo>
                <a:lnTo>
                  <a:pt x="2856" y="482"/>
                </a:lnTo>
                <a:lnTo>
                  <a:pt x="2856" y="486"/>
                </a:lnTo>
                <a:lnTo>
                  <a:pt x="2858" y="490"/>
                </a:lnTo>
                <a:lnTo>
                  <a:pt x="2860" y="490"/>
                </a:lnTo>
                <a:lnTo>
                  <a:pt x="2864" y="490"/>
                </a:lnTo>
                <a:lnTo>
                  <a:pt x="2872" y="488"/>
                </a:lnTo>
                <a:lnTo>
                  <a:pt x="2884" y="484"/>
                </a:lnTo>
                <a:lnTo>
                  <a:pt x="2896" y="482"/>
                </a:lnTo>
                <a:lnTo>
                  <a:pt x="2920" y="478"/>
                </a:lnTo>
                <a:lnTo>
                  <a:pt x="2930" y="476"/>
                </a:lnTo>
                <a:lnTo>
                  <a:pt x="2938" y="474"/>
                </a:lnTo>
                <a:lnTo>
                  <a:pt x="2940" y="470"/>
                </a:lnTo>
                <a:lnTo>
                  <a:pt x="2938" y="466"/>
                </a:lnTo>
                <a:lnTo>
                  <a:pt x="2936" y="460"/>
                </a:lnTo>
                <a:lnTo>
                  <a:pt x="2938" y="456"/>
                </a:lnTo>
                <a:lnTo>
                  <a:pt x="2946" y="450"/>
                </a:lnTo>
                <a:lnTo>
                  <a:pt x="2948" y="448"/>
                </a:lnTo>
                <a:lnTo>
                  <a:pt x="2950" y="446"/>
                </a:lnTo>
                <a:lnTo>
                  <a:pt x="2946" y="442"/>
                </a:lnTo>
                <a:lnTo>
                  <a:pt x="2938" y="436"/>
                </a:lnTo>
                <a:lnTo>
                  <a:pt x="2928" y="432"/>
                </a:lnTo>
                <a:lnTo>
                  <a:pt x="2920" y="430"/>
                </a:lnTo>
                <a:lnTo>
                  <a:pt x="2908" y="430"/>
                </a:lnTo>
                <a:lnTo>
                  <a:pt x="2898" y="428"/>
                </a:lnTo>
                <a:lnTo>
                  <a:pt x="2890" y="424"/>
                </a:lnTo>
                <a:lnTo>
                  <a:pt x="2880" y="420"/>
                </a:lnTo>
                <a:lnTo>
                  <a:pt x="2868" y="412"/>
                </a:lnTo>
                <a:lnTo>
                  <a:pt x="2854" y="408"/>
                </a:lnTo>
                <a:lnTo>
                  <a:pt x="2840" y="406"/>
                </a:lnTo>
                <a:lnTo>
                  <a:pt x="2828" y="404"/>
                </a:lnTo>
                <a:lnTo>
                  <a:pt x="2816" y="406"/>
                </a:lnTo>
                <a:lnTo>
                  <a:pt x="2810" y="408"/>
                </a:lnTo>
                <a:lnTo>
                  <a:pt x="2806" y="414"/>
                </a:lnTo>
                <a:lnTo>
                  <a:pt x="2806" y="416"/>
                </a:lnTo>
                <a:lnTo>
                  <a:pt x="2806" y="420"/>
                </a:lnTo>
                <a:lnTo>
                  <a:pt x="2808" y="426"/>
                </a:lnTo>
                <a:lnTo>
                  <a:pt x="2808" y="430"/>
                </a:lnTo>
                <a:lnTo>
                  <a:pt x="2804" y="432"/>
                </a:lnTo>
                <a:lnTo>
                  <a:pt x="2802" y="434"/>
                </a:lnTo>
                <a:lnTo>
                  <a:pt x="2800" y="436"/>
                </a:lnTo>
                <a:lnTo>
                  <a:pt x="2800" y="438"/>
                </a:lnTo>
                <a:lnTo>
                  <a:pt x="2814" y="444"/>
                </a:lnTo>
                <a:close/>
                <a:moveTo>
                  <a:pt x="2764" y="326"/>
                </a:moveTo>
                <a:lnTo>
                  <a:pt x="2764" y="326"/>
                </a:lnTo>
                <a:lnTo>
                  <a:pt x="2774" y="334"/>
                </a:lnTo>
                <a:lnTo>
                  <a:pt x="2780" y="334"/>
                </a:lnTo>
                <a:lnTo>
                  <a:pt x="2784" y="334"/>
                </a:lnTo>
                <a:lnTo>
                  <a:pt x="2788" y="332"/>
                </a:lnTo>
                <a:lnTo>
                  <a:pt x="2790" y="330"/>
                </a:lnTo>
                <a:lnTo>
                  <a:pt x="2792" y="324"/>
                </a:lnTo>
                <a:lnTo>
                  <a:pt x="2792" y="316"/>
                </a:lnTo>
                <a:lnTo>
                  <a:pt x="2788" y="308"/>
                </a:lnTo>
                <a:lnTo>
                  <a:pt x="2780" y="302"/>
                </a:lnTo>
                <a:lnTo>
                  <a:pt x="2770" y="298"/>
                </a:lnTo>
                <a:lnTo>
                  <a:pt x="2760" y="296"/>
                </a:lnTo>
                <a:lnTo>
                  <a:pt x="2750" y="296"/>
                </a:lnTo>
                <a:lnTo>
                  <a:pt x="2742" y="298"/>
                </a:lnTo>
                <a:lnTo>
                  <a:pt x="2736" y="302"/>
                </a:lnTo>
                <a:lnTo>
                  <a:pt x="2734" y="306"/>
                </a:lnTo>
                <a:lnTo>
                  <a:pt x="2734" y="310"/>
                </a:lnTo>
                <a:lnTo>
                  <a:pt x="2736" y="314"/>
                </a:lnTo>
                <a:lnTo>
                  <a:pt x="2738" y="316"/>
                </a:lnTo>
                <a:lnTo>
                  <a:pt x="2744" y="320"/>
                </a:lnTo>
                <a:lnTo>
                  <a:pt x="2752" y="320"/>
                </a:lnTo>
                <a:lnTo>
                  <a:pt x="2758" y="322"/>
                </a:lnTo>
                <a:lnTo>
                  <a:pt x="2764" y="326"/>
                </a:lnTo>
                <a:close/>
                <a:moveTo>
                  <a:pt x="2352" y="636"/>
                </a:moveTo>
                <a:lnTo>
                  <a:pt x="2352" y="636"/>
                </a:lnTo>
                <a:lnTo>
                  <a:pt x="2346" y="642"/>
                </a:lnTo>
                <a:lnTo>
                  <a:pt x="2344" y="644"/>
                </a:lnTo>
                <a:lnTo>
                  <a:pt x="2346" y="646"/>
                </a:lnTo>
                <a:lnTo>
                  <a:pt x="2350" y="648"/>
                </a:lnTo>
                <a:lnTo>
                  <a:pt x="2360" y="650"/>
                </a:lnTo>
                <a:lnTo>
                  <a:pt x="2370" y="652"/>
                </a:lnTo>
                <a:lnTo>
                  <a:pt x="2378" y="654"/>
                </a:lnTo>
                <a:lnTo>
                  <a:pt x="2384" y="658"/>
                </a:lnTo>
                <a:lnTo>
                  <a:pt x="2386" y="662"/>
                </a:lnTo>
                <a:lnTo>
                  <a:pt x="2386" y="664"/>
                </a:lnTo>
                <a:lnTo>
                  <a:pt x="2382" y="670"/>
                </a:lnTo>
                <a:lnTo>
                  <a:pt x="2378" y="672"/>
                </a:lnTo>
                <a:lnTo>
                  <a:pt x="2370" y="672"/>
                </a:lnTo>
                <a:lnTo>
                  <a:pt x="2362" y="670"/>
                </a:lnTo>
                <a:lnTo>
                  <a:pt x="2340" y="666"/>
                </a:lnTo>
                <a:lnTo>
                  <a:pt x="2326" y="666"/>
                </a:lnTo>
                <a:lnTo>
                  <a:pt x="2312" y="668"/>
                </a:lnTo>
                <a:lnTo>
                  <a:pt x="2298" y="670"/>
                </a:lnTo>
                <a:lnTo>
                  <a:pt x="2292" y="670"/>
                </a:lnTo>
                <a:lnTo>
                  <a:pt x="2288" y="666"/>
                </a:lnTo>
                <a:lnTo>
                  <a:pt x="2286" y="662"/>
                </a:lnTo>
                <a:lnTo>
                  <a:pt x="2282" y="656"/>
                </a:lnTo>
                <a:lnTo>
                  <a:pt x="2278" y="648"/>
                </a:lnTo>
                <a:lnTo>
                  <a:pt x="2266" y="638"/>
                </a:lnTo>
                <a:lnTo>
                  <a:pt x="2250" y="624"/>
                </a:lnTo>
                <a:lnTo>
                  <a:pt x="2230" y="616"/>
                </a:lnTo>
                <a:lnTo>
                  <a:pt x="2216" y="612"/>
                </a:lnTo>
                <a:lnTo>
                  <a:pt x="2206" y="612"/>
                </a:lnTo>
                <a:lnTo>
                  <a:pt x="2196" y="614"/>
                </a:lnTo>
                <a:lnTo>
                  <a:pt x="2190" y="618"/>
                </a:lnTo>
                <a:lnTo>
                  <a:pt x="2186" y="620"/>
                </a:lnTo>
                <a:lnTo>
                  <a:pt x="2180" y="618"/>
                </a:lnTo>
                <a:lnTo>
                  <a:pt x="2174" y="610"/>
                </a:lnTo>
                <a:lnTo>
                  <a:pt x="2168" y="602"/>
                </a:lnTo>
                <a:lnTo>
                  <a:pt x="2160" y="596"/>
                </a:lnTo>
                <a:lnTo>
                  <a:pt x="2152" y="594"/>
                </a:lnTo>
                <a:lnTo>
                  <a:pt x="2142" y="596"/>
                </a:lnTo>
                <a:lnTo>
                  <a:pt x="2132" y="598"/>
                </a:lnTo>
                <a:lnTo>
                  <a:pt x="2120" y="602"/>
                </a:lnTo>
                <a:lnTo>
                  <a:pt x="2090" y="614"/>
                </a:lnTo>
                <a:lnTo>
                  <a:pt x="2072" y="622"/>
                </a:lnTo>
                <a:lnTo>
                  <a:pt x="2072" y="624"/>
                </a:lnTo>
                <a:lnTo>
                  <a:pt x="2072" y="626"/>
                </a:lnTo>
                <a:lnTo>
                  <a:pt x="2076" y="628"/>
                </a:lnTo>
                <a:lnTo>
                  <a:pt x="2076" y="632"/>
                </a:lnTo>
                <a:lnTo>
                  <a:pt x="2072" y="638"/>
                </a:lnTo>
                <a:lnTo>
                  <a:pt x="2062" y="646"/>
                </a:lnTo>
                <a:lnTo>
                  <a:pt x="2054" y="654"/>
                </a:lnTo>
                <a:lnTo>
                  <a:pt x="2050" y="658"/>
                </a:lnTo>
                <a:lnTo>
                  <a:pt x="2050" y="662"/>
                </a:lnTo>
                <a:lnTo>
                  <a:pt x="2052" y="662"/>
                </a:lnTo>
                <a:lnTo>
                  <a:pt x="2056" y="664"/>
                </a:lnTo>
                <a:lnTo>
                  <a:pt x="2056" y="666"/>
                </a:lnTo>
                <a:lnTo>
                  <a:pt x="2052" y="670"/>
                </a:lnTo>
                <a:lnTo>
                  <a:pt x="2044" y="676"/>
                </a:lnTo>
                <a:lnTo>
                  <a:pt x="2034" y="684"/>
                </a:lnTo>
                <a:lnTo>
                  <a:pt x="2030" y="690"/>
                </a:lnTo>
                <a:lnTo>
                  <a:pt x="2032" y="694"/>
                </a:lnTo>
                <a:lnTo>
                  <a:pt x="2036" y="696"/>
                </a:lnTo>
                <a:lnTo>
                  <a:pt x="2056" y="702"/>
                </a:lnTo>
                <a:lnTo>
                  <a:pt x="2084" y="710"/>
                </a:lnTo>
                <a:lnTo>
                  <a:pt x="2096" y="712"/>
                </a:lnTo>
                <a:lnTo>
                  <a:pt x="2106" y="712"/>
                </a:lnTo>
                <a:lnTo>
                  <a:pt x="2114" y="710"/>
                </a:lnTo>
                <a:lnTo>
                  <a:pt x="2118" y="708"/>
                </a:lnTo>
                <a:lnTo>
                  <a:pt x="2124" y="702"/>
                </a:lnTo>
                <a:lnTo>
                  <a:pt x="2126" y="702"/>
                </a:lnTo>
                <a:lnTo>
                  <a:pt x="2130" y="704"/>
                </a:lnTo>
                <a:lnTo>
                  <a:pt x="2136" y="712"/>
                </a:lnTo>
                <a:lnTo>
                  <a:pt x="2140" y="714"/>
                </a:lnTo>
                <a:lnTo>
                  <a:pt x="2144" y="716"/>
                </a:lnTo>
                <a:lnTo>
                  <a:pt x="2148" y="714"/>
                </a:lnTo>
                <a:lnTo>
                  <a:pt x="2154" y="714"/>
                </a:lnTo>
                <a:lnTo>
                  <a:pt x="2158" y="710"/>
                </a:lnTo>
                <a:lnTo>
                  <a:pt x="2164" y="704"/>
                </a:lnTo>
                <a:lnTo>
                  <a:pt x="2174" y="692"/>
                </a:lnTo>
                <a:lnTo>
                  <a:pt x="2180" y="686"/>
                </a:lnTo>
                <a:lnTo>
                  <a:pt x="2182" y="686"/>
                </a:lnTo>
                <a:lnTo>
                  <a:pt x="2184" y="688"/>
                </a:lnTo>
                <a:lnTo>
                  <a:pt x="2182" y="696"/>
                </a:lnTo>
                <a:lnTo>
                  <a:pt x="2182" y="700"/>
                </a:lnTo>
                <a:lnTo>
                  <a:pt x="2184" y="704"/>
                </a:lnTo>
                <a:lnTo>
                  <a:pt x="2188" y="706"/>
                </a:lnTo>
                <a:lnTo>
                  <a:pt x="2196" y="706"/>
                </a:lnTo>
                <a:lnTo>
                  <a:pt x="2222" y="704"/>
                </a:lnTo>
                <a:lnTo>
                  <a:pt x="2262" y="698"/>
                </a:lnTo>
                <a:lnTo>
                  <a:pt x="2282" y="694"/>
                </a:lnTo>
                <a:lnTo>
                  <a:pt x="2292" y="694"/>
                </a:lnTo>
                <a:lnTo>
                  <a:pt x="2296" y="696"/>
                </a:lnTo>
                <a:lnTo>
                  <a:pt x="2294" y="700"/>
                </a:lnTo>
                <a:lnTo>
                  <a:pt x="2286" y="702"/>
                </a:lnTo>
                <a:lnTo>
                  <a:pt x="2274" y="706"/>
                </a:lnTo>
                <a:lnTo>
                  <a:pt x="2258" y="710"/>
                </a:lnTo>
                <a:lnTo>
                  <a:pt x="2242" y="712"/>
                </a:lnTo>
                <a:lnTo>
                  <a:pt x="2206" y="718"/>
                </a:lnTo>
                <a:lnTo>
                  <a:pt x="2188" y="722"/>
                </a:lnTo>
                <a:lnTo>
                  <a:pt x="2176" y="726"/>
                </a:lnTo>
                <a:lnTo>
                  <a:pt x="2166" y="732"/>
                </a:lnTo>
                <a:lnTo>
                  <a:pt x="2164" y="734"/>
                </a:lnTo>
                <a:lnTo>
                  <a:pt x="2164" y="738"/>
                </a:lnTo>
                <a:lnTo>
                  <a:pt x="2164" y="740"/>
                </a:lnTo>
                <a:lnTo>
                  <a:pt x="2168" y="744"/>
                </a:lnTo>
                <a:lnTo>
                  <a:pt x="2184" y="752"/>
                </a:lnTo>
                <a:lnTo>
                  <a:pt x="2196" y="756"/>
                </a:lnTo>
                <a:lnTo>
                  <a:pt x="2210" y="758"/>
                </a:lnTo>
                <a:lnTo>
                  <a:pt x="2222" y="756"/>
                </a:lnTo>
                <a:lnTo>
                  <a:pt x="2236" y="756"/>
                </a:lnTo>
                <a:lnTo>
                  <a:pt x="2266" y="748"/>
                </a:lnTo>
                <a:lnTo>
                  <a:pt x="2298" y="740"/>
                </a:lnTo>
                <a:lnTo>
                  <a:pt x="2312" y="736"/>
                </a:lnTo>
                <a:lnTo>
                  <a:pt x="2326" y="730"/>
                </a:lnTo>
                <a:lnTo>
                  <a:pt x="2348" y="718"/>
                </a:lnTo>
                <a:lnTo>
                  <a:pt x="2360" y="714"/>
                </a:lnTo>
                <a:lnTo>
                  <a:pt x="2370" y="712"/>
                </a:lnTo>
                <a:lnTo>
                  <a:pt x="2380" y="712"/>
                </a:lnTo>
                <a:lnTo>
                  <a:pt x="2390" y="714"/>
                </a:lnTo>
                <a:lnTo>
                  <a:pt x="2400" y="716"/>
                </a:lnTo>
                <a:lnTo>
                  <a:pt x="2408" y="716"/>
                </a:lnTo>
                <a:lnTo>
                  <a:pt x="2412" y="716"/>
                </a:lnTo>
                <a:lnTo>
                  <a:pt x="2416" y="714"/>
                </a:lnTo>
                <a:lnTo>
                  <a:pt x="2420" y="712"/>
                </a:lnTo>
                <a:lnTo>
                  <a:pt x="2424" y="710"/>
                </a:lnTo>
                <a:lnTo>
                  <a:pt x="2430" y="710"/>
                </a:lnTo>
                <a:lnTo>
                  <a:pt x="2440" y="712"/>
                </a:lnTo>
                <a:lnTo>
                  <a:pt x="2450" y="714"/>
                </a:lnTo>
                <a:lnTo>
                  <a:pt x="2460" y="716"/>
                </a:lnTo>
                <a:lnTo>
                  <a:pt x="2472" y="714"/>
                </a:lnTo>
                <a:lnTo>
                  <a:pt x="2480" y="710"/>
                </a:lnTo>
                <a:lnTo>
                  <a:pt x="2490" y="704"/>
                </a:lnTo>
                <a:lnTo>
                  <a:pt x="2500" y="696"/>
                </a:lnTo>
                <a:lnTo>
                  <a:pt x="2512" y="684"/>
                </a:lnTo>
                <a:lnTo>
                  <a:pt x="2522" y="672"/>
                </a:lnTo>
                <a:lnTo>
                  <a:pt x="2526" y="664"/>
                </a:lnTo>
                <a:lnTo>
                  <a:pt x="2530" y="658"/>
                </a:lnTo>
                <a:lnTo>
                  <a:pt x="2530" y="654"/>
                </a:lnTo>
                <a:lnTo>
                  <a:pt x="2530" y="648"/>
                </a:lnTo>
                <a:lnTo>
                  <a:pt x="2526" y="644"/>
                </a:lnTo>
                <a:lnTo>
                  <a:pt x="2522" y="642"/>
                </a:lnTo>
                <a:lnTo>
                  <a:pt x="2512" y="636"/>
                </a:lnTo>
                <a:lnTo>
                  <a:pt x="2500" y="634"/>
                </a:lnTo>
                <a:lnTo>
                  <a:pt x="2486" y="632"/>
                </a:lnTo>
                <a:lnTo>
                  <a:pt x="2474" y="632"/>
                </a:lnTo>
                <a:lnTo>
                  <a:pt x="2466" y="634"/>
                </a:lnTo>
                <a:lnTo>
                  <a:pt x="2450" y="640"/>
                </a:lnTo>
                <a:lnTo>
                  <a:pt x="2436" y="646"/>
                </a:lnTo>
                <a:lnTo>
                  <a:pt x="2432" y="646"/>
                </a:lnTo>
                <a:lnTo>
                  <a:pt x="2428" y="646"/>
                </a:lnTo>
                <a:lnTo>
                  <a:pt x="2428" y="644"/>
                </a:lnTo>
                <a:lnTo>
                  <a:pt x="2430" y="638"/>
                </a:lnTo>
                <a:lnTo>
                  <a:pt x="2432" y="632"/>
                </a:lnTo>
                <a:lnTo>
                  <a:pt x="2430" y="630"/>
                </a:lnTo>
                <a:lnTo>
                  <a:pt x="2424" y="628"/>
                </a:lnTo>
                <a:lnTo>
                  <a:pt x="2420" y="626"/>
                </a:lnTo>
                <a:lnTo>
                  <a:pt x="2414" y="626"/>
                </a:lnTo>
                <a:lnTo>
                  <a:pt x="2412" y="624"/>
                </a:lnTo>
                <a:lnTo>
                  <a:pt x="2410" y="622"/>
                </a:lnTo>
                <a:lnTo>
                  <a:pt x="2414" y="618"/>
                </a:lnTo>
                <a:lnTo>
                  <a:pt x="2418" y="612"/>
                </a:lnTo>
                <a:lnTo>
                  <a:pt x="2418" y="610"/>
                </a:lnTo>
                <a:lnTo>
                  <a:pt x="2416" y="608"/>
                </a:lnTo>
                <a:lnTo>
                  <a:pt x="2414" y="606"/>
                </a:lnTo>
                <a:lnTo>
                  <a:pt x="2410" y="604"/>
                </a:lnTo>
                <a:lnTo>
                  <a:pt x="2406" y="600"/>
                </a:lnTo>
                <a:lnTo>
                  <a:pt x="2402" y="592"/>
                </a:lnTo>
                <a:lnTo>
                  <a:pt x="2400" y="582"/>
                </a:lnTo>
                <a:lnTo>
                  <a:pt x="2398" y="574"/>
                </a:lnTo>
                <a:lnTo>
                  <a:pt x="2394" y="568"/>
                </a:lnTo>
                <a:lnTo>
                  <a:pt x="2388" y="566"/>
                </a:lnTo>
                <a:lnTo>
                  <a:pt x="2380" y="568"/>
                </a:lnTo>
                <a:lnTo>
                  <a:pt x="2370" y="570"/>
                </a:lnTo>
                <a:lnTo>
                  <a:pt x="2358" y="576"/>
                </a:lnTo>
                <a:lnTo>
                  <a:pt x="2332" y="594"/>
                </a:lnTo>
                <a:lnTo>
                  <a:pt x="2324" y="598"/>
                </a:lnTo>
                <a:lnTo>
                  <a:pt x="2322" y="602"/>
                </a:lnTo>
                <a:lnTo>
                  <a:pt x="2320" y="604"/>
                </a:lnTo>
                <a:lnTo>
                  <a:pt x="2322" y="608"/>
                </a:lnTo>
                <a:lnTo>
                  <a:pt x="2328" y="612"/>
                </a:lnTo>
                <a:lnTo>
                  <a:pt x="2338" y="616"/>
                </a:lnTo>
                <a:lnTo>
                  <a:pt x="2350" y="620"/>
                </a:lnTo>
                <a:lnTo>
                  <a:pt x="2358" y="624"/>
                </a:lnTo>
                <a:lnTo>
                  <a:pt x="2360" y="626"/>
                </a:lnTo>
                <a:lnTo>
                  <a:pt x="2360" y="628"/>
                </a:lnTo>
                <a:lnTo>
                  <a:pt x="2358" y="632"/>
                </a:lnTo>
                <a:lnTo>
                  <a:pt x="2352" y="636"/>
                </a:lnTo>
                <a:close/>
                <a:moveTo>
                  <a:pt x="2556" y="544"/>
                </a:moveTo>
                <a:lnTo>
                  <a:pt x="2556" y="544"/>
                </a:lnTo>
                <a:lnTo>
                  <a:pt x="2566" y="544"/>
                </a:lnTo>
                <a:lnTo>
                  <a:pt x="2568" y="542"/>
                </a:lnTo>
                <a:lnTo>
                  <a:pt x="2570" y="540"/>
                </a:lnTo>
                <a:lnTo>
                  <a:pt x="2570" y="536"/>
                </a:lnTo>
                <a:lnTo>
                  <a:pt x="2568" y="532"/>
                </a:lnTo>
                <a:lnTo>
                  <a:pt x="2556" y="520"/>
                </a:lnTo>
                <a:lnTo>
                  <a:pt x="2546" y="512"/>
                </a:lnTo>
                <a:lnTo>
                  <a:pt x="2536" y="504"/>
                </a:lnTo>
                <a:lnTo>
                  <a:pt x="2526" y="500"/>
                </a:lnTo>
                <a:lnTo>
                  <a:pt x="2516" y="496"/>
                </a:lnTo>
                <a:lnTo>
                  <a:pt x="2508" y="494"/>
                </a:lnTo>
                <a:lnTo>
                  <a:pt x="2502" y="494"/>
                </a:lnTo>
                <a:lnTo>
                  <a:pt x="2500" y="496"/>
                </a:lnTo>
                <a:lnTo>
                  <a:pt x="2500" y="500"/>
                </a:lnTo>
                <a:lnTo>
                  <a:pt x="2508" y="514"/>
                </a:lnTo>
                <a:lnTo>
                  <a:pt x="2518" y="530"/>
                </a:lnTo>
                <a:lnTo>
                  <a:pt x="2524" y="536"/>
                </a:lnTo>
                <a:lnTo>
                  <a:pt x="2534" y="542"/>
                </a:lnTo>
                <a:lnTo>
                  <a:pt x="2544" y="544"/>
                </a:lnTo>
                <a:lnTo>
                  <a:pt x="2556" y="544"/>
                </a:lnTo>
                <a:close/>
                <a:moveTo>
                  <a:pt x="1828" y="630"/>
                </a:moveTo>
                <a:lnTo>
                  <a:pt x="1828" y="630"/>
                </a:lnTo>
                <a:lnTo>
                  <a:pt x="1826" y="636"/>
                </a:lnTo>
                <a:lnTo>
                  <a:pt x="1826" y="638"/>
                </a:lnTo>
                <a:lnTo>
                  <a:pt x="1828" y="640"/>
                </a:lnTo>
                <a:lnTo>
                  <a:pt x="1830" y="640"/>
                </a:lnTo>
                <a:lnTo>
                  <a:pt x="1838" y="638"/>
                </a:lnTo>
                <a:lnTo>
                  <a:pt x="1850" y="632"/>
                </a:lnTo>
                <a:lnTo>
                  <a:pt x="1856" y="628"/>
                </a:lnTo>
                <a:lnTo>
                  <a:pt x="1860" y="628"/>
                </a:lnTo>
                <a:lnTo>
                  <a:pt x="1864" y="628"/>
                </a:lnTo>
                <a:lnTo>
                  <a:pt x="1868" y="630"/>
                </a:lnTo>
                <a:lnTo>
                  <a:pt x="1874" y="634"/>
                </a:lnTo>
                <a:lnTo>
                  <a:pt x="1880" y="636"/>
                </a:lnTo>
                <a:lnTo>
                  <a:pt x="1886" y="636"/>
                </a:lnTo>
                <a:lnTo>
                  <a:pt x="1892" y="636"/>
                </a:lnTo>
                <a:lnTo>
                  <a:pt x="1896" y="632"/>
                </a:lnTo>
                <a:lnTo>
                  <a:pt x="1900" y="626"/>
                </a:lnTo>
                <a:lnTo>
                  <a:pt x="1902" y="626"/>
                </a:lnTo>
                <a:lnTo>
                  <a:pt x="1904" y="626"/>
                </a:lnTo>
                <a:lnTo>
                  <a:pt x="1908" y="634"/>
                </a:lnTo>
                <a:lnTo>
                  <a:pt x="1914" y="642"/>
                </a:lnTo>
                <a:lnTo>
                  <a:pt x="1920" y="646"/>
                </a:lnTo>
                <a:lnTo>
                  <a:pt x="1926" y="650"/>
                </a:lnTo>
                <a:lnTo>
                  <a:pt x="1934" y="650"/>
                </a:lnTo>
                <a:lnTo>
                  <a:pt x="1940" y="648"/>
                </a:lnTo>
                <a:lnTo>
                  <a:pt x="1946" y="642"/>
                </a:lnTo>
                <a:lnTo>
                  <a:pt x="1950" y="636"/>
                </a:lnTo>
                <a:lnTo>
                  <a:pt x="1952" y="624"/>
                </a:lnTo>
                <a:lnTo>
                  <a:pt x="1952" y="616"/>
                </a:lnTo>
                <a:lnTo>
                  <a:pt x="1954" y="614"/>
                </a:lnTo>
                <a:lnTo>
                  <a:pt x="1960" y="622"/>
                </a:lnTo>
                <a:lnTo>
                  <a:pt x="1964" y="626"/>
                </a:lnTo>
                <a:lnTo>
                  <a:pt x="1968" y="626"/>
                </a:lnTo>
                <a:lnTo>
                  <a:pt x="1970" y="626"/>
                </a:lnTo>
                <a:lnTo>
                  <a:pt x="1974" y="624"/>
                </a:lnTo>
                <a:lnTo>
                  <a:pt x="1978" y="620"/>
                </a:lnTo>
                <a:lnTo>
                  <a:pt x="1988" y="606"/>
                </a:lnTo>
                <a:lnTo>
                  <a:pt x="1994" y="594"/>
                </a:lnTo>
                <a:lnTo>
                  <a:pt x="1996" y="586"/>
                </a:lnTo>
                <a:lnTo>
                  <a:pt x="1996" y="580"/>
                </a:lnTo>
                <a:lnTo>
                  <a:pt x="1998" y="578"/>
                </a:lnTo>
                <a:lnTo>
                  <a:pt x="2000" y="576"/>
                </a:lnTo>
                <a:lnTo>
                  <a:pt x="2014" y="570"/>
                </a:lnTo>
                <a:lnTo>
                  <a:pt x="2020" y="568"/>
                </a:lnTo>
                <a:lnTo>
                  <a:pt x="2022" y="568"/>
                </a:lnTo>
                <a:lnTo>
                  <a:pt x="2024" y="570"/>
                </a:lnTo>
                <a:lnTo>
                  <a:pt x="2022" y="576"/>
                </a:lnTo>
                <a:lnTo>
                  <a:pt x="2020" y="582"/>
                </a:lnTo>
                <a:lnTo>
                  <a:pt x="2020" y="590"/>
                </a:lnTo>
                <a:lnTo>
                  <a:pt x="2020" y="600"/>
                </a:lnTo>
                <a:lnTo>
                  <a:pt x="2022" y="602"/>
                </a:lnTo>
                <a:lnTo>
                  <a:pt x="2024" y="606"/>
                </a:lnTo>
                <a:lnTo>
                  <a:pt x="2030" y="608"/>
                </a:lnTo>
                <a:lnTo>
                  <a:pt x="2036" y="610"/>
                </a:lnTo>
                <a:lnTo>
                  <a:pt x="2050" y="612"/>
                </a:lnTo>
                <a:lnTo>
                  <a:pt x="2056" y="610"/>
                </a:lnTo>
                <a:lnTo>
                  <a:pt x="2060" y="608"/>
                </a:lnTo>
                <a:lnTo>
                  <a:pt x="2060" y="602"/>
                </a:lnTo>
                <a:lnTo>
                  <a:pt x="2058" y="598"/>
                </a:lnTo>
                <a:lnTo>
                  <a:pt x="2058" y="594"/>
                </a:lnTo>
                <a:lnTo>
                  <a:pt x="2060" y="590"/>
                </a:lnTo>
                <a:lnTo>
                  <a:pt x="2068" y="588"/>
                </a:lnTo>
                <a:lnTo>
                  <a:pt x="2090" y="584"/>
                </a:lnTo>
                <a:lnTo>
                  <a:pt x="2098" y="580"/>
                </a:lnTo>
                <a:lnTo>
                  <a:pt x="2104" y="576"/>
                </a:lnTo>
                <a:lnTo>
                  <a:pt x="2108" y="572"/>
                </a:lnTo>
                <a:lnTo>
                  <a:pt x="2108" y="566"/>
                </a:lnTo>
                <a:lnTo>
                  <a:pt x="2104" y="560"/>
                </a:lnTo>
                <a:lnTo>
                  <a:pt x="2094" y="552"/>
                </a:lnTo>
                <a:lnTo>
                  <a:pt x="2088" y="550"/>
                </a:lnTo>
                <a:lnTo>
                  <a:pt x="2086" y="548"/>
                </a:lnTo>
                <a:lnTo>
                  <a:pt x="2086" y="544"/>
                </a:lnTo>
                <a:lnTo>
                  <a:pt x="2088" y="542"/>
                </a:lnTo>
                <a:lnTo>
                  <a:pt x="2094" y="538"/>
                </a:lnTo>
                <a:lnTo>
                  <a:pt x="2102" y="536"/>
                </a:lnTo>
                <a:lnTo>
                  <a:pt x="2110" y="532"/>
                </a:lnTo>
                <a:lnTo>
                  <a:pt x="2114" y="530"/>
                </a:lnTo>
                <a:lnTo>
                  <a:pt x="2114" y="528"/>
                </a:lnTo>
                <a:lnTo>
                  <a:pt x="2112" y="524"/>
                </a:lnTo>
                <a:lnTo>
                  <a:pt x="2102" y="520"/>
                </a:lnTo>
                <a:lnTo>
                  <a:pt x="2080" y="512"/>
                </a:lnTo>
                <a:lnTo>
                  <a:pt x="2074" y="510"/>
                </a:lnTo>
                <a:lnTo>
                  <a:pt x="2068" y="512"/>
                </a:lnTo>
                <a:lnTo>
                  <a:pt x="2064" y="512"/>
                </a:lnTo>
                <a:lnTo>
                  <a:pt x="2060" y="516"/>
                </a:lnTo>
                <a:lnTo>
                  <a:pt x="2052" y="524"/>
                </a:lnTo>
                <a:lnTo>
                  <a:pt x="2050" y="526"/>
                </a:lnTo>
                <a:lnTo>
                  <a:pt x="2046" y="528"/>
                </a:lnTo>
                <a:lnTo>
                  <a:pt x="2038" y="528"/>
                </a:lnTo>
                <a:lnTo>
                  <a:pt x="2016" y="522"/>
                </a:lnTo>
                <a:lnTo>
                  <a:pt x="2002" y="522"/>
                </a:lnTo>
                <a:lnTo>
                  <a:pt x="1984" y="526"/>
                </a:lnTo>
                <a:lnTo>
                  <a:pt x="1974" y="528"/>
                </a:lnTo>
                <a:lnTo>
                  <a:pt x="1964" y="534"/>
                </a:lnTo>
                <a:lnTo>
                  <a:pt x="1954" y="540"/>
                </a:lnTo>
                <a:lnTo>
                  <a:pt x="1942" y="548"/>
                </a:lnTo>
                <a:lnTo>
                  <a:pt x="1926" y="562"/>
                </a:lnTo>
                <a:lnTo>
                  <a:pt x="1916" y="568"/>
                </a:lnTo>
                <a:lnTo>
                  <a:pt x="1908" y="572"/>
                </a:lnTo>
                <a:lnTo>
                  <a:pt x="1904" y="574"/>
                </a:lnTo>
                <a:lnTo>
                  <a:pt x="1896" y="576"/>
                </a:lnTo>
                <a:lnTo>
                  <a:pt x="1890" y="580"/>
                </a:lnTo>
                <a:lnTo>
                  <a:pt x="1882" y="588"/>
                </a:lnTo>
                <a:lnTo>
                  <a:pt x="1872" y="596"/>
                </a:lnTo>
                <a:lnTo>
                  <a:pt x="1864" y="600"/>
                </a:lnTo>
                <a:lnTo>
                  <a:pt x="1858" y="600"/>
                </a:lnTo>
                <a:lnTo>
                  <a:pt x="1852" y="600"/>
                </a:lnTo>
                <a:lnTo>
                  <a:pt x="1848" y="598"/>
                </a:lnTo>
                <a:lnTo>
                  <a:pt x="1842" y="598"/>
                </a:lnTo>
                <a:lnTo>
                  <a:pt x="1834" y="600"/>
                </a:lnTo>
                <a:lnTo>
                  <a:pt x="1826" y="608"/>
                </a:lnTo>
                <a:lnTo>
                  <a:pt x="1818" y="616"/>
                </a:lnTo>
                <a:lnTo>
                  <a:pt x="1816" y="620"/>
                </a:lnTo>
                <a:lnTo>
                  <a:pt x="1816" y="622"/>
                </a:lnTo>
                <a:lnTo>
                  <a:pt x="1818" y="624"/>
                </a:lnTo>
                <a:lnTo>
                  <a:pt x="1826" y="626"/>
                </a:lnTo>
                <a:lnTo>
                  <a:pt x="1828" y="628"/>
                </a:lnTo>
                <a:lnTo>
                  <a:pt x="1828" y="630"/>
                </a:lnTo>
                <a:close/>
                <a:moveTo>
                  <a:pt x="2226" y="448"/>
                </a:moveTo>
                <a:lnTo>
                  <a:pt x="2226" y="448"/>
                </a:lnTo>
                <a:lnTo>
                  <a:pt x="2232" y="448"/>
                </a:lnTo>
                <a:lnTo>
                  <a:pt x="2240" y="448"/>
                </a:lnTo>
                <a:lnTo>
                  <a:pt x="2268" y="452"/>
                </a:lnTo>
                <a:lnTo>
                  <a:pt x="2278" y="452"/>
                </a:lnTo>
                <a:lnTo>
                  <a:pt x="2282" y="450"/>
                </a:lnTo>
                <a:lnTo>
                  <a:pt x="2290" y="448"/>
                </a:lnTo>
                <a:lnTo>
                  <a:pt x="2314" y="450"/>
                </a:lnTo>
                <a:lnTo>
                  <a:pt x="2330" y="450"/>
                </a:lnTo>
                <a:lnTo>
                  <a:pt x="2346" y="450"/>
                </a:lnTo>
                <a:lnTo>
                  <a:pt x="2358" y="448"/>
                </a:lnTo>
                <a:lnTo>
                  <a:pt x="2366" y="444"/>
                </a:lnTo>
                <a:lnTo>
                  <a:pt x="2368" y="440"/>
                </a:lnTo>
                <a:lnTo>
                  <a:pt x="2368" y="436"/>
                </a:lnTo>
                <a:lnTo>
                  <a:pt x="2368" y="434"/>
                </a:lnTo>
                <a:lnTo>
                  <a:pt x="2360" y="428"/>
                </a:lnTo>
                <a:lnTo>
                  <a:pt x="2344" y="422"/>
                </a:lnTo>
                <a:lnTo>
                  <a:pt x="2328" y="416"/>
                </a:lnTo>
                <a:lnTo>
                  <a:pt x="2314" y="414"/>
                </a:lnTo>
                <a:lnTo>
                  <a:pt x="2302" y="416"/>
                </a:lnTo>
                <a:lnTo>
                  <a:pt x="2292" y="418"/>
                </a:lnTo>
                <a:lnTo>
                  <a:pt x="2270" y="426"/>
                </a:lnTo>
                <a:lnTo>
                  <a:pt x="2258" y="430"/>
                </a:lnTo>
                <a:lnTo>
                  <a:pt x="2242" y="432"/>
                </a:lnTo>
                <a:lnTo>
                  <a:pt x="2228" y="434"/>
                </a:lnTo>
                <a:lnTo>
                  <a:pt x="2216" y="438"/>
                </a:lnTo>
                <a:lnTo>
                  <a:pt x="2210" y="442"/>
                </a:lnTo>
                <a:lnTo>
                  <a:pt x="2206" y="446"/>
                </a:lnTo>
                <a:lnTo>
                  <a:pt x="2208" y="450"/>
                </a:lnTo>
                <a:lnTo>
                  <a:pt x="2210" y="450"/>
                </a:lnTo>
                <a:lnTo>
                  <a:pt x="2218" y="450"/>
                </a:lnTo>
                <a:lnTo>
                  <a:pt x="2226" y="448"/>
                </a:lnTo>
                <a:close/>
                <a:moveTo>
                  <a:pt x="2308" y="518"/>
                </a:moveTo>
                <a:lnTo>
                  <a:pt x="2308" y="518"/>
                </a:lnTo>
                <a:lnTo>
                  <a:pt x="2322" y="516"/>
                </a:lnTo>
                <a:lnTo>
                  <a:pt x="2332" y="512"/>
                </a:lnTo>
                <a:lnTo>
                  <a:pt x="2338" y="508"/>
                </a:lnTo>
                <a:lnTo>
                  <a:pt x="2340" y="502"/>
                </a:lnTo>
                <a:lnTo>
                  <a:pt x="2340" y="498"/>
                </a:lnTo>
                <a:lnTo>
                  <a:pt x="2336" y="494"/>
                </a:lnTo>
                <a:lnTo>
                  <a:pt x="2328" y="490"/>
                </a:lnTo>
                <a:lnTo>
                  <a:pt x="2316" y="488"/>
                </a:lnTo>
                <a:lnTo>
                  <a:pt x="2308" y="488"/>
                </a:lnTo>
                <a:lnTo>
                  <a:pt x="2306" y="486"/>
                </a:lnTo>
                <a:lnTo>
                  <a:pt x="2320" y="484"/>
                </a:lnTo>
                <a:lnTo>
                  <a:pt x="2340" y="480"/>
                </a:lnTo>
                <a:lnTo>
                  <a:pt x="2350" y="476"/>
                </a:lnTo>
                <a:lnTo>
                  <a:pt x="2356" y="470"/>
                </a:lnTo>
                <a:lnTo>
                  <a:pt x="2356" y="468"/>
                </a:lnTo>
                <a:lnTo>
                  <a:pt x="2356" y="466"/>
                </a:lnTo>
                <a:lnTo>
                  <a:pt x="2350" y="464"/>
                </a:lnTo>
                <a:lnTo>
                  <a:pt x="2340" y="462"/>
                </a:lnTo>
                <a:lnTo>
                  <a:pt x="2326" y="462"/>
                </a:lnTo>
                <a:lnTo>
                  <a:pt x="2292" y="466"/>
                </a:lnTo>
                <a:lnTo>
                  <a:pt x="2252" y="472"/>
                </a:lnTo>
                <a:lnTo>
                  <a:pt x="2220" y="478"/>
                </a:lnTo>
                <a:lnTo>
                  <a:pt x="2212" y="482"/>
                </a:lnTo>
                <a:lnTo>
                  <a:pt x="2206" y="484"/>
                </a:lnTo>
                <a:lnTo>
                  <a:pt x="2204" y="488"/>
                </a:lnTo>
                <a:lnTo>
                  <a:pt x="2204" y="494"/>
                </a:lnTo>
                <a:lnTo>
                  <a:pt x="2210" y="508"/>
                </a:lnTo>
                <a:lnTo>
                  <a:pt x="2216" y="516"/>
                </a:lnTo>
                <a:lnTo>
                  <a:pt x="2224" y="522"/>
                </a:lnTo>
                <a:lnTo>
                  <a:pt x="2236" y="524"/>
                </a:lnTo>
                <a:lnTo>
                  <a:pt x="2248" y="526"/>
                </a:lnTo>
                <a:lnTo>
                  <a:pt x="2278" y="524"/>
                </a:lnTo>
                <a:lnTo>
                  <a:pt x="2308" y="518"/>
                </a:lnTo>
                <a:close/>
                <a:moveTo>
                  <a:pt x="2768" y="590"/>
                </a:moveTo>
                <a:lnTo>
                  <a:pt x="2768" y="590"/>
                </a:lnTo>
                <a:lnTo>
                  <a:pt x="2762" y="586"/>
                </a:lnTo>
                <a:lnTo>
                  <a:pt x="2756" y="584"/>
                </a:lnTo>
                <a:lnTo>
                  <a:pt x="2742" y="582"/>
                </a:lnTo>
                <a:lnTo>
                  <a:pt x="2728" y="584"/>
                </a:lnTo>
                <a:lnTo>
                  <a:pt x="2712" y="588"/>
                </a:lnTo>
                <a:lnTo>
                  <a:pt x="2706" y="590"/>
                </a:lnTo>
                <a:lnTo>
                  <a:pt x="2704" y="592"/>
                </a:lnTo>
                <a:lnTo>
                  <a:pt x="2704" y="596"/>
                </a:lnTo>
                <a:lnTo>
                  <a:pt x="2710" y="602"/>
                </a:lnTo>
                <a:lnTo>
                  <a:pt x="2726" y="618"/>
                </a:lnTo>
                <a:lnTo>
                  <a:pt x="2748" y="640"/>
                </a:lnTo>
                <a:lnTo>
                  <a:pt x="2728" y="630"/>
                </a:lnTo>
                <a:lnTo>
                  <a:pt x="2714" y="620"/>
                </a:lnTo>
                <a:lnTo>
                  <a:pt x="2706" y="614"/>
                </a:lnTo>
                <a:lnTo>
                  <a:pt x="2702" y="608"/>
                </a:lnTo>
                <a:lnTo>
                  <a:pt x="2698" y="604"/>
                </a:lnTo>
                <a:lnTo>
                  <a:pt x="2696" y="600"/>
                </a:lnTo>
                <a:lnTo>
                  <a:pt x="2688" y="598"/>
                </a:lnTo>
                <a:lnTo>
                  <a:pt x="2678" y="598"/>
                </a:lnTo>
                <a:lnTo>
                  <a:pt x="2666" y="598"/>
                </a:lnTo>
                <a:lnTo>
                  <a:pt x="2656" y="600"/>
                </a:lnTo>
                <a:lnTo>
                  <a:pt x="2652" y="602"/>
                </a:lnTo>
                <a:lnTo>
                  <a:pt x="2650" y="604"/>
                </a:lnTo>
                <a:lnTo>
                  <a:pt x="2652" y="610"/>
                </a:lnTo>
                <a:lnTo>
                  <a:pt x="2656" y="616"/>
                </a:lnTo>
                <a:lnTo>
                  <a:pt x="2670" y="632"/>
                </a:lnTo>
                <a:lnTo>
                  <a:pt x="2680" y="642"/>
                </a:lnTo>
                <a:lnTo>
                  <a:pt x="2680" y="644"/>
                </a:lnTo>
                <a:lnTo>
                  <a:pt x="2676" y="642"/>
                </a:lnTo>
                <a:lnTo>
                  <a:pt x="2666" y="638"/>
                </a:lnTo>
                <a:lnTo>
                  <a:pt x="2660" y="640"/>
                </a:lnTo>
                <a:lnTo>
                  <a:pt x="2656" y="642"/>
                </a:lnTo>
                <a:lnTo>
                  <a:pt x="2650" y="646"/>
                </a:lnTo>
                <a:lnTo>
                  <a:pt x="2644" y="648"/>
                </a:lnTo>
                <a:lnTo>
                  <a:pt x="2632" y="654"/>
                </a:lnTo>
                <a:lnTo>
                  <a:pt x="2628" y="656"/>
                </a:lnTo>
                <a:lnTo>
                  <a:pt x="2624" y="658"/>
                </a:lnTo>
                <a:lnTo>
                  <a:pt x="2624" y="662"/>
                </a:lnTo>
                <a:lnTo>
                  <a:pt x="2628" y="666"/>
                </a:lnTo>
                <a:lnTo>
                  <a:pt x="2632" y="668"/>
                </a:lnTo>
                <a:lnTo>
                  <a:pt x="2636" y="670"/>
                </a:lnTo>
                <a:lnTo>
                  <a:pt x="2652" y="670"/>
                </a:lnTo>
                <a:lnTo>
                  <a:pt x="2670" y="668"/>
                </a:lnTo>
                <a:lnTo>
                  <a:pt x="2690" y="664"/>
                </a:lnTo>
                <a:lnTo>
                  <a:pt x="2730" y="658"/>
                </a:lnTo>
                <a:lnTo>
                  <a:pt x="2748" y="656"/>
                </a:lnTo>
                <a:lnTo>
                  <a:pt x="2760" y="656"/>
                </a:lnTo>
                <a:lnTo>
                  <a:pt x="2766" y="656"/>
                </a:lnTo>
                <a:lnTo>
                  <a:pt x="2762" y="658"/>
                </a:lnTo>
                <a:lnTo>
                  <a:pt x="2742" y="664"/>
                </a:lnTo>
                <a:lnTo>
                  <a:pt x="2730" y="670"/>
                </a:lnTo>
                <a:lnTo>
                  <a:pt x="2720" y="674"/>
                </a:lnTo>
                <a:lnTo>
                  <a:pt x="2718" y="676"/>
                </a:lnTo>
                <a:lnTo>
                  <a:pt x="2716" y="680"/>
                </a:lnTo>
                <a:lnTo>
                  <a:pt x="2716" y="682"/>
                </a:lnTo>
                <a:lnTo>
                  <a:pt x="2718" y="686"/>
                </a:lnTo>
                <a:lnTo>
                  <a:pt x="2722" y="694"/>
                </a:lnTo>
                <a:lnTo>
                  <a:pt x="2724" y="700"/>
                </a:lnTo>
                <a:lnTo>
                  <a:pt x="2728" y="712"/>
                </a:lnTo>
                <a:lnTo>
                  <a:pt x="2730" y="716"/>
                </a:lnTo>
                <a:lnTo>
                  <a:pt x="2734" y="716"/>
                </a:lnTo>
                <a:lnTo>
                  <a:pt x="2740" y="716"/>
                </a:lnTo>
                <a:lnTo>
                  <a:pt x="2752" y="712"/>
                </a:lnTo>
                <a:lnTo>
                  <a:pt x="2760" y="710"/>
                </a:lnTo>
                <a:lnTo>
                  <a:pt x="2768" y="708"/>
                </a:lnTo>
                <a:lnTo>
                  <a:pt x="2790" y="710"/>
                </a:lnTo>
                <a:lnTo>
                  <a:pt x="2808" y="712"/>
                </a:lnTo>
                <a:lnTo>
                  <a:pt x="2824" y="708"/>
                </a:lnTo>
                <a:lnTo>
                  <a:pt x="2830" y="706"/>
                </a:lnTo>
                <a:lnTo>
                  <a:pt x="2834" y="702"/>
                </a:lnTo>
                <a:lnTo>
                  <a:pt x="2834" y="698"/>
                </a:lnTo>
                <a:lnTo>
                  <a:pt x="2832" y="692"/>
                </a:lnTo>
                <a:lnTo>
                  <a:pt x="2826" y="680"/>
                </a:lnTo>
                <a:lnTo>
                  <a:pt x="2826" y="670"/>
                </a:lnTo>
                <a:lnTo>
                  <a:pt x="2826" y="668"/>
                </a:lnTo>
                <a:lnTo>
                  <a:pt x="2830" y="668"/>
                </a:lnTo>
                <a:lnTo>
                  <a:pt x="2834" y="668"/>
                </a:lnTo>
                <a:lnTo>
                  <a:pt x="2840" y="672"/>
                </a:lnTo>
                <a:lnTo>
                  <a:pt x="2848" y="678"/>
                </a:lnTo>
                <a:lnTo>
                  <a:pt x="2850" y="678"/>
                </a:lnTo>
                <a:lnTo>
                  <a:pt x="2852" y="676"/>
                </a:lnTo>
                <a:lnTo>
                  <a:pt x="2848" y="668"/>
                </a:lnTo>
                <a:lnTo>
                  <a:pt x="2842" y="656"/>
                </a:lnTo>
                <a:lnTo>
                  <a:pt x="2838" y="648"/>
                </a:lnTo>
                <a:lnTo>
                  <a:pt x="2836" y="638"/>
                </a:lnTo>
                <a:lnTo>
                  <a:pt x="2834" y="618"/>
                </a:lnTo>
                <a:lnTo>
                  <a:pt x="2832" y="608"/>
                </a:lnTo>
                <a:lnTo>
                  <a:pt x="2828" y="598"/>
                </a:lnTo>
                <a:lnTo>
                  <a:pt x="2820" y="590"/>
                </a:lnTo>
                <a:lnTo>
                  <a:pt x="2808" y="582"/>
                </a:lnTo>
                <a:lnTo>
                  <a:pt x="2796" y="578"/>
                </a:lnTo>
                <a:lnTo>
                  <a:pt x="2788" y="578"/>
                </a:lnTo>
                <a:lnTo>
                  <a:pt x="2784" y="582"/>
                </a:lnTo>
                <a:lnTo>
                  <a:pt x="2780" y="586"/>
                </a:lnTo>
                <a:lnTo>
                  <a:pt x="2776" y="592"/>
                </a:lnTo>
                <a:lnTo>
                  <a:pt x="2774" y="594"/>
                </a:lnTo>
                <a:lnTo>
                  <a:pt x="2768" y="590"/>
                </a:lnTo>
                <a:close/>
                <a:moveTo>
                  <a:pt x="3556" y="1666"/>
                </a:moveTo>
                <a:lnTo>
                  <a:pt x="3556" y="1666"/>
                </a:lnTo>
                <a:lnTo>
                  <a:pt x="3562" y="1664"/>
                </a:lnTo>
                <a:lnTo>
                  <a:pt x="3566" y="1656"/>
                </a:lnTo>
                <a:lnTo>
                  <a:pt x="3570" y="1646"/>
                </a:lnTo>
                <a:lnTo>
                  <a:pt x="3572" y="1636"/>
                </a:lnTo>
                <a:lnTo>
                  <a:pt x="3572" y="1626"/>
                </a:lnTo>
                <a:lnTo>
                  <a:pt x="3570" y="1618"/>
                </a:lnTo>
                <a:lnTo>
                  <a:pt x="3568" y="1614"/>
                </a:lnTo>
                <a:lnTo>
                  <a:pt x="3564" y="1614"/>
                </a:lnTo>
                <a:lnTo>
                  <a:pt x="3560" y="1612"/>
                </a:lnTo>
                <a:lnTo>
                  <a:pt x="3554" y="1614"/>
                </a:lnTo>
                <a:lnTo>
                  <a:pt x="3550" y="1616"/>
                </a:lnTo>
                <a:lnTo>
                  <a:pt x="3546" y="1618"/>
                </a:lnTo>
                <a:lnTo>
                  <a:pt x="3540" y="1626"/>
                </a:lnTo>
                <a:lnTo>
                  <a:pt x="3538" y="1634"/>
                </a:lnTo>
                <a:lnTo>
                  <a:pt x="3538" y="1644"/>
                </a:lnTo>
                <a:lnTo>
                  <a:pt x="3540" y="1654"/>
                </a:lnTo>
                <a:lnTo>
                  <a:pt x="3546" y="1660"/>
                </a:lnTo>
                <a:lnTo>
                  <a:pt x="3550" y="1666"/>
                </a:lnTo>
                <a:lnTo>
                  <a:pt x="3556" y="1666"/>
                </a:lnTo>
                <a:close/>
                <a:moveTo>
                  <a:pt x="2980" y="518"/>
                </a:moveTo>
                <a:lnTo>
                  <a:pt x="2980" y="518"/>
                </a:lnTo>
                <a:lnTo>
                  <a:pt x="2998" y="516"/>
                </a:lnTo>
                <a:lnTo>
                  <a:pt x="3008" y="514"/>
                </a:lnTo>
                <a:lnTo>
                  <a:pt x="3014" y="510"/>
                </a:lnTo>
                <a:lnTo>
                  <a:pt x="3014" y="508"/>
                </a:lnTo>
                <a:lnTo>
                  <a:pt x="3014" y="506"/>
                </a:lnTo>
                <a:lnTo>
                  <a:pt x="3010" y="502"/>
                </a:lnTo>
                <a:lnTo>
                  <a:pt x="3000" y="496"/>
                </a:lnTo>
                <a:lnTo>
                  <a:pt x="2988" y="494"/>
                </a:lnTo>
                <a:lnTo>
                  <a:pt x="2972" y="492"/>
                </a:lnTo>
                <a:lnTo>
                  <a:pt x="2938" y="490"/>
                </a:lnTo>
                <a:lnTo>
                  <a:pt x="2912" y="492"/>
                </a:lnTo>
                <a:lnTo>
                  <a:pt x="2902" y="494"/>
                </a:lnTo>
                <a:lnTo>
                  <a:pt x="2894" y="498"/>
                </a:lnTo>
                <a:lnTo>
                  <a:pt x="2890" y="502"/>
                </a:lnTo>
                <a:lnTo>
                  <a:pt x="2888" y="508"/>
                </a:lnTo>
                <a:lnTo>
                  <a:pt x="2890" y="512"/>
                </a:lnTo>
                <a:lnTo>
                  <a:pt x="2896" y="516"/>
                </a:lnTo>
                <a:lnTo>
                  <a:pt x="2904" y="518"/>
                </a:lnTo>
                <a:lnTo>
                  <a:pt x="2914" y="518"/>
                </a:lnTo>
                <a:lnTo>
                  <a:pt x="2944" y="518"/>
                </a:lnTo>
                <a:lnTo>
                  <a:pt x="2980" y="518"/>
                </a:lnTo>
                <a:close/>
                <a:moveTo>
                  <a:pt x="2546" y="696"/>
                </a:moveTo>
                <a:lnTo>
                  <a:pt x="2546" y="696"/>
                </a:lnTo>
                <a:lnTo>
                  <a:pt x="2546" y="700"/>
                </a:lnTo>
                <a:lnTo>
                  <a:pt x="2548" y="704"/>
                </a:lnTo>
                <a:lnTo>
                  <a:pt x="2554" y="708"/>
                </a:lnTo>
                <a:lnTo>
                  <a:pt x="2562" y="710"/>
                </a:lnTo>
                <a:lnTo>
                  <a:pt x="2572" y="710"/>
                </a:lnTo>
                <a:lnTo>
                  <a:pt x="2580" y="708"/>
                </a:lnTo>
                <a:lnTo>
                  <a:pt x="2588" y="704"/>
                </a:lnTo>
                <a:lnTo>
                  <a:pt x="2594" y="700"/>
                </a:lnTo>
                <a:lnTo>
                  <a:pt x="2594" y="698"/>
                </a:lnTo>
                <a:lnTo>
                  <a:pt x="2594" y="694"/>
                </a:lnTo>
                <a:lnTo>
                  <a:pt x="2590" y="690"/>
                </a:lnTo>
                <a:lnTo>
                  <a:pt x="2584" y="684"/>
                </a:lnTo>
                <a:lnTo>
                  <a:pt x="2576" y="680"/>
                </a:lnTo>
                <a:lnTo>
                  <a:pt x="2568" y="678"/>
                </a:lnTo>
                <a:lnTo>
                  <a:pt x="2560" y="678"/>
                </a:lnTo>
                <a:lnTo>
                  <a:pt x="2552" y="680"/>
                </a:lnTo>
                <a:lnTo>
                  <a:pt x="2548" y="686"/>
                </a:lnTo>
                <a:lnTo>
                  <a:pt x="2546" y="696"/>
                </a:lnTo>
                <a:close/>
                <a:moveTo>
                  <a:pt x="2018" y="630"/>
                </a:moveTo>
                <a:lnTo>
                  <a:pt x="2018" y="630"/>
                </a:lnTo>
                <a:lnTo>
                  <a:pt x="1994" y="640"/>
                </a:lnTo>
                <a:lnTo>
                  <a:pt x="1972" y="654"/>
                </a:lnTo>
                <a:lnTo>
                  <a:pt x="1966" y="660"/>
                </a:lnTo>
                <a:lnTo>
                  <a:pt x="1964" y="666"/>
                </a:lnTo>
                <a:lnTo>
                  <a:pt x="1964" y="668"/>
                </a:lnTo>
                <a:lnTo>
                  <a:pt x="1966" y="670"/>
                </a:lnTo>
                <a:lnTo>
                  <a:pt x="1978" y="672"/>
                </a:lnTo>
                <a:lnTo>
                  <a:pt x="1984" y="672"/>
                </a:lnTo>
                <a:lnTo>
                  <a:pt x="1992" y="670"/>
                </a:lnTo>
                <a:lnTo>
                  <a:pt x="2002" y="666"/>
                </a:lnTo>
                <a:lnTo>
                  <a:pt x="2012" y="658"/>
                </a:lnTo>
                <a:lnTo>
                  <a:pt x="2020" y="648"/>
                </a:lnTo>
                <a:lnTo>
                  <a:pt x="2026" y="640"/>
                </a:lnTo>
                <a:lnTo>
                  <a:pt x="2026" y="634"/>
                </a:lnTo>
                <a:lnTo>
                  <a:pt x="2026" y="630"/>
                </a:lnTo>
                <a:lnTo>
                  <a:pt x="2024" y="630"/>
                </a:lnTo>
                <a:lnTo>
                  <a:pt x="2022" y="630"/>
                </a:lnTo>
                <a:lnTo>
                  <a:pt x="2018" y="630"/>
                </a:lnTo>
                <a:close/>
                <a:moveTo>
                  <a:pt x="2144" y="570"/>
                </a:moveTo>
                <a:lnTo>
                  <a:pt x="2144" y="570"/>
                </a:lnTo>
                <a:lnTo>
                  <a:pt x="2144" y="572"/>
                </a:lnTo>
                <a:lnTo>
                  <a:pt x="2148" y="574"/>
                </a:lnTo>
                <a:lnTo>
                  <a:pt x="2162" y="578"/>
                </a:lnTo>
                <a:lnTo>
                  <a:pt x="2182" y="578"/>
                </a:lnTo>
                <a:lnTo>
                  <a:pt x="2190" y="576"/>
                </a:lnTo>
                <a:lnTo>
                  <a:pt x="2198" y="574"/>
                </a:lnTo>
                <a:lnTo>
                  <a:pt x="2200" y="572"/>
                </a:lnTo>
                <a:lnTo>
                  <a:pt x="2200" y="570"/>
                </a:lnTo>
                <a:lnTo>
                  <a:pt x="2198" y="566"/>
                </a:lnTo>
                <a:lnTo>
                  <a:pt x="2190" y="564"/>
                </a:lnTo>
                <a:lnTo>
                  <a:pt x="2182" y="562"/>
                </a:lnTo>
                <a:lnTo>
                  <a:pt x="2170" y="562"/>
                </a:lnTo>
                <a:lnTo>
                  <a:pt x="2160" y="562"/>
                </a:lnTo>
                <a:lnTo>
                  <a:pt x="2150" y="566"/>
                </a:lnTo>
                <a:lnTo>
                  <a:pt x="2144" y="570"/>
                </a:lnTo>
                <a:close/>
                <a:moveTo>
                  <a:pt x="2180" y="496"/>
                </a:moveTo>
                <a:lnTo>
                  <a:pt x="2180" y="496"/>
                </a:lnTo>
                <a:lnTo>
                  <a:pt x="2190" y="496"/>
                </a:lnTo>
                <a:lnTo>
                  <a:pt x="2192" y="494"/>
                </a:lnTo>
                <a:lnTo>
                  <a:pt x="2192" y="492"/>
                </a:lnTo>
                <a:lnTo>
                  <a:pt x="2188" y="486"/>
                </a:lnTo>
                <a:lnTo>
                  <a:pt x="2178" y="476"/>
                </a:lnTo>
                <a:lnTo>
                  <a:pt x="2172" y="470"/>
                </a:lnTo>
                <a:lnTo>
                  <a:pt x="2166" y="468"/>
                </a:lnTo>
                <a:lnTo>
                  <a:pt x="2160" y="468"/>
                </a:lnTo>
                <a:lnTo>
                  <a:pt x="2154" y="468"/>
                </a:lnTo>
                <a:lnTo>
                  <a:pt x="2146" y="472"/>
                </a:lnTo>
                <a:lnTo>
                  <a:pt x="2138" y="476"/>
                </a:lnTo>
                <a:lnTo>
                  <a:pt x="2138" y="478"/>
                </a:lnTo>
                <a:lnTo>
                  <a:pt x="2138" y="482"/>
                </a:lnTo>
                <a:lnTo>
                  <a:pt x="2148" y="488"/>
                </a:lnTo>
                <a:lnTo>
                  <a:pt x="2162" y="494"/>
                </a:lnTo>
                <a:lnTo>
                  <a:pt x="2170" y="496"/>
                </a:lnTo>
                <a:lnTo>
                  <a:pt x="2180" y="496"/>
                </a:lnTo>
                <a:close/>
                <a:moveTo>
                  <a:pt x="2616" y="594"/>
                </a:moveTo>
                <a:lnTo>
                  <a:pt x="2616" y="594"/>
                </a:lnTo>
                <a:lnTo>
                  <a:pt x="2606" y="592"/>
                </a:lnTo>
                <a:lnTo>
                  <a:pt x="2600" y="588"/>
                </a:lnTo>
                <a:lnTo>
                  <a:pt x="2588" y="580"/>
                </a:lnTo>
                <a:lnTo>
                  <a:pt x="2584" y="578"/>
                </a:lnTo>
                <a:lnTo>
                  <a:pt x="2578" y="576"/>
                </a:lnTo>
                <a:lnTo>
                  <a:pt x="2572" y="576"/>
                </a:lnTo>
                <a:lnTo>
                  <a:pt x="2562" y="580"/>
                </a:lnTo>
                <a:lnTo>
                  <a:pt x="2556" y="584"/>
                </a:lnTo>
                <a:lnTo>
                  <a:pt x="2554" y="588"/>
                </a:lnTo>
                <a:lnTo>
                  <a:pt x="2556" y="592"/>
                </a:lnTo>
                <a:lnTo>
                  <a:pt x="2562" y="602"/>
                </a:lnTo>
                <a:lnTo>
                  <a:pt x="2566" y="606"/>
                </a:lnTo>
                <a:lnTo>
                  <a:pt x="2570" y="608"/>
                </a:lnTo>
                <a:lnTo>
                  <a:pt x="2582" y="608"/>
                </a:lnTo>
                <a:lnTo>
                  <a:pt x="2594" y="608"/>
                </a:lnTo>
                <a:lnTo>
                  <a:pt x="2606" y="606"/>
                </a:lnTo>
                <a:lnTo>
                  <a:pt x="2616" y="602"/>
                </a:lnTo>
                <a:lnTo>
                  <a:pt x="2624" y="600"/>
                </a:lnTo>
                <a:lnTo>
                  <a:pt x="2624" y="598"/>
                </a:lnTo>
                <a:lnTo>
                  <a:pt x="2624" y="596"/>
                </a:lnTo>
                <a:lnTo>
                  <a:pt x="2616" y="594"/>
                </a:lnTo>
                <a:close/>
                <a:moveTo>
                  <a:pt x="2638" y="612"/>
                </a:moveTo>
                <a:lnTo>
                  <a:pt x="2638" y="612"/>
                </a:lnTo>
                <a:lnTo>
                  <a:pt x="2630" y="610"/>
                </a:lnTo>
                <a:lnTo>
                  <a:pt x="2620" y="610"/>
                </a:lnTo>
                <a:lnTo>
                  <a:pt x="2592" y="614"/>
                </a:lnTo>
                <a:lnTo>
                  <a:pt x="2578" y="616"/>
                </a:lnTo>
                <a:lnTo>
                  <a:pt x="2568" y="620"/>
                </a:lnTo>
                <a:lnTo>
                  <a:pt x="2564" y="622"/>
                </a:lnTo>
                <a:lnTo>
                  <a:pt x="2562" y="624"/>
                </a:lnTo>
                <a:lnTo>
                  <a:pt x="2564" y="626"/>
                </a:lnTo>
                <a:lnTo>
                  <a:pt x="2570" y="628"/>
                </a:lnTo>
                <a:lnTo>
                  <a:pt x="2582" y="628"/>
                </a:lnTo>
                <a:lnTo>
                  <a:pt x="2610" y="624"/>
                </a:lnTo>
                <a:lnTo>
                  <a:pt x="2634" y="618"/>
                </a:lnTo>
                <a:lnTo>
                  <a:pt x="2638" y="616"/>
                </a:lnTo>
                <a:lnTo>
                  <a:pt x="2640" y="614"/>
                </a:lnTo>
                <a:lnTo>
                  <a:pt x="2638" y="612"/>
                </a:lnTo>
                <a:close/>
                <a:moveTo>
                  <a:pt x="2590" y="642"/>
                </a:moveTo>
                <a:lnTo>
                  <a:pt x="2590" y="642"/>
                </a:lnTo>
                <a:lnTo>
                  <a:pt x="2596" y="642"/>
                </a:lnTo>
                <a:lnTo>
                  <a:pt x="2604" y="642"/>
                </a:lnTo>
                <a:lnTo>
                  <a:pt x="2624" y="638"/>
                </a:lnTo>
                <a:lnTo>
                  <a:pt x="2640" y="632"/>
                </a:lnTo>
                <a:lnTo>
                  <a:pt x="2642" y="630"/>
                </a:lnTo>
                <a:lnTo>
                  <a:pt x="2642" y="628"/>
                </a:lnTo>
                <a:lnTo>
                  <a:pt x="2636" y="628"/>
                </a:lnTo>
                <a:lnTo>
                  <a:pt x="2628" y="628"/>
                </a:lnTo>
                <a:lnTo>
                  <a:pt x="2606" y="632"/>
                </a:lnTo>
                <a:lnTo>
                  <a:pt x="2590" y="636"/>
                </a:lnTo>
                <a:lnTo>
                  <a:pt x="2588" y="640"/>
                </a:lnTo>
                <a:lnTo>
                  <a:pt x="2590" y="642"/>
                </a:lnTo>
                <a:close/>
                <a:moveTo>
                  <a:pt x="2610" y="654"/>
                </a:moveTo>
                <a:lnTo>
                  <a:pt x="2610" y="654"/>
                </a:lnTo>
                <a:lnTo>
                  <a:pt x="2616" y="654"/>
                </a:lnTo>
                <a:lnTo>
                  <a:pt x="2622" y="652"/>
                </a:lnTo>
                <a:lnTo>
                  <a:pt x="2638" y="646"/>
                </a:lnTo>
                <a:lnTo>
                  <a:pt x="2650" y="640"/>
                </a:lnTo>
                <a:lnTo>
                  <a:pt x="2654" y="636"/>
                </a:lnTo>
                <a:lnTo>
                  <a:pt x="2652" y="636"/>
                </a:lnTo>
                <a:lnTo>
                  <a:pt x="2642" y="636"/>
                </a:lnTo>
                <a:lnTo>
                  <a:pt x="2624" y="642"/>
                </a:lnTo>
                <a:lnTo>
                  <a:pt x="2610" y="648"/>
                </a:lnTo>
                <a:lnTo>
                  <a:pt x="2608" y="652"/>
                </a:lnTo>
                <a:lnTo>
                  <a:pt x="2610" y="654"/>
                </a:lnTo>
                <a:close/>
                <a:moveTo>
                  <a:pt x="3342" y="390"/>
                </a:moveTo>
                <a:lnTo>
                  <a:pt x="3342" y="390"/>
                </a:lnTo>
                <a:lnTo>
                  <a:pt x="3342" y="386"/>
                </a:lnTo>
                <a:lnTo>
                  <a:pt x="3338" y="386"/>
                </a:lnTo>
                <a:lnTo>
                  <a:pt x="3324" y="386"/>
                </a:lnTo>
                <a:lnTo>
                  <a:pt x="3306" y="392"/>
                </a:lnTo>
                <a:lnTo>
                  <a:pt x="3298" y="396"/>
                </a:lnTo>
                <a:lnTo>
                  <a:pt x="3290" y="400"/>
                </a:lnTo>
                <a:lnTo>
                  <a:pt x="3288" y="404"/>
                </a:lnTo>
                <a:lnTo>
                  <a:pt x="3292" y="404"/>
                </a:lnTo>
                <a:lnTo>
                  <a:pt x="3308" y="402"/>
                </a:lnTo>
                <a:lnTo>
                  <a:pt x="3330" y="398"/>
                </a:lnTo>
                <a:lnTo>
                  <a:pt x="3338" y="394"/>
                </a:lnTo>
                <a:lnTo>
                  <a:pt x="3342" y="390"/>
                </a:lnTo>
                <a:close/>
                <a:moveTo>
                  <a:pt x="3480" y="2214"/>
                </a:moveTo>
                <a:lnTo>
                  <a:pt x="3480" y="2214"/>
                </a:lnTo>
                <a:lnTo>
                  <a:pt x="3504" y="2224"/>
                </a:lnTo>
                <a:lnTo>
                  <a:pt x="3514" y="2226"/>
                </a:lnTo>
                <a:lnTo>
                  <a:pt x="3518" y="2226"/>
                </a:lnTo>
                <a:lnTo>
                  <a:pt x="3520" y="2226"/>
                </a:lnTo>
                <a:lnTo>
                  <a:pt x="3522" y="2222"/>
                </a:lnTo>
                <a:lnTo>
                  <a:pt x="3522" y="2218"/>
                </a:lnTo>
                <a:lnTo>
                  <a:pt x="3516" y="2210"/>
                </a:lnTo>
                <a:lnTo>
                  <a:pt x="3506" y="2196"/>
                </a:lnTo>
                <a:lnTo>
                  <a:pt x="3498" y="2194"/>
                </a:lnTo>
                <a:lnTo>
                  <a:pt x="3486" y="2194"/>
                </a:lnTo>
                <a:lnTo>
                  <a:pt x="3474" y="2196"/>
                </a:lnTo>
                <a:lnTo>
                  <a:pt x="3470" y="2198"/>
                </a:lnTo>
                <a:lnTo>
                  <a:pt x="3466" y="2202"/>
                </a:lnTo>
                <a:lnTo>
                  <a:pt x="3466" y="2204"/>
                </a:lnTo>
                <a:lnTo>
                  <a:pt x="3466" y="2208"/>
                </a:lnTo>
                <a:lnTo>
                  <a:pt x="3480" y="2214"/>
                </a:lnTo>
                <a:close/>
                <a:moveTo>
                  <a:pt x="3576" y="2034"/>
                </a:moveTo>
                <a:lnTo>
                  <a:pt x="3576" y="2034"/>
                </a:lnTo>
                <a:lnTo>
                  <a:pt x="3580" y="2032"/>
                </a:lnTo>
                <a:lnTo>
                  <a:pt x="3582" y="2028"/>
                </a:lnTo>
                <a:lnTo>
                  <a:pt x="3586" y="2010"/>
                </a:lnTo>
                <a:lnTo>
                  <a:pt x="3588" y="2002"/>
                </a:lnTo>
                <a:lnTo>
                  <a:pt x="3588" y="1998"/>
                </a:lnTo>
                <a:lnTo>
                  <a:pt x="3582" y="1992"/>
                </a:lnTo>
                <a:lnTo>
                  <a:pt x="3578" y="1988"/>
                </a:lnTo>
                <a:lnTo>
                  <a:pt x="3576" y="1988"/>
                </a:lnTo>
                <a:lnTo>
                  <a:pt x="3574" y="1996"/>
                </a:lnTo>
                <a:lnTo>
                  <a:pt x="3570" y="2006"/>
                </a:lnTo>
                <a:lnTo>
                  <a:pt x="3568" y="2006"/>
                </a:lnTo>
                <a:lnTo>
                  <a:pt x="3568" y="2002"/>
                </a:lnTo>
                <a:lnTo>
                  <a:pt x="3568" y="1994"/>
                </a:lnTo>
                <a:lnTo>
                  <a:pt x="3568" y="1992"/>
                </a:lnTo>
                <a:lnTo>
                  <a:pt x="3566" y="1992"/>
                </a:lnTo>
                <a:lnTo>
                  <a:pt x="3566" y="1994"/>
                </a:lnTo>
                <a:lnTo>
                  <a:pt x="3566" y="1996"/>
                </a:lnTo>
                <a:lnTo>
                  <a:pt x="3566" y="2000"/>
                </a:lnTo>
                <a:lnTo>
                  <a:pt x="3566" y="2004"/>
                </a:lnTo>
                <a:lnTo>
                  <a:pt x="3564" y="2008"/>
                </a:lnTo>
                <a:lnTo>
                  <a:pt x="3560" y="2010"/>
                </a:lnTo>
                <a:lnTo>
                  <a:pt x="3558" y="2014"/>
                </a:lnTo>
                <a:lnTo>
                  <a:pt x="3554" y="2018"/>
                </a:lnTo>
                <a:lnTo>
                  <a:pt x="3546" y="2028"/>
                </a:lnTo>
                <a:lnTo>
                  <a:pt x="3546" y="2030"/>
                </a:lnTo>
                <a:lnTo>
                  <a:pt x="3546" y="2034"/>
                </a:lnTo>
                <a:lnTo>
                  <a:pt x="3548" y="2036"/>
                </a:lnTo>
                <a:lnTo>
                  <a:pt x="3550" y="2034"/>
                </a:lnTo>
                <a:lnTo>
                  <a:pt x="3558" y="2024"/>
                </a:lnTo>
                <a:lnTo>
                  <a:pt x="3564" y="2018"/>
                </a:lnTo>
                <a:lnTo>
                  <a:pt x="3564" y="2020"/>
                </a:lnTo>
                <a:lnTo>
                  <a:pt x="3562" y="2026"/>
                </a:lnTo>
                <a:lnTo>
                  <a:pt x="3556" y="2036"/>
                </a:lnTo>
                <a:lnTo>
                  <a:pt x="3562" y="2034"/>
                </a:lnTo>
                <a:lnTo>
                  <a:pt x="3566" y="2032"/>
                </a:lnTo>
                <a:lnTo>
                  <a:pt x="3568" y="2030"/>
                </a:lnTo>
                <a:lnTo>
                  <a:pt x="3572" y="2024"/>
                </a:lnTo>
                <a:lnTo>
                  <a:pt x="3574" y="2016"/>
                </a:lnTo>
                <a:lnTo>
                  <a:pt x="3578" y="2012"/>
                </a:lnTo>
                <a:lnTo>
                  <a:pt x="3580" y="2012"/>
                </a:lnTo>
                <a:lnTo>
                  <a:pt x="3580" y="2016"/>
                </a:lnTo>
                <a:lnTo>
                  <a:pt x="3578" y="2024"/>
                </a:lnTo>
                <a:lnTo>
                  <a:pt x="3576" y="2032"/>
                </a:lnTo>
                <a:lnTo>
                  <a:pt x="3576" y="2034"/>
                </a:lnTo>
                <a:close/>
                <a:moveTo>
                  <a:pt x="3596" y="2016"/>
                </a:moveTo>
                <a:lnTo>
                  <a:pt x="3596" y="2016"/>
                </a:lnTo>
                <a:lnTo>
                  <a:pt x="3600" y="2012"/>
                </a:lnTo>
                <a:lnTo>
                  <a:pt x="3600" y="2004"/>
                </a:lnTo>
                <a:lnTo>
                  <a:pt x="3600" y="2000"/>
                </a:lnTo>
                <a:lnTo>
                  <a:pt x="3600" y="1998"/>
                </a:lnTo>
                <a:lnTo>
                  <a:pt x="3598" y="1998"/>
                </a:lnTo>
                <a:lnTo>
                  <a:pt x="3594" y="2000"/>
                </a:lnTo>
                <a:lnTo>
                  <a:pt x="3594" y="2004"/>
                </a:lnTo>
                <a:lnTo>
                  <a:pt x="3590" y="2016"/>
                </a:lnTo>
                <a:lnTo>
                  <a:pt x="3588" y="2018"/>
                </a:lnTo>
                <a:lnTo>
                  <a:pt x="3590" y="2018"/>
                </a:lnTo>
                <a:lnTo>
                  <a:pt x="3596" y="2016"/>
                </a:lnTo>
                <a:close/>
                <a:moveTo>
                  <a:pt x="3554" y="2010"/>
                </a:moveTo>
                <a:lnTo>
                  <a:pt x="3554" y="2010"/>
                </a:lnTo>
                <a:lnTo>
                  <a:pt x="3558" y="2004"/>
                </a:lnTo>
                <a:lnTo>
                  <a:pt x="3560" y="2000"/>
                </a:lnTo>
                <a:lnTo>
                  <a:pt x="3560" y="1998"/>
                </a:lnTo>
                <a:lnTo>
                  <a:pt x="3558" y="1998"/>
                </a:lnTo>
                <a:lnTo>
                  <a:pt x="3556" y="2002"/>
                </a:lnTo>
                <a:lnTo>
                  <a:pt x="3550" y="2002"/>
                </a:lnTo>
                <a:lnTo>
                  <a:pt x="3544" y="2004"/>
                </a:lnTo>
                <a:lnTo>
                  <a:pt x="3542" y="2006"/>
                </a:lnTo>
                <a:lnTo>
                  <a:pt x="3542" y="2010"/>
                </a:lnTo>
                <a:lnTo>
                  <a:pt x="3542" y="2014"/>
                </a:lnTo>
                <a:lnTo>
                  <a:pt x="3544" y="2014"/>
                </a:lnTo>
                <a:lnTo>
                  <a:pt x="3554" y="2010"/>
                </a:lnTo>
                <a:close/>
                <a:moveTo>
                  <a:pt x="4022" y="1754"/>
                </a:moveTo>
                <a:lnTo>
                  <a:pt x="4022" y="1754"/>
                </a:lnTo>
                <a:lnTo>
                  <a:pt x="4028" y="1754"/>
                </a:lnTo>
                <a:lnTo>
                  <a:pt x="4036" y="1748"/>
                </a:lnTo>
                <a:lnTo>
                  <a:pt x="4038" y="1744"/>
                </a:lnTo>
                <a:lnTo>
                  <a:pt x="4038" y="1740"/>
                </a:lnTo>
                <a:lnTo>
                  <a:pt x="4038" y="1736"/>
                </a:lnTo>
                <a:lnTo>
                  <a:pt x="4034" y="1734"/>
                </a:lnTo>
                <a:lnTo>
                  <a:pt x="4030" y="1732"/>
                </a:lnTo>
                <a:lnTo>
                  <a:pt x="4026" y="1734"/>
                </a:lnTo>
                <a:lnTo>
                  <a:pt x="4022" y="1736"/>
                </a:lnTo>
                <a:lnTo>
                  <a:pt x="4020" y="1740"/>
                </a:lnTo>
                <a:lnTo>
                  <a:pt x="4018" y="1746"/>
                </a:lnTo>
                <a:lnTo>
                  <a:pt x="4016" y="1750"/>
                </a:lnTo>
                <a:lnTo>
                  <a:pt x="4018" y="1754"/>
                </a:lnTo>
                <a:lnTo>
                  <a:pt x="4022" y="1754"/>
                </a:lnTo>
                <a:close/>
                <a:moveTo>
                  <a:pt x="4738" y="4884"/>
                </a:moveTo>
                <a:lnTo>
                  <a:pt x="4738" y="4884"/>
                </a:lnTo>
                <a:lnTo>
                  <a:pt x="4736" y="4888"/>
                </a:lnTo>
                <a:lnTo>
                  <a:pt x="4738" y="4892"/>
                </a:lnTo>
                <a:lnTo>
                  <a:pt x="4742" y="4896"/>
                </a:lnTo>
                <a:lnTo>
                  <a:pt x="4746" y="4896"/>
                </a:lnTo>
                <a:lnTo>
                  <a:pt x="4746" y="4894"/>
                </a:lnTo>
                <a:lnTo>
                  <a:pt x="4746" y="4890"/>
                </a:lnTo>
                <a:lnTo>
                  <a:pt x="4742" y="4884"/>
                </a:lnTo>
                <a:lnTo>
                  <a:pt x="4740" y="4884"/>
                </a:lnTo>
                <a:lnTo>
                  <a:pt x="4738" y="4884"/>
                </a:lnTo>
                <a:close/>
                <a:moveTo>
                  <a:pt x="4752" y="4972"/>
                </a:moveTo>
                <a:lnTo>
                  <a:pt x="4752" y="4972"/>
                </a:lnTo>
                <a:lnTo>
                  <a:pt x="4754" y="4968"/>
                </a:lnTo>
                <a:lnTo>
                  <a:pt x="4756" y="4962"/>
                </a:lnTo>
                <a:lnTo>
                  <a:pt x="4754" y="4958"/>
                </a:lnTo>
                <a:lnTo>
                  <a:pt x="4752" y="4958"/>
                </a:lnTo>
                <a:lnTo>
                  <a:pt x="4750" y="4958"/>
                </a:lnTo>
                <a:lnTo>
                  <a:pt x="4748" y="4960"/>
                </a:lnTo>
                <a:lnTo>
                  <a:pt x="4746" y="4964"/>
                </a:lnTo>
                <a:lnTo>
                  <a:pt x="4744" y="4968"/>
                </a:lnTo>
                <a:lnTo>
                  <a:pt x="4748" y="4972"/>
                </a:lnTo>
                <a:lnTo>
                  <a:pt x="4752" y="4972"/>
                </a:lnTo>
                <a:close/>
                <a:moveTo>
                  <a:pt x="4742" y="4980"/>
                </a:moveTo>
                <a:lnTo>
                  <a:pt x="4742" y="4980"/>
                </a:lnTo>
                <a:lnTo>
                  <a:pt x="4744" y="4978"/>
                </a:lnTo>
                <a:lnTo>
                  <a:pt x="4746" y="4976"/>
                </a:lnTo>
                <a:lnTo>
                  <a:pt x="4742" y="4966"/>
                </a:lnTo>
                <a:lnTo>
                  <a:pt x="4740" y="4962"/>
                </a:lnTo>
                <a:lnTo>
                  <a:pt x="4740" y="4964"/>
                </a:lnTo>
                <a:lnTo>
                  <a:pt x="4740" y="4970"/>
                </a:lnTo>
                <a:lnTo>
                  <a:pt x="4738" y="4974"/>
                </a:lnTo>
                <a:lnTo>
                  <a:pt x="4738" y="4976"/>
                </a:lnTo>
                <a:lnTo>
                  <a:pt x="4738" y="4980"/>
                </a:lnTo>
                <a:lnTo>
                  <a:pt x="4742" y="4980"/>
                </a:lnTo>
                <a:close/>
                <a:moveTo>
                  <a:pt x="4710" y="4996"/>
                </a:moveTo>
                <a:lnTo>
                  <a:pt x="4710" y="4996"/>
                </a:lnTo>
                <a:lnTo>
                  <a:pt x="4706" y="5000"/>
                </a:lnTo>
                <a:lnTo>
                  <a:pt x="4702" y="5006"/>
                </a:lnTo>
                <a:lnTo>
                  <a:pt x="4702" y="5010"/>
                </a:lnTo>
                <a:lnTo>
                  <a:pt x="4702" y="5012"/>
                </a:lnTo>
                <a:lnTo>
                  <a:pt x="4704" y="5012"/>
                </a:lnTo>
                <a:lnTo>
                  <a:pt x="4706" y="5008"/>
                </a:lnTo>
                <a:lnTo>
                  <a:pt x="4710" y="5002"/>
                </a:lnTo>
                <a:lnTo>
                  <a:pt x="4710" y="4998"/>
                </a:lnTo>
                <a:lnTo>
                  <a:pt x="4710" y="4996"/>
                </a:lnTo>
                <a:close/>
                <a:moveTo>
                  <a:pt x="4722" y="5018"/>
                </a:moveTo>
                <a:lnTo>
                  <a:pt x="4722" y="5018"/>
                </a:lnTo>
                <a:lnTo>
                  <a:pt x="4720" y="5018"/>
                </a:lnTo>
                <a:lnTo>
                  <a:pt x="4716" y="5020"/>
                </a:lnTo>
                <a:lnTo>
                  <a:pt x="4714" y="5024"/>
                </a:lnTo>
                <a:lnTo>
                  <a:pt x="4714" y="5026"/>
                </a:lnTo>
                <a:lnTo>
                  <a:pt x="4714" y="5028"/>
                </a:lnTo>
                <a:lnTo>
                  <a:pt x="4718" y="5026"/>
                </a:lnTo>
                <a:lnTo>
                  <a:pt x="4720" y="5024"/>
                </a:lnTo>
                <a:lnTo>
                  <a:pt x="4722" y="5022"/>
                </a:lnTo>
                <a:lnTo>
                  <a:pt x="4722" y="5018"/>
                </a:lnTo>
                <a:close/>
                <a:moveTo>
                  <a:pt x="4720" y="5008"/>
                </a:moveTo>
                <a:lnTo>
                  <a:pt x="4720" y="5008"/>
                </a:lnTo>
                <a:lnTo>
                  <a:pt x="4716" y="5008"/>
                </a:lnTo>
                <a:lnTo>
                  <a:pt x="4714" y="5012"/>
                </a:lnTo>
                <a:lnTo>
                  <a:pt x="4712" y="5014"/>
                </a:lnTo>
                <a:lnTo>
                  <a:pt x="4714" y="5016"/>
                </a:lnTo>
                <a:lnTo>
                  <a:pt x="4716" y="5014"/>
                </a:lnTo>
                <a:lnTo>
                  <a:pt x="4718" y="5012"/>
                </a:lnTo>
                <a:lnTo>
                  <a:pt x="4720" y="5010"/>
                </a:lnTo>
                <a:lnTo>
                  <a:pt x="4720" y="5008"/>
                </a:lnTo>
                <a:close/>
                <a:moveTo>
                  <a:pt x="4746" y="4952"/>
                </a:moveTo>
                <a:lnTo>
                  <a:pt x="4746" y="4952"/>
                </a:lnTo>
                <a:lnTo>
                  <a:pt x="4746" y="4954"/>
                </a:lnTo>
                <a:lnTo>
                  <a:pt x="4748" y="4954"/>
                </a:lnTo>
                <a:lnTo>
                  <a:pt x="4752" y="4952"/>
                </a:lnTo>
                <a:lnTo>
                  <a:pt x="4754" y="4950"/>
                </a:lnTo>
                <a:lnTo>
                  <a:pt x="4756" y="4948"/>
                </a:lnTo>
                <a:lnTo>
                  <a:pt x="4754" y="4946"/>
                </a:lnTo>
                <a:lnTo>
                  <a:pt x="4752" y="4948"/>
                </a:lnTo>
                <a:lnTo>
                  <a:pt x="4748" y="4950"/>
                </a:lnTo>
                <a:lnTo>
                  <a:pt x="4746" y="4952"/>
                </a:lnTo>
                <a:close/>
                <a:moveTo>
                  <a:pt x="6938" y="500"/>
                </a:moveTo>
                <a:lnTo>
                  <a:pt x="6938" y="500"/>
                </a:lnTo>
                <a:lnTo>
                  <a:pt x="6940" y="502"/>
                </a:lnTo>
                <a:lnTo>
                  <a:pt x="6942" y="504"/>
                </a:lnTo>
                <a:lnTo>
                  <a:pt x="6942" y="508"/>
                </a:lnTo>
                <a:lnTo>
                  <a:pt x="6944" y="510"/>
                </a:lnTo>
                <a:lnTo>
                  <a:pt x="6946" y="510"/>
                </a:lnTo>
                <a:lnTo>
                  <a:pt x="6958" y="506"/>
                </a:lnTo>
                <a:lnTo>
                  <a:pt x="6974" y="504"/>
                </a:lnTo>
                <a:lnTo>
                  <a:pt x="6990" y="502"/>
                </a:lnTo>
                <a:lnTo>
                  <a:pt x="6996" y="502"/>
                </a:lnTo>
                <a:lnTo>
                  <a:pt x="7000" y="500"/>
                </a:lnTo>
                <a:lnTo>
                  <a:pt x="7002" y="496"/>
                </a:lnTo>
                <a:lnTo>
                  <a:pt x="7002" y="490"/>
                </a:lnTo>
                <a:lnTo>
                  <a:pt x="7000" y="484"/>
                </a:lnTo>
                <a:lnTo>
                  <a:pt x="6996" y="480"/>
                </a:lnTo>
                <a:lnTo>
                  <a:pt x="6992" y="476"/>
                </a:lnTo>
                <a:lnTo>
                  <a:pt x="6984" y="474"/>
                </a:lnTo>
                <a:lnTo>
                  <a:pt x="6968" y="474"/>
                </a:lnTo>
                <a:lnTo>
                  <a:pt x="6950" y="478"/>
                </a:lnTo>
                <a:lnTo>
                  <a:pt x="6934" y="482"/>
                </a:lnTo>
                <a:lnTo>
                  <a:pt x="6924" y="486"/>
                </a:lnTo>
                <a:lnTo>
                  <a:pt x="6922" y="488"/>
                </a:lnTo>
                <a:lnTo>
                  <a:pt x="6924" y="490"/>
                </a:lnTo>
                <a:lnTo>
                  <a:pt x="6938" y="500"/>
                </a:lnTo>
                <a:close/>
                <a:moveTo>
                  <a:pt x="7100" y="536"/>
                </a:moveTo>
                <a:lnTo>
                  <a:pt x="7100" y="536"/>
                </a:lnTo>
                <a:lnTo>
                  <a:pt x="7092" y="534"/>
                </a:lnTo>
                <a:lnTo>
                  <a:pt x="7086" y="534"/>
                </a:lnTo>
                <a:lnTo>
                  <a:pt x="7078" y="536"/>
                </a:lnTo>
                <a:lnTo>
                  <a:pt x="7072" y="538"/>
                </a:lnTo>
                <a:lnTo>
                  <a:pt x="7066" y="538"/>
                </a:lnTo>
                <a:lnTo>
                  <a:pt x="7058" y="536"/>
                </a:lnTo>
                <a:lnTo>
                  <a:pt x="7048" y="530"/>
                </a:lnTo>
                <a:lnTo>
                  <a:pt x="7040" y="526"/>
                </a:lnTo>
                <a:lnTo>
                  <a:pt x="7038" y="520"/>
                </a:lnTo>
                <a:lnTo>
                  <a:pt x="7040" y="518"/>
                </a:lnTo>
                <a:lnTo>
                  <a:pt x="7046" y="514"/>
                </a:lnTo>
                <a:lnTo>
                  <a:pt x="7054" y="510"/>
                </a:lnTo>
                <a:lnTo>
                  <a:pt x="7054" y="508"/>
                </a:lnTo>
                <a:lnTo>
                  <a:pt x="7050" y="506"/>
                </a:lnTo>
                <a:lnTo>
                  <a:pt x="7038" y="504"/>
                </a:lnTo>
                <a:lnTo>
                  <a:pt x="7020" y="504"/>
                </a:lnTo>
                <a:lnTo>
                  <a:pt x="7000" y="506"/>
                </a:lnTo>
                <a:lnTo>
                  <a:pt x="6980" y="508"/>
                </a:lnTo>
                <a:lnTo>
                  <a:pt x="6964" y="512"/>
                </a:lnTo>
                <a:lnTo>
                  <a:pt x="6958" y="514"/>
                </a:lnTo>
                <a:lnTo>
                  <a:pt x="6954" y="516"/>
                </a:lnTo>
                <a:lnTo>
                  <a:pt x="6954" y="518"/>
                </a:lnTo>
                <a:lnTo>
                  <a:pt x="6956" y="522"/>
                </a:lnTo>
                <a:lnTo>
                  <a:pt x="6960" y="526"/>
                </a:lnTo>
                <a:lnTo>
                  <a:pt x="6970" y="528"/>
                </a:lnTo>
                <a:lnTo>
                  <a:pt x="6976" y="532"/>
                </a:lnTo>
                <a:lnTo>
                  <a:pt x="6976" y="534"/>
                </a:lnTo>
                <a:lnTo>
                  <a:pt x="6976" y="536"/>
                </a:lnTo>
                <a:lnTo>
                  <a:pt x="6970" y="542"/>
                </a:lnTo>
                <a:lnTo>
                  <a:pt x="6956" y="554"/>
                </a:lnTo>
                <a:lnTo>
                  <a:pt x="6950" y="560"/>
                </a:lnTo>
                <a:lnTo>
                  <a:pt x="6946" y="564"/>
                </a:lnTo>
                <a:lnTo>
                  <a:pt x="6948" y="566"/>
                </a:lnTo>
                <a:lnTo>
                  <a:pt x="6954" y="568"/>
                </a:lnTo>
                <a:lnTo>
                  <a:pt x="6972" y="566"/>
                </a:lnTo>
                <a:lnTo>
                  <a:pt x="6998" y="564"/>
                </a:lnTo>
                <a:lnTo>
                  <a:pt x="7010" y="564"/>
                </a:lnTo>
                <a:lnTo>
                  <a:pt x="7012" y="566"/>
                </a:lnTo>
                <a:lnTo>
                  <a:pt x="7014" y="568"/>
                </a:lnTo>
                <a:lnTo>
                  <a:pt x="7014" y="572"/>
                </a:lnTo>
                <a:lnTo>
                  <a:pt x="7012" y="578"/>
                </a:lnTo>
                <a:lnTo>
                  <a:pt x="7010" y="582"/>
                </a:lnTo>
                <a:lnTo>
                  <a:pt x="7010" y="584"/>
                </a:lnTo>
                <a:lnTo>
                  <a:pt x="7012" y="584"/>
                </a:lnTo>
                <a:lnTo>
                  <a:pt x="7020" y="582"/>
                </a:lnTo>
                <a:lnTo>
                  <a:pt x="7034" y="578"/>
                </a:lnTo>
                <a:lnTo>
                  <a:pt x="7062" y="566"/>
                </a:lnTo>
                <a:lnTo>
                  <a:pt x="7088" y="556"/>
                </a:lnTo>
                <a:lnTo>
                  <a:pt x="7096" y="550"/>
                </a:lnTo>
                <a:lnTo>
                  <a:pt x="7102" y="546"/>
                </a:lnTo>
                <a:lnTo>
                  <a:pt x="7104" y="544"/>
                </a:lnTo>
                <a:lnTo>
                  <a:pt x="7104" y="540"/>
                </a:lnTo>
                <a:lnTo>
                  <a:pt x="7102" y="538"/>
                </a:lnTo>
                <a:lnTo>
                  <a:pt x="7100" y="536"/>
                </a:lnTo>
                <a:close/>
                <a:moveTo>
                  <a:pt x="13128" y="7142"/>
                </a:moveTo>
                <a:lnTo>
                  <a:pt x="13128" y="7142"/>
                </a:lnTo>
                <a:lnTo>
                  <a:pt x="13130" y="7134"/>
                </a:lnTo>
                <a:lnTo>
                  <a:pt x="13130" y="7128"/>
                </a:lnTo>
                <a:lnTo>
                  <a:pt x="13130" y="7124"/>
                </a:lnTo>
                <a:lnTo>
                  <a:pt x="13126" y="7122"/>
                </a:lnTo>
                <a:lnTo>
                  <a:pt x="13120" y="7120"/>
                </a:lnTo>
                <a:lnTo>
                  <a:pt x="13114" y="7122"/>
                </a:lnTo>
                <a:lnTo>
                  <a:pt x="13104" y="7126"/>
                </a:lnTo>
                <a:lnTo>
                  <a:pt x="13096" y="7134"/>
                </a:lnTo>
                <a:lnTo>
                  <a:pt x="13088" y="7140"/>
                </a:lnTo>
                <a:lnTo>
                  <a:pt x="13084" y="7140"/>
                </a:lnTo>
                <a:lnTo>
                  <a:pt x="13082" y="7138"/>
                </a:lnTo>
                <a:lnTo>
                  <a:pt x="13080" y="7132"/>
                </a:lnTo>
                <a:lnTo>
                  <a:pt x="13082" y="7120"/>
                </a:lnTo>
                <a:lnTo>
                  <a:pt x="13080" y="7116"/>
                </a:lnTo>
                <a:lnTo>
                  <a:pt x="13078" y="7112"/>
                </a:lnTo>
                <a:lnTo>
                  <a:pt x="13072" y="7112"/>
                </a:lnTo>
                <a:lnTo>
                  <a:pt x="13068" y="7110"/>
                </a:lnTo>
                <a:lnTo>
                  <a:pt x="13070" y="7106"/>
                </a:lnTo>
                <a:lnTo>
                  <a:pt x="13074" y="7102"/>
                </a:lnTo>
                <a:lnTo>
                  <a:pt x="13078" y="7100"/>
                </a:lnTo>
                <a:lnTo>
                  <a:pt x="13078" y="7098"/>
                </a:lnTo>
                <a:lnTo>
                  <a:pt x="13078" y="7096"/>
                </a:lnTo>
                <a:lnTo>
                  <a:pt x="13076" y="7094"/>
                </a:lnTo>
                <a:lnTo>
                  <a:pt x="13072" y="7094"/>
                </a:lnTo>
                <a:lnTo>
                  <a:pt x="13066" y="7096"/>
                </a:lnTo>
                <a:lnTo>
                  <a:pt x="13058" y="7100"/>
                </a:lnTo>
                <a:lnTo>
                  <a:pt x="13050" y="7106"/>
                </a:lnTo>
                <a:lnTo>
                  <a:pt x="13046" y="7114"/>
                </a:lnTo>
                <a:lnTo>
                  <a:pt x="13044" y="7120"/>
                </a:lnTo>
                <a:lnTo>
                  <a:pt x="13044" y="7136"/>
                </a:lnTo>
                <a:lnTo>
                  <a:pt x="13044" y="7142"/>
                </a:lnTo>
                <a:lnTo>
                  <a:pt x="13042" y="7150"/>
                </a:lnTo>
                <a:lnTo>
                  <a:pt x="13036" y="7156"/>
                </a:lnTo>
                <a:lnTo>
                  <a:pt x="13028" y="7160"/>
                </a:lnTo>
                <a:lnTo>
                  <a:pt x="13022" y="7164"/>
                </a:lnTo>
                <a:lnTo>
                  <a:pt x="13016" y="7174"/>
                </a:lnTo>
                <a:lnTo>
                  <a:pt x="13006" y="7196"/>
                </a:lnTo>
                <a:lnTo>
                  <a:pt x="12994" y="7220"/>
                </a:lnTo>
                <a:lnTo>
                  <a:pt x="12988" y="7228"/>
                </a:lnTo>
                <a:lnTo>
                  <a:pt x="12982" y="7236"/>
                </a:lnTo>
                <a:lnTo>
                  <a:pt x="12968" y="7246"/>
                </a:lnTo>
                <a:lnTo>
                  <a:pt x="12956" y="7258"/>
                </a:lnTo>
                <a:lnTo>
                  <a:pt x="12946" y="7266"/>
                </a:lnTo>
                <a:lnTo>
                  <a:pt x="12940" y="7270"/>
                </a:lnTo>
                <a:lnTo>
                  <a:pt x="12934" y="7272"/>
                </a:lnTo>
                <a:lnTo>
                  <a:pt x="12930" y="7272"/>
                </a:lnTo>
                <a:lnTo>
                  <a:pt x="12926" y="7276"/>
                </a:lnTo>
                <a:lnTo>
                  <a:pt x="12922" y="7282"/>
                </a:lnTo>
                <a:lnTo>
                  <a:pt x="12916" y="7288"/>
                </a:lnTo>
                <a:lnTo>
                  <a:pt x="12912" y="7288"/>
                </a:lnTo>
                <a:lnTo>
                  <a:pt x="12906" y="7290"/>
                </a:lnTo>
                <a:lnTo>
                  <a:pt x="12900" y="7290"/>
                </a:lnTo>
                <a:lnTo>
                  <a:pt x="12894" y="7294"/>
                </a:lnTo>
                <a:lnTo>
                  <a:pt x="12888" y="7300"/>
                </a:lnTo>
                <a:lnTo>
                  <a:pt x="12882" y="7306"/>
                </a:lnTo>
                <a:lnTo>
                  <a:pt x="12870" y="7322"/>
                </a:lnTo>
                <a:lnTo>
                  <a:pt x="12856" y="7336"/>
                </a:lnTo>
                <a:lnTo>
                  <a:pt x="12844" y="7350"/>
                </a:lnTo>
                <a:lnTo>
                  <a:pt x="12834" y="7362"/>
                </a:lnTo>
                <a:lnTo>
                  <a:pt x="12830" y="7368"/>
                </a:lnTo>
                <a:lnTo>
                  <a:pt x="12828" y="7372"/>
                </a:lnTo>
                <a:lnTo>
                  <a:pt x="12826" y="7378"/>
                </a:lnTo>
                <a:lnTo>
                  <a:pt x="12828" y="7384"/>
                </a:lnTo>
                <a:lnTo>
                  <a:pt x="12830" y="7388"/>
                </a:lnTo>
                <a:lnTo>
                  <a:pt x="12828" y="7392"/>
                </a:lnTo>
                <a:lnTo>
                  <a:pt x="12822" y="7396"/>
                </a:lnTo>
                <a:lnTo>
                  <a:pt x="12816" y="7400"/>
                </a:lnTo>
                <a:lnTo>
                  <a:pt x="12816" y="7402"/>
                </a:lnTo>
                <a:lnTo>
                  <a:pt x="12816" y="7406"/>
                </a:lnTo>
                <a:lnTo>
                  <a:pt x="12824" y="7416"/>
                </a:lnTo>
                <a:lnTo>
                  <a:pt x="12832" y="7422"/>
                </a:lnTo>
                <a:lnTo>
                  <a:pt x="12838" y="7422"/>
                </a:lnTo>
                <a:lnTo>
                  <a:pt x="12844" y="7422"/>
                </a:lnTo>
                <a:lnTo>
                  <a:pt x="12848" y="7420"/>
                </a:lnTo>
                <a:lnTo>
                  <a:pt x="12854" y="7418"/>
                </a:lnTo>
                <a:lnTo>
                  <a:pt x="12860" y="7414"/>
                </a:lnTo>
                <a:lnTo>
                  <a:pt x="12862" y="7414"/>
                </a:lnTo>
                <a:lnTo>
                  <a:pt x="12864" y="7416"/>
                </a:lnTo>
                <a:lnTo>
                  <a:pt x="12866" y="7418"/>
                </a:lnTo>
                <a:lnTo>
                  <a:pt x="12870" y="7424"/>
                </a:lnTo>
                <a:lnTo>
                  <a:pt x="12872" y="7426"/>
                </a:lnTo>
                <a:lnTo>
                  <a:pt x="12878" y="7426"/>
                </a:lnTo>
                <a:lnTo>
                  <a:pt x="12884" y="7426"/>
                </a:lnTo>
                <a:lnTo>
                  <a:pt x="12886" y="7428"/>
                </a:lnTo>
                <a:lnTo>
                  <a:pt x="12888" y="7432"/>
                </a:lnTo>
                <a:lnTo>
                  <a:pt x="12888" y="7436"/>
                </a:lnTo>
                <a:lnTo>
                  <a:pt x="12890" y="7438"/>
                </a:lnTo>
                <a:lnTo>
                  <a:pt x="12896" y="7440"/>
                </a:lnTo>
                <a:lnTo>
                  <a:pt x="12902" y="7442"/>
                </a:lnTo>
                <a:lnTo>
                  <a:pt x="12918" y="7444"/>
                </a:lnTo>
                <a:lnTo>
                  <a:pt x="12926" y="7444"/>
                </a:lnTo>
                <a:lnTo>
                  <a:pt x="12932" y="7444"/>
                </a:lnTo>
                <a:lnTo>
                  <a:pt x="12938" y="7440"/>
                </a:lnTo>
                <a:lnTo>
                  <a:pt x="12946" y="7436"/>
                </a:lnTo>
                <a:lnTo>
                  <a:pt x="12952" y="7430"/>
                </a:lnTo>
                <a:lnTo>
                  <a:pt x="12958" y="7420"/>
                </a:lnTo>
                <a:lnTo>
                  <a:pt x="12966" y="7412"/>
                </a:lnTo>
                <a:lnTo>
                  <a:pt x="12972" y="7406"/>
                </a:lnTo>
                <a:lnTo>
                  <a:pt x="12978" y="7402"/>
                </a:lnTo>
                <a:lnTo>
                  <a:pt x="12984" y="7400"/>
                </a:lnTo>
                <a:lnTo>
                  <a:pt x="12990" y="7396"/>
                </a:lnTo>
                <a:lnTo>
                  <a:pt x="12992" y="7394"/>
                </a:lnTo>
                <a:lnTo>
                  <a:pt x="12990" y="7390"/>
                </a:lnTo>
                <a:lnTo>
                  <a:pt x="12988" y="7386"/>
                </a:lnTo>
                <a:lnTo>
                  <a:pt x="12988" y="7380"/>
                </a:lnTo>
                <a:lnTo>
                  <a:pt x="12996" y="7368"/>
                </a:lnTo>
                <a:lnTo>
                  <a:pt x="13004" y="7350"/>
                </a:lnTo>
                <a:lnTo>
                  <a:pt x="13006" y="7340"/>
                </a:lnTo>
                <a:lnTo>
                  <a:pt x="13008" y="7328"/>
                </a:lnTo>
                <a:lnTo>
                  <a:pt x="13010" y="7316"/>
                </a:lnTo>
                <a:lnTo>
                  <a:pt x="13016" y="7306"/>
                </a:lnTo>
                <a:lnTo>
                  <a:pt x="13024" y="7298"/>
                </a:lnTo>
                <a:lnTo>
                  <a:pt x="13034" y="7292"/>
                </a:lnTo>
                <a:lnTo>
                  <a:pt x="13046" y="7288"/>
                </a:lnTo>
                <a:lnTo>
                  <a:pt x="13056" y="7284"/>
                </a:lnTo>
                <a:lnTo>
                  <a:pt x="13064" y="7284"/>
                </a:lnTo>
                <a:lnTo>
                  <a:pt x="13070" y="7286"/>
                </a:lnTo>
                <a:lnTo>
                  <a:pt x="13076" y="7286"/>
                </a:lnTo>
                <a:lnTo>
                  <a:pt x="13080" y="7286"/>
                </a:lnTo>
                <a:lnTo>
                  <a:pt x="13084" y="7284"/>
                </a:lnTo>
                <a:lnTo>
                  <a:pt x="13086" y="7282"/>
                </a:lnTo>
                <a:lnTo>
                  <a:pt x="13088" y="7278"/>
                </a:lnTo>
                <a:lnTo>
                  <a:pt x="13088" y="7274"/>
                </a:lnTo>
                <a:lnTo>
                  <a:pt x="13086" y="7272"/>
                </a:lnTo>
                <a:lnTo>
                  <a:pt x="13080" y="7270"/>
                </a:lnTo>
                <a:lnTo>
                  <a:pt x="13076" y="7266"/>
                </a:lnTo>
                <a:lnTo>
                  <a:pt x="13072" y="7264"/>
                </a:lnTo>
                <a:lnTo>
                  <a:pt x="13070" y="7258"/>
                </a:lnTo>
                <a:lnTo>
                  <a:pt x="13070" y="7252"/>
                </a:lnTo>
                <a:lnTo>
                  <a:pt x="13070" y="7248"/>
                </a:lnTo>
                <a:lnTo>
                  <a:pt x="13074" y="7244"/>
                </a:lnTo>
                <a:lnTo>
                  <a:pt x="13076" y="7240"/>
                </a:lnTo>
                <a:lnTo>
                  <a:pt x="13082" y="7238"/>
                </a:lnTo>
                <a:lnTo>
                  <a:pt x="13086" y="7236"/>
                </a:lnTo>
                <a:lnTo>
                  <a:pt x="13090" y="7232"/>
                </a:lnTo>
                <a:lnTo>
                  <a:pt x="13100" y="7218"/>
                </a:lnTo>
                <a:lnTo>
                  <a:pt x="13110" y="7200"/>
                </a:lnTo>
                <a:lnTo>
                  <a:pt x="13126" y="7178"/>
                </a:lnTo>
                <a:lnTo>
                  <a:pt x="13132" y="7170"/>
                </a:lnTo>
                <a:lnTo>
                  <a:pt x="13134" y="7164"/>
                </a:lnTo>
                <a:lnTo>
                  <a:pt x="13132" y="7160"/>
                </a:lnTo>
                <a:lnTo>
                  <a:pt x="13130" y="7158"/>
                </a:lnTo>
                <a:lnTo>
                  <a:pt x="13128" y="7156"/>
                </a:lnTo>
                <a:lnTo>
                  <a:pt x="13124" y="7152"/>
                </a:lnTo>
                <a:lnTo>
                  <a:pt x="13124" y="7148"/>
                </a:lnTo>
                <a:lnTo>
                  <a:pt x="13128" y="7142"/>
                </a:lnTo>
                <a:close/>
                <a:moveTo>
                  <a:pt x="13270" y="6944"/>
                </a:moveTo>
                <a:lnTo>
                  <a:pt x="13270" y="6944"/>
                </a:lnTo>
                <a:lnTo>
                  <a:pt x="13266" y="6950"/>
                </a:lnTo>
                <a:lnTo>
                  <a:pt x="13262" y="6954"/>
                </a:lnTo>
                <a:lnTo>
                  <a:pt x="13258" y="6956"/>
                </a:lnTo>
                <a:lnTo>
                  <a:pt x="13250" y="6958"/>
                </a:lnTo>
                <a:lnTo>
                  <a:pt x="13244" y="6956"/>
                </a:lnTo>
                <a:lnTo>
                  <a:pt x="13236" y="6954"/>
                </a:lnTo>
                <a:lnTo>
                  <a:pt x="13218" y="6946"/>
                </a:lnTo>
                <a:lnTo>
                  <a:pt x="13210" y="6940"/>
                </a:lnTo>
                <a:lnTo>
                  <a:pt x="13204" y="6932"/>
                </a:lnTo>
                <a:lnTo>
                  <a:pt x="13200" y="6924"/>
                </a:lnTo>
                <a:lnTo>
                  <a:pt x="13198" y="6914"/>
                </a:lnTo>
                <a:lnTo>
                  <a:pt x="13192" y="6896"/>
                </a:lnTo>
                <a:lnTo>
                  <a:pt x="13190" y="6888"/>
                </a:lnTo>
                <a:lnTo>
                  <a:pt x="13184" y="6880"/>
                </a:lnTo>
                <a:lnTo>
                  <a:pt x="13178" y="6874"/>
                </a:lnTo>
                <a:lnTo>
                  <a:pt x="13176" y="6872"/>
                </a:lnTo>
                <a:lnTo>
                  <a:pt x="13174" y="6874"/>
                </a:lnTo>
                <a:lnTo>
                  <a:pt x="13174" y="6878"/>
                </a:lnTo>
                <a:lnTo>
                  <a:pt x="13176" y="6890"/>
                </a:lnTo>
                <a:lnTo>
                  <a:pt x="13184" y="6908"/>
                </a:lnTo>
                <a:lnTo>
                  <a:pt x="13184" y="6914"/>
                </a:lnTo>
                <a:lnTo>
                  <a:pt x="13182" y="6914"/>
                </a:lnTo>
                <a:lnTo>
                  <a:pt x="13176" y="6912"/>
                </a:lnTo>
                <a:lnTo>
                  <a:pt x="13168" y="6908"/>
                </a:lnTo>
                <a:lnTo>
                  <a:pt x="13162" y="6900"/>
                </a:lnTo>
                <a:lnTo>
                  <a:pt x="13156" y="6892"/>
                </a:lnTo>
                <a:lnTo>
                  <a:pt x="13152" y="6884"/>
                </a:lnTo>
                <a:lnTo>
                  <a:pt x="13152" y="6876"/>
                </a:lnTo>
                <a:lnTo>
                  <a:pt x="13152" y="6870"/>
                </a:lnTo>
                <a:lnTo>
                  <a:pt x="13152" y="6864"/>
                </a:lnTo>
                <a:lnTo>
                  <a:pt x="13148" y="6856"/>
                </a:lnTo>
                <a:lnTo>
                  <a:pt x="13144" y="6850"/>
                </a:lnTo>
                <a:lnTo>
                  <a:pt x="13142" y="6846"/>
                </a:lnTo>
                <a:lnTo>
                  <a:pt x="13142" y="6842"/>
                </a:lnTo>
                <a:lnTo>
                  <a:pt x="13142" y="6832"/>
                </a:lnTo>
                <a:lnTo>
                  <a:pt x="13140" y="6826"/>
                </a:lnTo>
                <a:lnTo>
                  <a:pt x="13138" y="6818"/>
                </a:lnTo>
                <a:lnTo>
                  <a:pt x="13132" y="6810"/>
                </a:lnTo>
                <a:lnTo>
                  <a:pt x="13124" y="6802"/>
                </a:lnTo>
                <a:lnTo>
                  <a:pt x="13118" y="6796"/>
                </a:lnTo>
                <a:lnTo>
                  <a:pt x="13110" y="6794"/>
                </a:lnTo>
                <a:lnTo>
                  <a:pt x="13100" y="6792"/>
                </a:lnTo>
                <a:lnTo>
                  <a:pt x="13096" y="6790"/>
                </a:lnTo>
                <a:lnTo>
                  <a:pt x="13092" y="6786"/>
                </a:lnTo>
                <a:lnTo>
                  <a:pt x="13088" y="6778"/>
                </a:lnTo>
                <a:lnTo>
                  <a:pt x="13082" y="6768"/>
                </a:lnTo>
                <a:lnTo>
                  <a:pt x="13078" y="6766"/>
                </a:lnTo>
                <a:lnTo>
                  <a:pt x="13074" y="6764"/>
                </a:lnTo>
                <a:lnTo>
                  <a:pt x="13064" y="6766"/>
                </a:lnTo>
                <a:lnTo>
                  <a:pt x="13064" y="6768"/>
                </a:lnTo>
                <a:lnTo>
                  <a:pt x="13070" y="6774"/>
                </a:lnTo>
                <a:lnTo>
                  <a:pt x="13080" y="6786"/>
                </a:lnTo>
                <a:lnTo>
                  <a:pt x="13084" y="6794"/>
                </a:lnTo>
                <a:lnTo>
                  <a:pt x="13086" y="6798"/>
                </a:lnTo>
                <a:lnTo>
                  <a:pt x="13086" y="6800"/>
                </a:lnTo>
                <a:lnTo>
                  <a:pt x="13086" y="6802"/>
                </a:lnTo>
                <a:lnTo>
                  <a:pt x="13084" y="6806"/>
                </a:lnTo>
                <a:lnTo>
                  <a:pt x="13090" y="6816"/>
                </a:lnTo>
                <a:lnTo>
                  <a:pt x="13096" y="6824"/>
                </a:lnTo>
                <a:lnTo>
                  <a:pt x="13102" y="6834"/>
                </a:lnTo>
                <a:lnTo>
                  <a:pt x="13110" y="6854"/>
                </a:lnTo>
                <a:lnTo>
                  <a:pt x="13116" y="6862"/>
                </a:lnTo>
                <a:lnTo>
                  <a:pt x="13120" y="6868"/>
                </a:lnTo>
                <a:lnTo>
                  <a:pt x="13122" y="6868"/>
                </a:lnTo>
                <a:lnTo>
                  <a:pt x="13126" y="6864"/>
                </a:lnTo>
                <a:lnTo>
                  <a:pt x="13128" y="6862"/>
                </a:lnTo>
                <a:lnTo>
                  <a:pt x="13130" y="6862"/>
                </a:lnTo>
                <a:lnTo>
                  <a:pt x="13134" y="6870"/>
                </a:lnTo>
                <a:lnTo>
                  <a:pt x="13136" y="6878"/>
                </a:lnTo>
                <a:lnTo>
                  <a:pt x="13136" y="6880"/>
                </a:lnTo>
                <a:lnTo>
                  <a:pt x="13134" y="6880"/>
                </a:lnTo>
                <a:lnTo>
                  <a:pt x="13128" y="6878"/>
                </a:lnTo>
                <a:lnTo>
                  <a:pt x="13130" y="6882"/>
                </a:lnTo>
                <a:lnTo>
                  <a:pt x="13144" y="6918"/>
                </a:lnTo>
                <a:lnTo>
                  <a:pt x="13150" y="6932"/>
                </a:lnTo>
                <a:lnTo>
                  <a:pt x="13152" y="6942"/>
                </a:lnTo>
                <a:lnTo>
                  <a:pt x="13152" y="6950"/>
                </a:lnTo>
                <a:lnTo>
                  <a:pt x="13152" y="6956"/>
                </a:lnTo>
                <a:lnTo>
                  <a:pt x="13148" y="6968"/>
                </a:lnTo>
                <a:lnTo>
                  <a:pt x="13146" y="6976"/>
                </a:lnTo>
                <a:lnTo>
                  <a:pt x="13146" y="6984"/>
                </a:lnTo>
                <a:lnTo>
                  <a:pt x="13146" y="6994"/>
                </a:lnTo>
                <a:lnTo>
                  <a:pt x="13142" y="7002"/>
                </a:lnTo>
                <a:lnTo>
                  <a:pt x="13138" y="7008"/>
                </a:lnTo>
                <a:lnTo>
                  <a:pt x="13130" y="7012"/>
                </a:lnTo>
                <a:lnTo>
                  <a:pt x="13118" y="7020"/>
                </a:lnTo>
                <a:lnTo>
                  <a:pt x="13112" y="7024"/>
                </a:lnTo>
                <a:lnTo>
                  <a:pt x="13110" y="7028"/>
                </a:lnTo>
                <a:lnTo>
                  <a:pt x="13110" y="7034"/>
                </a:lnTo>
                <a:lnTo>
                  <a:pt x="13114" y="7038"/>
                </a:lnTo>
                <a:lnTo>
                  <a:pt x="13126" y="7050"/>
                </a:lnTo>
                <a:lnTo>
                  <a:pt x="13144" y="7058"/>
                </a:lnTo>
                <a:lnTo>
                  <a:pt x="13158" y="7066"/>
                </a:lnTo>
                <a:lnTo>
                  <a:pt x="13164" y="7072"/>
                </a:lnTo>
                <a:lnTo>
                  <a:pt x="13166" y="7078"/>
                </a:lnTo>
                <a:lnTo>
                  <a:pt x="13168" y="7088"/>
                </a:lnTo>
                <a:lnTo>
                  <a:pt x="13166" y="7096"/>
                </a:lnTo>
                <a:lnTo>
                  <a:pt x="13162" y="7114"/>
                </a:lnTo>
                <a:lnTo>
                  <a:pt x="13158" y="7122"/>
                </a:lnTo>
                <a:lnTo>
                  <a:pt x="13154" y="7126"/>
                </a:lnTo>
                <a:lnTo>
                  <a:pt x="13148" y="7132"/>
                </a:lnTo>
                <a:lnTo>
                  <a:pt x="13144" y="7136"/>
                </a:lnTo>
                <a:lnTo>
                  <a:pt x="13144" y="7138"/>
                </a:lnTo>
                <a:lnTo>
                  <a:pt x="13146" y="7140"/>
                </a:lnTo>
                <a:lnTo>
                  <a:pt x="13158" y="7144"/>
                </a:lnTo>
                <a:lnTo>
                  <a:pt x="13162" y="7146"/>
                </a:lnTo>
                <a:lnTo>
                  <a:pt x="13164" y="7150"/>
                </a:lnTo>
                <a:lnTo>
                  <a:pt x="13168" y="7156"/>
                </a:lnTo>
                <a:lnTo>
                  <a:pt x="13170" y="7158"/>
                </a:lnTo>
                <a:lnTo>
                  <a:pt x="13172" y="7160"/>
                </a:lnTo>
                <a:lnTo>
                  <a:pt x="13176" y="7158"/>
                </a:lnTo>
                <a:lnTo>
                  <a:pt x="13182" y="7154"/>
                </a:lnTo>
                <a:lnTo>
                  <a:pt x="13190" y="7146"/>
                </a:lnTo>
                <a:lnTo>
                  <a:pt x="13200" y="7134"/>
                </a:lnTo>
                <a:lnTo>
                  <a:pt x="13222" y="7102"/>
                </a:lnTo>
                <a:lnTo>
                  <a:pt x="13232" y="7084"/>
                </a:lnTo>
                <a:lnTo>
                  <a:pt x="13238" y="7068"/>
                </a:lnTo>
                <a:lnTo>
                  <a:pt x="13242" y="7054"/>
                </a:lnTo>
                <a:lnTo>
                  <a:pt x="13240" y="7050"/>
                </a:lnTo>
                <a:lnTo>
                  <a:pt x="13238" y="7046"/>
                </a:lnTo>
                <a:lnTo>
                  <a:pt x="13238" y="7042"/>
                </a:lnTo>
                <a:lnTo>
                  <a:pt x="13238" y="7036"/>
                </a:lnTo>
                <a:lnTo>
                  <a:pt x="13240" y="7032"/>
                </a:lnTo>
                <a:lnTo>
                  <a:pt x="13244" y="7026"/>
                </a:lnTo>
                <a:lnTo>
                  <a:pt x="13250" y="7022"/>
                </a:lnTo>
                <a:lnTo>
                  <a:pt x="13258" y="7020"/>
                </a:lnTo>
                <a:lnTo>
                  <a:pt x="13264" y="7020"/>
                </a:lnTo>
                <a:lnTo>
                  <a:pt x="13274" y="7024"/>
                </a:lnTo>
                <a:lnTo>
                  <a:pt x="13280" y="7028"/>
                </a:lnTo>
                <a:lnTo>
                  <a:pt x="13282" y="7030"/>
                </a:lnTo>
                <a:lnTo>
                  <a:pt x="13282" y="7028"/>
                </a:lnTo>
                <a:lnTo>
                  <a:pt x="13282" y="7024"/>
                </a:lnTo>
                <a:lnTo>
                  <a:pt x="13280" y="7018"/>
                </a:lnTo>
                <a:lnTo>
                  <a:pt x="13280" y="7010"/>
                </a:lnTo>
                <a:lnTo>
                  <a:pt x="13278" y="7002"/>
                </a:lnTo>
                <a:lnTo>
                  <a:pt x="13280" y="6998"/>
                </a:lnTo>
                <a:lnTo>
                  <a:pt x="13282" y="6996"/>
                </a:lnTo>
                <a:lnTo>
                  <a:pt x="13286" y="6994"/>
                </a:lnTo>
                <a:lnTo>
                  <a:pt x="13290" y="6992"/>
                </a:lnTo>
                <a:lnTo>
                  <a:pt x="13294" y="6986"/>
                </a:lnTo>
                <a:lnTo>
                  <a:pt x="13296" y="6980"/>
                </a:lnTo>
                <a:lnTo>
                  <a:pt x="13296" y="6974"/>
                </a:lnTo>
                <a:lnTo>
                  <a:pt x="13298" y="6958"/>
                </a:lnTo>
                <a:lnTo>
                  <a:pt x="13298" y="6952"/>
                </a:lnTo>
                <a:lnTo>
                  <a:pt x="13300" y="6948"/>
                </a:lnTo>
                <a:lnTo>
                  <a:pt x="13302" y="6942"/>
                </a:lnTo>
                <a:lnTo>
                  <a:pt x="13300" y="6940"/>
                </a:lnTo>
                <a:lnTo>
                  <a:pt x="13296" y="6936"/>
                </a:lnTo>
                <a:lnTo>
                  <a:pt x="13292" y="6934"/>
                </a:lnTo>
                <a:lnTo>
                  <a:pt x="13286" y="6934"/>
                </a:lnTo>
                <a:lnTo>
                  <a:pt x="13280" y="6936"/>
                </a:lnTo>
                <a:lnTo>
                  <a:pt x="13274" y="6938"/>
                </a:lnTo>
                <a:lnTo>
                  <a:pt x="13270" y="6944"/>
                </a:lnTo>
                <a:close/>
                <a:moveTo>
                  <a:pt x="8116" y="5660"/>
                </a:moveTo>
                <a:lnTo>
                  <a:pt x="8116" y="5660"/>
                </a:lnTo>
                <a:lnTo>
                  <a:pt x="8110" y="5654"/>
                </a:lnTo>
                <a:lnTo>
                  <a:pt x="8106" y="5648"/>
                </a:lnTo>
                <a:lnTo>
                  <a:pt x="8102" y="5632"/>
                </a:lnTo>
                <a:lnTo>
                  <a:pt x="8100" y="5626"/>
                </a:lnTo>
                <a:lnTo>
                  <a:pt x="8096" y="5622"/>
                </a:lnTo>
                <a:lnTo>
                  <a:pt x="8094" y="5622"/>
                </a:lnTo>
                <a:lnTo>
                  <a:pt x="8090" y="5628"/>
                </a:lnTo>
                <a:lnTo>
                  <a:pt x="8084" y="5636"/>
                </a:lnTo>
                <a:lnTo>
                  <a:pt x="8082" y="5642"/>
                </a:lnTo>
                <a:lnTo>
                  <a:pt x="8080" y="5662"/>
                </a:lnTo>
                <a:lnTo>
                  <a:pt x="8078" y="5672"/>
                </a:lnTo>
                <a:lnTo>
                  <a:pt x="8076" y="5680"/>
                </a:lnTo>
                <a:lnTo>
                  <a:pt x="8072" y="5688"/>
                </a:lnTo>
                <a:lnTo>
                  <a:pt x="8070" y="5692"/>
                </a:lnTo>
                <a:lnTo>
                  <a:pt x="8062" y="5698"/>
                </a:lnTo>
                <a:lnTo>
                  <a:pt x="8052" y="5700"/>
                </a:lnTo>
                <a:lnTo>
                  <a:pt x="8040" y="5702"/>
                </a:lnTo>
                <a:lnTo>
                  <a:pt x="8036" y="5704"/>
                </a:lnTo>
                <a:lnTo>
                  <a:pt x="8038" y="5710"/>
                </a:lnTo>
                <a:lnTo>
                  <a:pt x="8042" y="5722"/>
                </a:lnTo>
                <a:lnTo>
                  <a:pt x="8042" y="5728"/>
                </a:lnTo>
                <a:lnTo>
                  <a:pt x="8040" y="5732"/>
                </a:lnTo>
                <a:lnTo>
                  <a:pt x="8030" y="5744"/>
                </a:lnTo>
                <a:lnTo>
                  <a:pt x="8010" y="5762"/>
                </a:lnTo>
                <a:lnTo>
                  <a:pt x="8000" y="5774"/>
                </a:lnTo>
                <a:lnTo>
                  <a:pt x="7992" y="5782"/>
                </a:lnTo>
                <a:lnTo>
                  <a:pt x="7982" y="5796"/>
                </a:lnTo>
                <a:lnTo>
                  <a:pt x="7976" y="5802"/>
                </a:lnTo>
                <a:lnTo>
                  <a:pt x="7970" y="5806"/>
                </a:lnTo>
                <a:lnTo>
                  <a:pt x="7958" y="5808"/>
                </a:lnTo>
                <a:lnTo>
                  <a:pt x="7942" y="5810"/>
                </a:lnTo>
                <a:lnTo>
                  <a:pt x="7934" y="5812"/>
                </a:lnTo>
                <a:lnTo>
                  <a:pt x="7930" y="5814"/>
                </a:lnTo>
                <a:lnTo>
                  <a:pt x="7926" y="5820"/>
                </a:lnTo>
                <a:lnTo>
                  <a:pt x="7924" y="5822"/>
                </a:lnTo>
                <a:lnTo>
                  <a:pt x="7922" y="5824"/>
                </a:lnTo>
                <a:lnTo>
                  <a:pt x="7918" y="5826"/>
                </a:lnTo>
                <a:lnTo>
                  <a:pt x="7910" y="5826"/>
                </a:lnTo>
                <a:lnTo>
                  <a:pt x="7904" y="5826"/>
                </a:lnTo>
                <a:lnTo>
                  <a:pt x="7902" y="5826"/>
                </a:lnTo>
                <a:lnTo>
                  <a:pt x="7900" y="5828"/>
                </a:lnTo>
                <a:lnTo>
                  <a:pt x="7900" y="5832"/>
                </a:lnTo>
                <a:lnTo>
                  <a:pt x="7898" y="5844"/>
                </a:lnTo>
                <a:lnTo>
                  <a:pt x="7896" y="5854"/>
                </a:lnTo>
                <a:lnTo>
                  <a:pt x="7890" y="5868"/>
                </a:lnTo>
                <a:lnTo>
                  <a:pt x="7884" y="5880"/>
                </a:lnTo>
                <a:lnTo>
                  <a:pt x="7882" y="5888"/>
                </a:lnTo>
                <a:lnTo>
                  <a:pt x="7882" y="5892"/>
                </a:lnTo>
                <a:lnTo>
                  <a:pt x="7882" y="5898"/>
                </a:lnTo>
                <a:lnTo>
                  <a:pt x="7886" y="5904"/>
                </a:lnTo>
                <a:lnTo>
                  <a:pt x="7886" y="5910"/>
                </a:lnTo>
                <a:lnTo>
                  <a:pt x="7886" y="5918"/>
                </a:lnTo>
                <a:lnTo>
                  <a:pt x="7884" y="5926"/>
                </a:lnTo>
                <a:lnTo>
                  <a:pt x="7886" y="5934"/>
                </a:lnTo>
                <a:lnTo>
                  <a:pt x="7888" y="5944"/>
                </a:lnTo>
                <a:lnTo>
                  <a:pt x="7892" y="5952"/>
                </a:lnTo>
                <a:lnTo>
                  <a:pt x="7892" y="5956"/>
                </a:lnTo>
                <a:lnTo>
                  <a:pt x="7892" y="5962"/>
                </a:lnTo>
                <a:lnTo>
                  <a:pt x="7892" y="5970"/>
                </a:lnTo>
                <a:lnTo>
                  <a:pt x="7894" y="5976"/>
                </a:lnTo>
                <a:lnTo>
                  <a:pt x="7898" y="5986"/>
                </a:lnTo>
                <a:lnTo>
                  <a:pt x="7902" y="6004"/>
                </a:lnTo>
                <a:lnTo>
                  <a:pt x="7902" y="6014"/>
                </a:lnTo>
                <a:lnTo>
                  <a:pt x="7900" y="6024"/>
                </a:lnTo>
                <a:lnTo>
                  <a:pt x="7898" y="6032"/>
                </a:lnTo>
                <a:lnTo>
                  <a:pt x="7894" y="6040"/>
                </a:lnTo>
                <a:lnTo>
                  <a:pt x="7884" y="6054"/>
                </a:lnTo>
                <a:lnTo>
                  <a:pt x="7880" y="6062"/>
                </a:lnTo>
                <a:lnTo>
                  <a:pt x="7878" y="6072"/>
                </a:lnTo>
                <a:lnTo>
                  <a:pt x="7876" y="6080"/>
                </a:lnTo>
                <a:lnTo>
                  <a:pt x="7874" y="6082"/>
                </a:lnTo>
                <a:lnTo>
                  <a:pt x="7872" y="6084"/>
                </a:lnTo>
                <a:lnTo>
                  <a:pt x="7868" y="6084"/>
                </a:lnTo>
                <a:lnTo>
                  <a:pt x="7866" y="6086"/>
                </a:lnTo>
                <a:lnTo>
                  <a:pt x="7862" y="6088"/>
                </a:lnTo>
                <a:lnTo>
                  <a:pt x="7858" y="6096"/>
                </a:lnTo>
                <a:lnTo>
                  <a:pt x="7856" y="6110"/>
                </a:lnTo>
                <a:lnTo>
                  <a:pt x="7852" y="6124"/>
                </a:lnTo>
                <a:lnTo>
                  <a:pt x="7852" y="6136"/>
                </a:lnTo>
                <a:lnTo>
                  <a:pt x="7852" y="6146"/>
                </a:lnTo>
                <a:lnTo>
                  <a:pt x="7854" y="6154"/>
                </a:lnTo>
                <a:lnTo>
                  <a:pt x="7860" y="6166"/>
                </a:lnTo>
                <a:lnTo>
                  <a:pt x="7868" y="6182"/>
                </a:lnTo>
                <a:lnTo>
                  <a:pt x="7870" y="6190"/>
                </a:lnTo>
                <a:lnTo>
                  <a:pt x="7872" y="6196"/>
                </a:lnTo>
                <a:lnTo>
                  <a:pt x="7870" y="6208"/>
                </a:lnTo>
                <a:lnTo>
                  <a:pt x="7868" y="6216"/>
                </a:lnTo>
                <a:lnTo>
                  <a:pt x="7870" y="6226"/>
                </a:lnTo>
                <a:lnTo>
                  <a:pt x="7872" y="6240"/>
                </a:lnTo>
                <a:lnTo>
                  <a:pt x="7878" y="6256"/>
                </a:lnTo>
                <a:lnTo>
                  <a:pt x="7886" y="6268"/>
                </a:lnTo>
                <a:lnTo>
                  <a:pt x="7892" y="6278"/>
                </a:lnTo>
                <a:lnTo>
                  <a:pt x="7898" y="6282"/>
                </a:lnTo>
                <a:lnTo>
                  <a:pt x="7902" y="6286"/>
                </a:lnTo>
                <a:lnTo>
                  <a:pt x="7914" y="6288"/>
                </a:lnTo>
                <a:lnTo>
                  <a:pt x="7920" y="6292"/>
                </a:lnTo>
                <a:lnTo>
                  <a:pt x="7924" y="6296"/>
                </a:lnTo>
                <a:lnTo>
                  <a:pt x="7926" y="6300"/>
                </a:lnTo>
                <a:lnTo>
                  <a:pt x="7930" y="6300"/>
                </a:lnTo>
                <a:lnTo>
                  <a:pt x="7938" y="6302"/>
                </a:lnTo>
                <a:lnTo>
                  <a:pt x="7948" y="6298"/>
                </a:lnTo>
                <a:lnTo>
                  <a:pt x="7958" y="6294"/>
                </a:lnTo>
                <a:lnTo>
                  <a:pt x="7978" y="6284"/>
                </a:lnTo>
                <a:lnTo>
                  <a:pt x="7988" y="6280"/>
                </a:lnTo>
                <a:lnTo>
                  <a:pt x="7998" y="6278"/>
                </a:lnTo>
                <a:lnTo>
                  <a:pt x="8002" y="6276"/>
                </a:lnTo>
                <a:lnTo>
                  <a:pt x="8006" y="6270"/>
                </a:lnTo>
                <a:lnTo>
                  <a:pt x="8014" y="6252"/>
                </a:lnTo>
                <a:lnTo>
                  <a:pt x="8024" y="6224"/>
                </a:lnTo>
                <a:lnTo>
                  <a:pt x="8032" y="6188"/>
                </a:lnTo>
                <a:lnTo>
                  <a:pt x="8052" y="6108"/>
                </a:lnTo>
                <a:lnTo>
                  <a:pt x="8072" y="6024"/>
                </a:lnTo>
                <a:lnTo>
                  <a:pt x="8086" y="5978"/>
                </a:lnTo>
                <a:lnTo>
                  <a:pt x="8098" y="5946"/>
                </a:lnTo>
                <a:lnTo>
                  <a:pt x="8102" y="5934"/>
                </a:lnTo>
                <a:lnTo>
                  <a:pt x="8104" y="5922"/>
                </a:lnTo>
                <a:lnTo>
                  <a:pt x="8104" y="5910"/>
                </a:lnTo>
                <a:lnTo>
                  <a:pt x="8102" y="5898"/>
                </a:lnTo>
                <a:lnTo>
                  <a:pt x="8102" y="5886"/>
                </a:lnTo>
                <a:lnTo>
                  <a:pt x="8102" y="5878"/>
                </a:lnTo>
                <a:lnTo>
                  <a:pt x="8104" y="5872"/>
                </a:lnTo>
                <a:lnTo>
                  <a:pt x="8108" y="5870"/>
                </a:lnTo>
                <a:lnTo>
                  <a:pt x="8114" y="5864"/>
                </a:lnTo>
                <a:lnTo>
                  <a:pt x="8116" y="5862"/>
                </a:lnTo>
                <a:lnTo>
                  <a:pt x="8116" y="5856"/>
                </a:lnTo>
                <a:lnTo>
                  <a:pt x="8114" y="5846"/>
                </a:lnTo>
                <a:lnTo>
                  <a:pt x="8116" y="5838"/>
                </a:lnTo>
                <a:lnTo>
                  <a:pt x="8118" y="5830"/>
                </a:lnTo>
                <a:lnTo>
                  <a:pt x="8116" y="5824"/>
                </a:lnTo>
                <a:lnTo>
                  <a:pt x="8114" y="5818"/>
                </a:lnTo>
                <a:lnTo>
                  <a:pt x="8112" y="5810"/>
                </a:lnTo>
                <a:lnTo>
                  <a:pt x="8110" y="5802"/>
                </a:lnTo>
                <a:lnTo>
                  <a:pt x="8110" y="5796"/>
                </a:lnTo>
                <a:lnTo>
                  <a:pt x="8112" y="5792"/>
                </a:lnTo>
                <a:lnTo>
                  <a:pt x="8114" y="5792"/>
                </a:lnTo>
                <a:lnTo>
                  <a:pt x="8118" y="5794"/>
                </a:lnTo>
                <a:lnTo>
                  <a:pt x="8122" y="5802"/>
                </a:lnTo>
                <a:lnTo>
                  <a:pt x="8126" y="5814"/>
                </a:lnTo>
                <a:lnTo>
                  <a:pt x="8130" y="5818"/>
                </a:lnTo>
                <a:lnTo>
                  <a:pt x="8132" y="5818"/>
                </a:lnTo>
                <a:lnTo>
                  <a:pt x="8136" y="5814"/>
                </a:lnTo>
                <a:lnTo>
                  <a:pt x="8138" y="5808"/>
                </a:lnTo>
                <a:lnTo>
                  <a:pt x="8140" y="5798"/>
                </a:lnTo>
                <a:lnTo>
                  <a:pt x="8142" y="5788"/>
                </a:lnTo>
                <a:lnTo>
                  <a:pt x="8142" y="5778"/>
                </a:lnTo>
                <a:lnTo>
                  <a:pt x="8138" y="5770"/>
                </a:lnTo>
                <a:lnTo>
                  <a:pt x="8136" y="5760"/>
                </a:lnTo>
                <a:lnTo>
                  <a:pt x="8134" y="5746"/>
                </a:lnTo>
                <a:lnTo>
                  <a:pt x="8130" y="5710"/>
                </a:lnTo>
                <a:lnTo>
                  <a:pt x="8124" y="5678"/>
                </a:lnTo>
                <a:lnTo>
                  <a:pt x="8120" y="5666"/>
                </a:lnTo>
                <a:lnTo>
                  <a:pt x="8116" y="5660"/>
                </a:lnTo>
                <a:close/>
                <a:moveTo>
                  <a:pt x="11994" y="2764"/>
                </a:moveTo>
                <a:lnTo>
                  <a:pt x="11994" y="2764"/>
                </a:lnTo>
                <a:lnTo>
                  <a:pt x="11986" y="2776"/>
                </a:lnTo>
                <a:lnTo>
                  <a:pt x="11978" y="2784"/>
                </a:lnTo>
                <a:lnTo>
                  <a:pt x="11972" y="2794"/>
                </a:lnTo>
                <a:lnTo>
                  <a:pt x="11972" y="2798"/>
                </a:lnTo>
                <a:lnTo>
                  <a:pt x="11974" y="2802"/>
                </a:lnTo>
                <a:lnTo>
                  <a:pt x="11976" y="2800"/>
                </a:lnTo>
                <a:lnTo>
                  <a:pt x="11982" y="2792"/>
                </a:lnTo>
                <a:lnTo>
                  <a:pt x="11988" y="2784"/>
                </a:lnTo>
                <a:lnTo>
                  <a:pt x="11994" y="2778"/>
                </a:lnTo>
                <a:lnTo>
                  <a:pt x="12000" y="2772"/>
                </a:lnTo>
                <a:lnTo>
                  <a:pt x="12010" y="2768"/>
                </a:lnTo>
                <a:lnTo>
                  <a:pt x="12014" y="2766"/>
                </a:lnTo>
                <a:lnTo>
                  <a:pt x="12008" y="2762"/>
                </a:lnTo>
                <a:lnTo>
                  <a:pt x="12000" y="2762"/>
                </a:lnTo>
                <a:lnTo>
                  <a:pt x="11996" y="2762"/>
                </a:lnTo>
                <a:lnTo>
                  <a:pt x="11994" y="2764"/>
                </a:lnTo>
                <a:close/>
                <a:moveTo>
                  <a:pt x="12064" y="2720"/>
                </a:moveTo>
                <a:lnTo>
                  <a:pt x="12064" y="2720"/>
                </a:lnTo>
                <a:lnTo>
                  <a:pt x="12054" y="2726"/>
                </a:lnTo>
                <a:lnTo>
                  <a:pt x="12046" y="2734"/>
                </a:lnTo>
                <a:lnTo>
                  <a:pt x="12036" y="2744"/>
                </a:lnTo>
                <a:lnTo>
                  <a:pt x="12030" y="2756"/>
                </a:lnTo>
                <a:lnTo>
                  <a:pt x="12028" y="2760"/>
                </a:lnTo>
                <a:lnTo>
                  <a:pt x="12028" y="2762"/>
                </a:lnTo>
                <a:lnTo>
                  <a:pt x="12030" y="2762"/>
                </a:lnTo>
                <a:lnTo>
                  <a:pt x="12032" y="2762"/>
                </a:lnTo>
                <a:lnTo>
                  <a:pt x="12040" y="2756"/>
                </a:lnTo>
                <a:lnTo>
                  <a:pt x="12050" y="2744"/>
                </a:lnTo>
                <a:lnTo>
                  <a:pt x="12058" y="2736"/>
                </a:lnTo>
                <a:lnTo>
                  <a:pt x="12064" y="2730"/>
                </a:lnTo>
                <a:lnTo>
                  <a:pt x="12072" y="2728"/>
                </a:lnTo>
                <a:lnTo>
                  <a:pt x="12080" y="2722"/>
                </a:lnTo>
                <a:lnTo>
                  <a:pt x="12084" y="2718"/>
                </a:lnTo>
                <a:lnTo>
                  <a:pt x="12090" y="2714"/>
                </a:lnTo>
                <a:lnTo>
                  <a:pt x="12100" y="2712"/>
                </a:lnTo>
                <a:lnTo>
                  <a:pt x="12104" y="2710"/>
                </a:lnTo>
                <a:lnTo>
                  <a:pt x="12106" y="2708"/>
                </a:lnTo>
                <a:lnTo>
                  <a:pt x="12108" y="2706"/>
                </a:lnTo>
                <a:lnTo>
                  <a:pt x="12104" y="2700"/>
                </a:lnTo>
                <a:lnTo>
                  <a:pt x="12102" y="2698"/>
                </a:lnTo>
                <a:lnTo>
                  <a:pt x="12098" y="2700"/>
                </a:lnTo>
                <a:lnTo>
                  <a:pt x="12092" y="2704"/>
                </a:lnTo>
                <a:lnTo>
                  <a:pt x="12084" y="2710"/>
                </a:lnTo>
                <a:lnTo>
                  <a:pt x="12078" y="2710"/>
                </a:lnTo>
                <a:lnTo>
                  <a:pt x="12074" y="2708"/>
                </a:lnTo>
                <a:lnTo>
                  <a:pt x="12070" y="2706"/>
                </a:lnTo>
                <a:lnTo>
                  <a:pt x="12070" y="2710"/>
                </a:lnTo>
                <a:lnTo>
                  <a:pt x="12070" y="2716"/>
                </a:lnTo>
                <a:lnTo>
                  <a:pt x="12068" y="2718"/>
                </a:lnTo>
                <a:lnTo>
                  <a:pt x="12064" y="2720"/>
                </a:lnTo>
                <a:close/>
                <a:moveTo>
                  <a:pt x="12172" y="2660"/>
                </a:moveTo>
                <a:lnTo>
                  <a:pt x="12172" y="2660"/>
                </a:lnTo>
                <a:lnTo>
                  <a:pt x="12170" y="2660"/>
                </a:lnTo>
                <a:lnTo>
                  <a:pt x="12166" y="2660"/>
                </a:lnTo>
                <a:lnTo>
                  <a:pt x="12154" y="2666"/>
                </a:lnTo>
                <a:lnTo>
                  <a:pt x="12142" y="2676"/>
                </a:lnTo>
                <a:lnTo>
                  <a:pt x="12138" y="2682"/>
                </a:lnTo>
                <a:lnTo>
                  <a:pt x="12134" y="2690"/>
                </a:lnTo>
                <a:lnTo>
                  <a:pt x="12132" y="2696"/>
                </a:lnTo>
                <a:lnTo>
                  <a:pt x="12136" y="2696"/>
                </a:lnTo>
                <a:lnTo>
                  <a:pt x="12144" y="2692"/>
                </a:lnTo>
                <a:lnTo>
                  <a:pt x="12152" y="2686"/>
                </a:lnTo>
                <a:lnTo>
                  <a:pt x="12168" y="2670"/>
                </a:lnTo>
                <a:lnTo>
                  <a:pt x="12172" y="2664"/>
                </a:lnTo>
                <a:lnTo>
                  <a:pt x="12172" y="2660"/>
                </a:lnTo>
                <a:close/>
                <a:moveTo>
                  <a:pt x="12350" y="2462"/>
                </a:moveTo>
                <a:lnTo>
                  <a:pt x="12350" y="2462"/>
                </a:lnTo>
                <a:lnTo>
                  <a:pt x="12348" y="2460"/>
                </a:lnTo>
                <a:lnTo>
                  <a:pt x="12344" y="2462"/>
                </a:lnTo>
                <a:lnTo>
                  <a:pt x="12340" y="2470"/>
                </a:lnTo>
                <a:lnTo>
                  <a:pt x="12336" y="2484"/>
                </a:lnTo>
                <a:lnTo>
                  <a:pt x="12336" y="2492"/>
                </a:lnTo>
                <a:lnTo>
                  <a:pt x="12338" y="2492"/>
                </a:lnTo>
                <a:lnTo>
                  <a:pt x="12340" y="2490"/>
                </a:lnTo>
                <a:lnTo>
                  <a:pt x="12346" y="2482"/>
                </a:lnTo>
                <a:lnTo>
                  <a:pt x="12350" y="2470"/>
                </a:lnTo>
                <a:lnTo>
                  <a:pt x="12352" y="2466"/>
                </a:lnTo>
                <a:lnTo>
                  <a:pt x="12350" y="2462"/>
                </a:lnTo>
                <a:close/>
                <a:moveTo>
                  <a:pt x="12316" y="2512"/>
                </a:moveTo>
                <a:lnTo>
                  <a:pt x="12316" y="2512"/>
                </a:lnTo>
                <a:lnTo>
                  <a:pt x="12316" y="2514"/>
                </a:lnTo>
                <a:lnTo>
                  <a:pt x="12316" y="2512"/>
                </a:lnTo>
                <a:lnTo>
                  <a:pt x="12320" y="2510"/>
                </a:lnTo>
                <a:lnTo>
                  <a:pt x="12324" y="2506"/>
                </a:lnTo>
                <a:lnTo>
                  <a:pt x="12326" y="2502"/>
                </a:lnTo>
                <a:lnTo>
                  <a:pt x="12324" y="2502"/>
                </a:lnTo>
                <a:lnTo>
                  <a:pt x="12322" y="2504"/>
                </a:lnTo>
                <a:lnTo>
                  <a:pt x="12316" y="2512"/>
                </a:lnTo>
                <a:close/>
                <a:moveTo>
                  <a:pt x="12280" y="2566"/>
                </a:moveTo>
                <a:lnTo>
                  <a:pt x="12280" y="2566"/>
                </a:lnTo>
                <a:lnTo>
                  <a:pt x="12278" y="2566"/>
                </a:lnTo>
                <a:lnTo>
                  <a:pt x="12276" y="2568"/>
                </a:lnTo>
                <a:lnTo>
                  <a:pt x="12276" y="2572"/>
                </a:lnTo>
                <a:lnTo>
                  <a:pt x="12278" y="2574"/>
                </a:lnTo>
                <a:lnTo>
                  <a:pt x="12280" y="2576"/>
                </a:lnTo>
                <a:lnTo>
                  <a:pt x="12282" y="2574"/>
                </a:lnTo>
                <a:lnTo>
                  <a:pt x="12282" y="2570"/>
                </a:lnTo>
                <a:lnTo>
                  <a:pt x="12280" y="2566"/>
                </a:lnTo>
                <a:close/>
                <a:moveTo>
                  <a:pt x="12258" y="2590"/>
                </a:moveTo>
                <a:lnTo>
                  <a:pt x="12258" y="2590"/>
                </a:lnTo>
                <a:lnTo>
                  <a:pt x="12254" y="2590"/>
                </a:lnTo>
                <a:lnTo>
                  <a:pt x="12252" y="2590"/>
                </a:lnTo>
                <a:lnTo>
                  <a:pt x="12252" y="2594"/>
                </a:lnTo>
                <a:lnTo>
                  <a:pt x="12252" y="2596"/>
                </a:lnTo>
                <a:lnTo>
                  <a:pt x="12256" y="2598"/>
                </a:lnTo>
                <a:lnTo>
                  <a:pt x="12258" y="2596"/>
                </a:lnTo>
                <a:lnTo>
                  <a:pt x="12258" y="2594"/>
                </a:lnTo>
                <a:lnTo>
                  <a:pt x="12258" y="2590"/>
                </a:lnTo>
                <a:close/>
                <a:moveTo>
                  <a:pt x="12416" y="2388"/>
                </a:moveTo>
                <a:lnTo>
                  <a:pt x="12416" y="2388"/>
                </a:lnTo>
                <a:lnTo>
                  <a:pt x="12414" y="2386"/>
                </a:lnTo>
                <a:lnTo>
                  <a:pt x="12408" y="2390"/>
                </a:lnTo>
                <a:lnTo>
                  <a:pt x="12406" y="2394"/>
                </a:lnTo>
                <a:lnTo>
                  <a:pt x="12406" y="2396"/>
                </a:lnTo>
                <a:lnTo>
                  <a:pt x="12408" y="2398"/>
                </a:lnTo>
                <a:lnTo>
                  <a:pt x="12410" y="2400"/>
                </a:lnTo>
                <a:lnTo>
                  <a:pt x="12412" y="2400"/>
                </a:lnTo>
                <a:lnTo>
                  <a:pt x="12416" y="2396"/>
                </a:lnTo>
                <a:lnTo>
                  <a:pt x="12418" y="2392"/>
                </a:lnTo>
                <a:lnTo>
                  <a:pt x="12416" y="2388"/>
                </a:lnTo>
                <a:close/>
                <a:moveTo>
                  <a:pt x="11190" y="3374"/>
                </a:moveTo>
                <a:lnTo>
                  <a:pt x="11190" y="3374"/>
                </a:lnTo>
                <a:lnTo>
                  <a:pt x="11194" y="3376"/>
                </a:lnTo>
                <a:lnTo>
                  <a:pt x="11198" y="3378"/>
                </a:lnTo>
                <a:lnTo>
                  <a:pt x="11210" y="3374"/>
                </a:lnTo>
                <a:lnTo>
                  <a:pt x="11220" y="3368"/>
                </a:lnTo>
                <a:lnTo>
                  <a:pt x="11222" y="3364"/>
                </a:lnTo>
                <a:lnTo>
                  <a:pt x="11222" y="3360"/>
                </a:lnTo>
                <a:lnTo>
                  <a:pt x="11220" y="3358"/>
                </a:lnTo>
                <a:lnTo>
                  <a:pt x="11216" y="3356"/>
                </a:lnTo>
                <a:lnTo>
                  <a:pt x="11210" y="3358"/>
                </a:lnTo>
                <a:lnTo>
                  <a:pt x="11204" y="3360"/>
                </a:lnTo>
                <a:lnTo>
                  <a:pt x="11198" y="3362"/>
                </a:lnTo>
                <a:lnTo>
                  <a:pt x="11192" y="3366"/>
                </a:lnTo>
                <a:lnTo>
                  <a:pt x="11190" y="3370"/>
                </a:lnTo>
                <a:lnTo>
                  <a:pt x="11190" y="3374"/>
                </a:lnTo>
                <a:close/>
                <a:moveTo>
                  <a:pt x="11324" y="3298"/>
                </a:moveTo>
                <a:lnTo>
                  <a:pt x="11324" y="3298"/>
                </a:lnTo>
                <a:lnTo>
                  <a:pt x="11320" y="3302"/>
                </a:lnTo>
                <a:lnTo>
                  <a:pt x="11318" y="3306"/>
                </a:lnTo>
                <a:lnTo>
                  <a:pt x="11318" y="3310"/>
                </a:lnTo>
                <a:lnTo>
                  <a:pt x="11318" y="3314"/>
                </a:lnTo>
                <a:lnTo>
                  <a:pt x="11314" y="3324"/>
                </a:lnTo>
                <a:lnTo>
                  <a:pt x="11314" y="3328"/>
                </a:lnTo>
                <a:lnTo>
                  <a:pt x="11314" y="3330"/>
                </a:lnTo>
                <a:lnTo>
                  <a:pt x="11318" y="3328"/>
                </a:lnTo>
                <a:lnTo>
                  <a:pt x="11318" y="3324"/>
                </a:lnTo>
                <a:lnTo>
                  <a:pt x="11320" y="3318"/>
                </a:lnTo>
                <a:lnTo>
                  <a:pt x="11322" y="3314"/>
                </a:lnTo>
                <a:lnTo>
                  <a:pt x="11324" y="3308"/>
                </a:lnTo>
                <a:lnTo>
                  <a:pt x="11326" y="3304"/>
                </a:lnTo>
                <a:lnTo>
                  <a:pt x="11326" y="3300"/>
                </a:lnTo>
                <a:lnTo>
                  <a:pt x="11324" y="3298"/>
                </a:lnTo>
                <a:close/>
                <a:moveTo>
                  <a:pt x="11190" y="3314"/>
                </a:moveTo>
                <a:lnTo>
                  <a:pt x="11190" y="3314"/>
                </a:lnTo>
                <a:lnTo>
                  <a:pt x="11192" y="3314"/>
                </a:lnTo>
                <a:lnTo>
                  <a:pt x="11196" y="3314"/>
                </a:lnTo>
                <a:lnTo>
                  <a:pt x="11200" y="3312"/>
                </a:lnTo>
                <a:lnTo>
                  <a:pt x="11198" y="3308"/>
                </a:lnTo>
                <a:lnTo>
                  <a:pt x="11194" y="3306"/>
                </a:lnTo>
                <a:lnTo>
                  <a:pt x="11192" y="3308"/>
                </a:lnTo>
                <a:lnTo>
                  <a:pt x="11190" y="3312"/>
                </a:lnTo>
                <a:lnTo>
                  <a:pt x="11190" y="3314"/>
                </a:lnTo>
                <a:close/>
                <a:moveTo>
                  <a:pt x="11180" y="3298"/>
                </a:moveTo>
                <a:lnTo>
                  <a:pt x="11180" y="3298"/>
                </a:lnTo>
                <a:lnTo>
                  <a:pt x="11182" y="3300"/>
                </a:lnTo>
                <a:lnTo>
                  <a:pt x="11184" y="3298"/>
                </a:lnTo>
                <a:lnTo>
                  <a:pt x="11184" y="3294"/>
                </a:lnTo>
                <a:lnTo>
                  <a:pt x="11184" y="3292"/>
                </a:lnTo>
                <a:lnTo>
                  <a:pt x="11182" y="3292"/>
                </a:lnTo>
                <a:lnTo>
                  <a:pt x="11180" y="3294"/>
                </a:lnTo>
                <a:lnTo>
                  <a:pt x="11180" y="3298"/>
                </a:lnTo>
                <a:close/>
                <a:moveTo>
                  <a:pt x="11186" y="3286"/>
                </a:moveTo>
                <a:lnTo>
                  <a:pt x="11186" y="3286"/>
                </a:lnTo>
                <a:lnTo>
                  <a:pt x="11184" y="3288"/>
                </a:lnTo>
                <a:lnTo>
                  <a:pt x="11186" y="3290"/>
                </a:lnTo>
                <a:lnTo>
                  <a:pt x="11190" y="3296"/>
                </a:lnTo>
                <a:lnTo>
                  <a:pt x="11192" y="3296"/>
                </a:lnTo>
                <a:lnTo>
                  <a:pt x="11192" y="3294"/>
                </a:lnTo>
                <a:lnTo>
                  <a:pt x="11190" y="3288"/>
                </a:lnTo>
                <a:lnTo>
                  <a:pt x="11188" y="3286"/>
                </a:lnTo>
                <a:lnTo>
                  <a:pt x="11186" y="3286"/>
                </a:lnTo>
                <a:close/>
                <a:moveTo>
                  <a:pt x="11198" y="3196"/>
                </a:moveTo>
                <a:lnTo>
                  <a:pt x="11198" y="3196"/>
                </a:lnTo>
                <a:lnTo>
                  <a:pt x="11196" y="3198"/>
                </a:lnTo>
                <a:lnTo>
                  <a:pt x="11196" y="3200"/>
                </a:lnTo>
                <a:lnTo>
                  <a:pt x="11198" y="3204"/>
                </a:lnTo>
                <a:lnTo>
                  <a:pt x="11202" y="3206"/>
                </a:lnTo>
                <a:lnTo>
                  <a:pt x="11202" y="3204"/>
                </a:lnTo>
                <a:lnTo>
                  <a:pt x="11202" y="3202"/>
                </a:lnTo>
                <a:lnTo>
                  <a:pt x="11200" y="3198"/>
                </a:lnTo>
                <a:lnTo>
                  <a:pt x="11198" y="3196"/>
                </a:lnTo>
                <a:close/>
                <a:moveTo>
                  <a:pt x="11290" y="3284"/>
                </a:moveTo>
                <a:lnTo>
                  <a:pt x="11290" y="3284"/>
                </a:lnTo>
                <a:lnTo>
                  <a:pt x="11288" y="3288"/>
                </a:lnTo>
                <a:lnTo>
                  <a:pt x="11286" y="3292"/>
                </a:lnTo>
                <a:lnTo>
                  <a:pt x="11288" y="3296"/>
                </a:lnTo>
                <a:lnTo>
                  <a:pt x="11290" y="3296"/>
                </a:lnTo>
                <a:lnTo>
                  <a:pt x="11292" y="3296"/>
                </a:lnTo>
                <a:lnTo>
                  <a:pt x="11294" y="3292"/>
                </a:lnTo>
                <a:lnTo>
                  <a:pt x="11296" y="3286"/>
                </a:lnTo>
                <a:lnTo>
                  <a:pt x="11294" y="3284"/>
                </a:lnTo>
                <a:lnTo>
                  <a:pt x="11292" y="3282"/>
                </a:lnTo>
                <a:lnTo>
                  <a:pt x="11290" y="3284"/>
                </a:lnTo>
                <a:close/>
                <a:moveTo>
                  <a:pt x="11268" y="3290"/>
                </a:moveTo>
                <a:lnTo>
                  <a:pt x="11268" y="3290"/>
                </a:lnTo>
                <a:lnTo>
                  <a:pt x="11266" y="3288"/>
                </a:lnTo>
                <a:lnTo>
                  <a:pt x="11264" y="3286"/>
                </a:lnTo>
                <a:lnTo>
                  <a:pt x="11260" y="3286"/>
                </a:lnTo>
                <a:lnTo>
                  <a:pt x="11258" y="3288"/>
                </a:lnTo>
                <a:lnTo>
                  <a:pt x="11260" y="3290"/>
                </a:lnTo>
                <a:lnTo>
                  <a:pt x="11264" y="3296"/>
                </a:lnTo>
                <a:lnTo>
                  <a:pt x="11266" y="3296"/>
                </a:lnTo>
                <a:lnTo>
                  <a:pt x="11268" y="3294"/>
                </a:lnTo>
                <a:lnTo>
                  <a:pt x="11268" y="3290"/>
                </a:lnTo>
                <a:close/>
                <a:moveTo>
                  <a:pt x="11210" y="3328"/>
                </a:moveTo>
                <a:lnTo>
                  <a:pt x="11210" y="3328"/>
                </a:lnTo>
                <a:lnTo>
                  <a:pt x="11212" y="3326"/>
                </a:lnTo>
                <a:lnTo>
                  <a:pt x="11206" y="3326"/>
                </a:lnTo>
                <a:lnTo>
                  <a:pt x="11206" y="3328"/>
                </a:lnTo>
                <a:lnTo>
                  <a:pt x="11208" y="3330"/>
                </a:lnTo>
                <a:lnTo>
                  <a:pt x="11210" y="3328"/>
                </a:lnTo>
                <a:close/>
                <a:moveTo>
                  <a:pt x="11204" y="3142"/>
                </a:moveTo>
                <a:lnTo>
                  <a:pt x="11204" y="3142"/>
                </a:lnTo>
                <a:lnTo>
                  <a:pt x="11206" y="3140"/>
                </a:lnTo>
                <a:lnTo>
                  <a:pt x="11206" y="3136"/>
                </a:lnTo>
                <a:lnTo>
                  <a:pt x="11204" y="3132"/>
                </a:lnTo>
                <a:lnTo>
                  <a:pt x="11200" y="3130"/>
                </a:lnTo>
                <a:lnTo>
                  <a:pt x="11198" y="3130"/>
                </a:lnTo>
                <a:lnTo>
                  <a:pt x="11198" y="3134"/>
                </a:lnTo>
                <a:lnTo>
                  <a:pt x="11200" y="3138"/>
                </a:lnTo>
                <a:lnTo>
                  <a:pt x="11204" y="3142"/>
                </a:lnTo>
                <a:close/>
                <a:moveTo>
                  <a:pt x="11018" y="4302"/>
                </a:moveTo>
                <a:lnTo>
                  <a:pt x="11018" y="4302"/>
                </a:lnTo>
                <a:lnTo>
                  <a:pt x="11016" y="4304"/>
                </a:lnTo>
                <a:lnTo>
                  <a:pt x="11016" y="4308"/>
                </a:lnTo>
                <a:lnTo>
                  <a:pt x="11020" y="4318"/>
                </a:lnTo>
                <a:lnTo>
                  <a:pt x="11022" y="4324"/>
                </a:lnTo>
                <a:lnTo>
                  <a:pt x="11024" y="4324"/>
                </a:lnTo>
                <a:lnTo>
                  <a:pt x="11026" y="4320"/>
                </a:lnTo>
                <a:lnTo>
                  <a:pt x="11024" y="4314"/>
                </a:lnTo>
                <a:lnTo>
                  <a:pt x="11022" y="4304"/>
                </a:lnTo>
                <a:lnTo>
                  <a:pt x="11020" y="4302"/>
                </a:lnTo>
                <a:lnTo>
                  <a:pt x="11018" y="4302"/>
                </a:lnTo>
                <a:close/>
                <a:moveTo>
                  <a:pt x="11110" y="4376"/>
                </a:moveTo>
                <a:lnTo>
                  <a:pt x="11110" y="4376"/>
                </a:lnTo>
                <a:lnTo>
                  <a:pt x="11112" y="4378"/>
                </a:lnTo>
                <a:lnTo>
                  <a:pt x="11116" y="4376"/>
                </a:lnTo>
                <a:lnTo>
                  <a:pt x="11120" y="4372"/>
                </a:lnTo>
                <a:lnTo>
                  <a:pt x="11122" y="4366"/>
                </a:lnTo>
                <a:lnTo>
                  <a:pt x="11122" y="4362"/>
                </a:lnTo>
                <a:lnTo>
                  <a:pt x="11120" y="4360"/>
                </a:lnTo>
                <a:lnTo>
                  <a:pt x="11118" y="4358"/>
                </a:lnTo>
                <a:lnTo>
                  <a:pt x="11116" y="4356"/>
                </a:lnTo>
                <a:lnTo>
                  <a:pt x="11114" y="4352"/>
                </a:lnTo>
                <a:lnTo>
                  <a:pt x="11112" y="4350"/>
                </a:lnTo>
                <a:lnTo>
                  <a:pt x="11110" y="4352"/>
                </a:lnTo>
                <a:lnTo>
                  <a:pt x="11110" y="4360"/>
                </a:lnTo>
                <a:lnTo>
                  <a:pt x="11110" y="4368"/>
                </a:lnTo>
                <a:lnTo>
                  <a:pt x="11108" y="4370"/>
                </a:lnTo>
                <a:lnTo>
                  <a:pt x="11108" y="4372"/>
                </a:lnTo>
                <a:lnTo>
                  <a:pt x="11110" y="4376"/>
                </a:lnTo>
                <a:close/>
                <a:moveTo>
                  <a:pt x="11116" y="4478"/>
                </a:moveTo>
                <a:lnTo>
                  <a:pt x="11116" y="4478"/>
                </a:lnTo>
                <a:lnTo>
                  <a:pt x="11118" y="4480"/>
                </a:lnTo>
                <a:lnTo>
                  <a:pt x="11120" y="4484"/>
                </a:lnTo>
                <a:lnTo>
                  <a:pt x="11122" y="4490"/>
                </a:lnTo>
                <a:lnTo>
                  <a:pt x="11122" y="4494"/>
                </a:lnTo>
                <a:lnTo>
                  <a:pt x="11122" y="4498"/>
                </a:lnTo>
                <a:lnTo>
                  <a:pt x="11122" y="4500"/>
                </a:lnTo>
                <a:lnTo>
                  <a:pt x="11120" y="4504"/>
                </a:lnTo>
                <a:lnTo>
                  <a:pt x="11120" y="4506"/>
                </a:lnTo>
                <a:lnTo>
                  <a:pt x="11122" y="4508"/>
                </a:lnTo>
                <a:lnTo>
                  <a:pt x="11126" y="4508"/>
                </a:lnTo>
                <a:lnTo>
                  <a:pt x="11128" y="4506"/>
                </a:lnTo>
                <a:lnTo>
                  <a:pt x="11128" y="4504"/>
                </a:lnTo>
                <a:lnTo>
                  <a:pt x="11130" y="4504"/>
                </a:lnTo>
                <a:lnTo>
                  <a:pt x="11134" y="4506"/>
                </a:lnTo>
                <a:lnTo>
                  <a:pt x="11136" y="4514"/>
                </a:lnTo>
                <a:lnTo>
                  <a:pt x="11136" y="4518"/>
                </a:lnTo>
                <a:lnTo>
                  <a:pt x="11136" y="4522"/>
                </a:lnTo>
                <a:lnTo>
                  <a:pt x="11134" y="4528"/>
                </a:lnTo>
                <a:lnTo>
                  <a:pt x="11136" y="4530"/>
                </a:lnTo>
                <a:lnTo>
                  <a:pt x="11136" y="4534"/>
                </a:lnTo>
                <a:lnTo>
                  <a:pt x="11136" y="4538"/>
                </a:lnTo>
                <a:lnTo>
                  <a:pt x="11134" y="4542"/>
                </a:lnTo>
                <a:lnTo>
                  <a:pt x="11136" y="4544"/>
                </a:lnTo>
                <a:lnTo>
                  <a:pt x="11144" y="4548"/>
                </a:lnTo>
                <a:lnTo>
                  <a:pt x="11146" y="4550"/>
                </a:lnTo>
                <a:lnTo>
                  <a:pt x="11146" y="4548"/>
                </a:lnTo>
                <a:lnTo>
                  <a:pt x="11146" y="4544"/>
                </a:lnTo>
                <a:lnTo>
                  <a:pt x="11144" y="4538"/>
                </a:lnTo>
                <a:lnTo>
                  <a:pt x="11144" y="4534"/>
                </a:lnTo>
                <a:lnTo>
                  <a:pt x="11146" y="4534"/>
                </a:lnTo>
                <a:lnTo>
                  <a:pt x="11148" y="4536"/>
                </a:lnTo>
                <a:lnTo>
                  <a:pt x="11148" y="4542"/>
                </a:lnTo>
                <a:lnTo>
                  <a:pt x="11152" y="4548"/>
                </a:lnTo>
                <a:lnTo>
                  <a:pt x="11154" y="4552"/>
                </a:lnTo>
                <a:lnTo>
                  <a:pt x="11158" y="4554"/>
                </a:lnTo>
                <a:lnTo>
                  <a:pt x="11158" y="4552"/>
                </a:lnTo>
                <a:lnTo>
                  <a:pt x="11154" y="4544"/>
                </a:lnTo>
                <a:lnTo>
                  <a:pt x="11154" y="4542"/>
                </a:lnTo>
                <a:lnTo>
                  <a:pt x="11154" y="4540"/>
                </a:lnTo>
                <a:lnTo>
                  <a:pt x="11156" y="4538"/>
                </a:lnTo>
                <a:lnTo>
                  <a:pt x="11158" y="4536"/>
                </a:lnTo>
                <a:lnTo>
                  <a:pt x="11156" y="4532"/>
                </a:lnTo>
                <a:lnTo>
                  <a:pt x="11154" y="4528"/>
                </a:lnTo>
                <a:lnTo>
                  <a:pt x="11154" y="4524"/>
                </a:lnTo>
                <a:lnTo>
                  <a:pt x="11152" y="4522"/>
                </a:lnTo>
                <a:lnTo>
                  <a:pt x="11150" y="4518"/>
                </a:lnTo>
                <a:lnTo>
                  <a:pt x="11148" y="4516"/>
                </a:lnTo>
                <a:lnTo>
                  <a:pt x="11148" y="4512"/>
                </a:lnTo>
                <a:lnTo>
                  <a:pt x="11148" y="4504"/>
                </a:lnTo>
                <a:lnTo>
                  <a:pt x="11148" y="4496"/>
                </a:lnTo>
                <a:lnTo>
                  <a:pt x="11146" y="4492"/>
                </a:lnTo>
                <a:lnTo>
                  <a:pt x="11144" y="4490"/>
                </a:lnTo>
                <a:lnTo>
                  <a:pt x="11144" y="4488"/>
                </a:lnTo>
                <a:lnTo>
                  <a:pt x="11144" y="4486"/>
                </a:lnTo>
                <a:lnTo>
                  <a:pt x="11144" y="4484"/>
                </a:lnTo>
                <a:lnTo>
                  <a:pt x="11140" y="4482"/>
                </a:lnTo>
                <a:lnTo>
                  <a:pt x="11136" y="4484"/>
                </a:lnTo>
                <a:lnTo>
                  <a:pt x="11134" y="4486"/>
                </a:lnTo>
                <a:lnTo>
                  <a:pt x="11132" y="4488"/>
                </a:lnTo>
                <a:lnTo>
                  <a:pt x="11128" y="4486"/>
                </a:lnTo>
                <a:lnTo>
                  <a:pt x="11122" y="4480"/>
                </a:lnTo>
                <a:lnTo>
                  <a:pt x="11120" y="4476"/>
                </a:lnTo>
                <a:lnTo>
                  <a:pt x="11116" y="4478"/>
                </a:lnTo>
                <a:close/>
                <a:moveTo>
                  <a:pt x="11048" y="4532"/>
                </a:moveTo>
                <a:lnTo>
                  <a:pt x="11048" y="4532"/>
                </a:lnTo>
                <a:lnTo>
                  <a:pt x="11050" y="4530"/>
                </a:lnTo>
                <a:lnTo>
                  <a:pt x="11054" y="4526"/>
                </a:lnTo>
                <a:lnTo>
                  <a:pt x="11056" y="4522"/>
                </a:lnTo>
                <a:lnTo>
                  <a:pt x="11054" y="4518"/>
                </a:lnTo>
                <a:lnTo>
                  <a:pt x="11052" y="4516"/>
                </a:lnTo>
                <a:lnTo>
                  <a:pt x="11050" y="4518"/>
                </a:lnTo>
                <a:lnTo>
                  <a:pt x="11048" y="4522"/>
                </a:lnTo>
                <a:lnTo>
                  <a:pt x="11048" y="4524"/>
                </a:lnTo>
                <a:lnTo>
                  <a:pt x="11048" y="4526"/>
                </a:lnTo>
                <a:lnTo>
                  <a:pt x="11046" y="4528"/>
                </a:lnTo>
                <a:lnTo>
                  <a:pt x="11046" y="4530"/>
                </a:lnTo>
                <a:lnTo>
                  <a:pt x="11048" y="4532"/>
                </a:lnTo>
                <a:close/>
                <a:moveTo>
                  <a:pt x="11128" y="4478"/>
                </a:moveTo>
                <a:lnTo>
                  <a:pt x="11128" y="4478"/>
                </a:lnTo>
                <a:lnTo>
                  <a:pt x="11130" y="4478"/>
                </a:lnTo>
                <a:lnTo>
                  <a:pt x="11130" y="4474"/>
                </a:lnTo>
                <a:lnTo>
                  <a:pt x="11128" y="4470"/>
                </a:lnTo>
                <a:lnTo>
                  <a:pt x="11124" y="4468"/>
                </a:lnTo>
                <a:lnTo>
                  <a:pt x="11122" y="4470"/>
                </a:lnTo>
                <a:lnTo>
                  <a:pt x="11122" y="4474"/>
                </a:lnTo>
                <a:lnTo>
                  <a:pt x="11124" y="4476"/>
                </a:lnTo>
                <a:lnTo>
                  <a:pt x="11128" y="4478"/>
                </a:lnTo>
                <a:close/>
                <a:moveTo>
                  <a:pt x="11174" y="4512"/>
                </a:moveTo>
                <a:lnTo>
                  <a:pt x="11174" y="4512"/>
                </a:lnTo>
                <a:lnTo>
                  <a:pt x="11172" y="4514"/>
                </a:lnTo>
                <a:lnTo>
                  <a:pt x="11174" y="4516"/>
                </a:lnTo>
                <a:lnTo>
                  <a:pt x="11176" y="4518"/>
                </a:lnTo>
                <a:lnTo>
                  <a:pt x="11178" y="4518"/>
                </a:lnTo>
                <a:lnTo>
                  <a:pt x="11180" y="4516"/>
                </a:lnTo>
                <a:lnTo>
                  <a:pt x="11178" y="4514"/>
                </a:lnTo>
                <a:lnTo>
                  <a:pt x="11176" y="4512"/>
                </a:lnTo>
                <a:lnTo>
                  <a:pt x="11174" y="4512"/>
                </a:lnTo>
                <a:close/>
                <a:moveTo>
                  <a:pt x="11094" y="4488"/>
                </a:moveTo>
                <a:lnTo>
                  <a:pt x="11094" y="4488"/>
                </a:lnTo>
                <a:lnTo>
                  <a:pt x="11092" y="4490"/>
                </a:lnTo>
                <a:lnTo>
                  <a:pt x="11092" y="4492"/>
                </a:lnTo>
                <a:lnTo>
                  <a:pt x="11094" y="4494"/>
                </a:lnTo>
                <a:lnTo>
                  <a:pt x="11096" y="4496"/>
                </a:lnTo>
                <a:lnTo>
                  <a:pt x="11096" y="4494"/>
                </a:lnTo>
                <a:lnTo>
                  <a:pt x="11096" y="4490"/>
                </a:lnTo>
                <a:lnTo>
                  <a:pt x="11096" y="4488"/>
                </a:lnTo>
                <a:lnTo>
                  <a:pt x="11094" y="4488"/>
                </a:lnTo>
                <a:close/>
                <a:moveTo>
                  <a:pt x="11036" y="4720"/>
                </a:moveTo>
                <a:lnTo>
                  <a:pt x="11036" y="4720"/>
                </a:lnTo>
                <a:lnTo>
                  <a:pt x="11034" y="4716"/>
                </a:lnTo>
                <a:lnTo>
                  <a:pt x="11026" y="4712"/>
                </a:lnTo>
                <a:lnTo>
                  <a:pt x="11024" y="4712"/>
                </a:lnTo>
                <a:lnTo>
                  <a:pt x="11020" y="4712"/>
                </a:lnTo>
                <a:lnTo>
                  <a:pt x="11018" y="4714"/>
                </a:lnTo>
                <a:lnTo>
                  <a:pt x="11018" y="4718"/>
                </a:lnTo>
                <a:lnTo>
                  <a:pt x="11020" y="4724"/>
                </a:lnTo>
                <a:lnTo>
                  <a:pt x="11022" y="4726"/>
                </a:lnTo>
                <a:lnTo>
                  <a:pt x="11024" y="4726"/>
                </a:lnTo>
                <a:lnTo>
                  <a:pt x="11028" y="4726"/>
                </a:lnTo>
                <a:lnTo>
                  <a:pt x="11034" y="4724"/>
                </a:lnTo>
                <a:lnTo>
                  <a:pt x="11036" y="4720"/>
                </a:lnTo>
                <a:close/>
                <a:moveTo>
                  <a:pt x="10980" y="4746"/>
                </a:moveTo>
                <a:lnTo>
                  <a:pt x="10980" y="4746"/>
                </a:lnTo>
                <a:lnTo>
                  <a:pt x="10978" y="4750"/>
                </a:lnTo>
                <a:lnTo>
                  <a:pt x="10980" y="4752"/>
                </a:lnTo>
                <a:lnTo>
                  <a:pt x="10982" y="4752"/>
                </a:lnTo>
                <a:lnTo>
                  <a:pt x="10988" y="4752"/>
                </a:lnTo>
                <a:lnTo>
                  <a:pt x="10992" y="4752"/>
                </a:lnTo>
                <a:lnTo>
                  <a:pt x="10996" y="4752"/>
                </a:lnTo>
                <a:lnTo>
                  <a:pt x="11000" y="4750"/>
                </a:lnTo>
                <a:lnTo>
                  <a:pt x="11000" y="4748"/>
                </a:lnTo>
                <a:lnTo>
                  <a:pt x="10998" y="4746"/>
                </a:lnTo>
                <a:lnTo>
                  <a:pt x="10994" y="4744"/>
                </a:lnTo>
                <a:lnTo>
                  <a:pt x="10992" y="4740"/>
                </a:lnTo>
                <a:lnTo>
                  <a:pt x="10988" y="4740"/>
                </a:lnTo>
                <a:lnTo>
                  <a:pt x="10986" y="4740"/>
                </a:lnTo>
                <a:lnTo>
                  <a:pt x="10984" y="4742"/>
                </a:lnTo>
                <a:lnTo>
                  <a:pt x="10980" y="4746"/>
                </a:lnTo>
                <a:close/>
                <a:moveTo>
                  <a:pt x="11090" y="4588"/>
                </a:moveTo>
                <a:lnTo>
                  <a:pt x="11090" y="4588"/>
                </a:lnTo>
                <a:lnTo>
                  <a:pt x="11088" y="4590"/>
                </a:lnTo>
                <a:lnTo>
                  <a:pt x="11084" y="4590"/>
                </a:lnTo>
                <a:lnTo>
                  <a:pt x="11084" y="4592"/>
                </a:lnTo>
                <a:lnTo>
                  <a:pt x="11086" y="4594"/>
                </a:lnTo>
                <a:lnTo>
                  <a:pt x="11090" y="4596"/>
                </a:lnTo>
                <a:lnTo>
                  <a:pt x="11092" y="4596"/>
                </a:lnTo>
                <a:lnTo>
                  <a:pt x="11094" y="4592"/>
                </a:lnTo>
                <a:lnTo>
                  <a:pt x="11094" y="4590"/>
                </a:lnTo>
                <a:lnTo>
                  <a:pt x="11092" y="4588"/>
                </a:lnTo>
                <a:lnTo>
                  <a:pt x="11090" y="4588"/>
                </a:lnTo>
                <a:close/>
                <a:moveTo>
                  <a:pt x="11132" y="4588"/>
                </a:moveTo>
                <a:lnTo>
                  <a:pt x="11132" y="4588"/>
                </a:lnTo>
                <a:lnTo>
                  <a:pt x="11130" y="4592"/>
                </a:lnTo>
                <a:lnTo>
                  <a:pt x="11132" y="4594"/>
                </a:lnTo>
                <a:lnTo>
                  <a:pt x="11134" y="4596"/>
                </a:lnTo>
                <a:lnTo>
                  <a:pt x="11138" y="4596"/>
                </a:lnTo>
                <a:lnTo>
                  <a:pt x="11140" y="4594"/>
                </a:lnTo>
                <a:lnTo>
                  <a:pt x="11138" y="4590"/>
                </a:lnTo>
                <a:lnTo>
                  <a:pt x="11134" y="4588"/>
                </a:lnTo>
                <a:lnTo>
                  <a:pt x="11132" y="4588"/>
                </a:lnTo>
                <a:close/>
                <a:moveTo>
                  <a:pt x="11030" y="4434"/>
                </a:moveTo>
                <a:lnTo>
                  <a:pt x="11030" y="4434"/>
                </a:lnTo>
                <a:lnTo>
                  <a:pt x="11032" y="4424"/>
                </a:lnTo>
                <a:lnTo>
                  <a:pt x="11030" y="4422"/>
                </a:lnTo>
                <a:lnTo>
                  <a:pt x="11026" y="4422"/>
                </a:lnTo>
                <a:lnTo>
                  <a:pt x="11024" y="4424"/>
                </a:lnTo>
                <a:lnTo>
                  <a:pt x="11024" y="4426"/>
                </a:lnTo>
                <a:lnTo>
                  <a:pt x="11026" y="4430"/>
                </a:lnTo>
                <a:lnTo>
                  <a:pt x="11022" y="4436"/>
                </a:lnTo>
                <a:lnTo>
                  <a:pt x="11022" y="4440"/>
                </a:lnTo>
                <a:lnTo>
                  <a:pt x="11024" y="4442"/>
                </a:lnTo>
                <a:lnTo>
                  <a:pt x="11028" y="4440"/>
                </a:lnTo>
                <a:lnTo>
                  <a:pt x="11030" y="4434"/>
                </a:lnTo>
                <a:close/>
                <a:moveTo>
                  <a:pt x="11026" y="4392"/>
                </a:moveTo>
                <a:lnTo>
                  <a:pt x="11026" y="4392"/>
                </a:lnTo>
                <a:lnTo>
                  <a:pt x="11028" y="4390"/>
                </a:lnTo>
                <a:lnTo>
                  <a:pt x="11030" y="4384"/>
                </a:lnTo>
                <a:lnTo>
                  <a:pt x="11028" y="4380"/>
                </a:lnTo>
                <a:lnTo>
                  <a:pt x="11026" y="4378"/>
                </a:lnTo>
                <a:lnTo>
                  <a:pt x="11024" y="4378"/>
                </a:lnTo>
                <a:lnTo>
                  <a:pt x="11020" y="4376"/>
                </a:lnTo>
                <a:lnTo>
                  <a:pt x="11018" y="4378"/>
                </a:lnTo>
                <a:lnTo>
                  <a:pt x="11018" y="4384"/>
                </a:lnTo>
                <a:lnTo>
                  <a:pt x="11018" y="4388"/>
                </a:lnTo>
                <a:lnTo>
                  <a:pt x="11020" y="4392"/>
                </a:lnTo>
                <a:lnTo>
                  <a:pt x="11024" y="4392"/>
                </a:lnTo>
                <a:lnTo>
                  <a:pt x="11026" y="4392"/>
                </a:lnTo>
                <a:close/>
                <a:moveTo>
                  <a:pt x="11052" y="4436"/>
                </a:moveTo>
                <a:lnTo>
                  <a:pt x="11052" y="4436"/>
                </a:lnTo>
                <a:lnTo>
                  <a:pt x="11052" y="4432"/>
                </a:lnTo>
                <a:lnTo>
                  <a:pt x="11050" y="4428"/>
                </a:lnTo>
                <a:lnTo>
                  <a:pt x="11046" y="4428"/>
                </a:lnTo>
                <a:lnTo>
                  <a:pt x="11042" y="4430"/>
                </a:lnTo>
                <a:lnTo>
                  <a:pt x="11042" y="4432"/>
                </a:lnTo>
                <a:lnTo>
                  <a:pt x="11042" y="4434"/>
                </a:lnTo>
                <a:lnTo>
                  <a:pt x="11044" y="4436"/>
                </a:lnTo>
                <a:lnTo>
                  <a:pt x="11048" y="4440"/>
                </a:lnTo>
                <a:lnTo>
                  <a:pt x="11050" y="4440"/>
                </a:lnTo>
                <a:lnTo>
                  <a:pt x="11052" y="4436"/>
                </a:lnTo>
                <a:close/>
                <a:moveTo>
                  <a:pt x="11074" y="4410"/>
                </a:moveTo>
                <a:lnTo>
                  <a:pt x="11074" y="4410"/>
                </a:lnTo>
                <a:lnTo>
                  <a:pt x="11072" y="4406"/>
                </a:lnTo>
                <a:lnTo>
                  <a:pt x="11070" y="4402"/>
                </a:lnTo>
                <a:lnTo>
                  <a:pt x="11066" y="4398"/>
                </a:lnTo>
                <a:lnTo>
                  <a:pt x="11064" y="4398"/>
                </a:lnTo>
                <a:lnTo>
                  <a:pt x="11062" y="4400"/>
                </a:lnTo>
                <a:lnTo>
                  <a:pt x="11062" y="4402"/>
                </a:lnTo>
                <a:lnTo>
                  <a:pt x="11066" y="4406"/>
                </a:lnTo>
                <a:lnTo>
                  <a:pt x="11068" y="4410"/>
                </a:lnTo>
                <a:lnTo>
                  <a:pt x="11072" y="4414"/>
                </a:lnTo>
                <a:lnTo>
                  <a:pt x="11078" y="4420"/>
                </a:lnTo>
                <a:lnTo>
                  <a:pt x="11080" y="4420"/>
                </a:lnTo>
                <a:lnTo>
                  <a:pt x="11080" y="4418"/>
                </a:lnTo>
                <a:lnTo>
                  <a:pt x="11078" y="4416"/>
                </a:lnTo>
                <a:lnTo>
                  <a:pt x="11076" y="4412"/>
                </a:lnTo>
                <a:lnTo>
                  <a:pt x="11074" y="4410"/>
                </a:lnTo>
                <a:close/>
                <a:moveTo>
                  <a:pt x="11098" y="4436"/>
                </a:moveTo>
                <a:lnTo>
                  <a:pt x="11098" y="4436"/>
                </a:lnTo>
                <a:lnTo>
                  <a:pt x="11098" y="4434"/>
                </a:lnTo>
                <a:lnTo>
                  <a:pt x="11096" y="4428"/>
                </a:lnTo>
                <a:lnTo>
                  <a:pt x="11092" y="4422"/>
                </a:lnTo>
                <a:lnTo>
                  <a:pt x="11090" y="4420"/>
                </a:lnTo>
                <a:lnTo>
                  <a:pt x="11088" y="4422"/>
                </a:lnTo>
                <a:lnTo>
                  <a:pt x="11090" y="4424"/>
                </a:lnTo>
                <a:lnTo>
                  <a:pt x="11092" y="4430"/>
                </a:lnTo>
                <a:lnTo>
                  <a:pt x="11098" y="4436"/>
                </a:lnTo>
                <a:close/>
                <a:moveTo>
                  <a:pt x="10946" y="4524"/>
                </a:moveTo>
                <a:lnTo>
                  <a:pt x="10946" y="4524"/>
                </a:lnTo>
                <a:lnTo>
                  <a:pt x="10946" y="4522"/>
                </a:lnTo>
                <a:lnTo>
                  <a:pt x="10944" y="4520"/>
                </a:lnTo>
                <a:lnTo>
                  <a:pt x="10940" y="4520"/>
                </a:lnTo>
                <a:lnTo>
                  <a:pt x="10936" y="4526"/>
                </a:lnTo>
                <a:lnTo>
                  <a:pt x="10936" y="4530"/>
                </a:lnTo>
                <a:lnTo>
                  <a:pt x="10940" y="4528"/>
                </a:lnTo>
                <a:lnTo>
                  <a:pt x="10946" y="4524"/>
                </a:lnTo>
                <a:close/>
                <a:moveTo>
                  <a:pt x="11172" y="4532"/>
                </a:moveTo>
                <a:lnTo>
                  <a:pt x="11172" y="4532"/>
                </a:lnTo>
                <a:lnTo>
                  <a:pt x="11172" y="4530"/>
                </a:lnTo>
                <a:lnTo>
                  <a:pt x="11170" y="4528"/>
                </a:lnTo>
                <a:lnTo>
                  <a:pt x="11168" y="4534"/>
                </a:lnTo>
                <a:lnTo>
                  <a:pt x="11166" y="4544"/>
                </a:lnTo>
                <a:lnTo>
                  <a:pt x="11168" y="4550"/>
                </a:lnTo>
                <a:lnTo>
                  <a:pt x="11170" y="4554"/>
                </a:lnTo>
                <a:lnTo>
                  <a:pt x="11174" y="4556"/>
                </a:lnTo>
                <a:lnTo>
                  <a:pt x="11174" y="4558"/>
                </a:lnTo>
                <a:lnTo>
                  <a:pt x="11176" y="4552"/>
                </a:lnTo>
                <a:lnTo>
                  <a:pt x="11172" y="4532"/>
                </a:lnTo>
                <a:close/>
                <a:moveTo>
                  <a:pt x="11186" y="4554"/>
                </a:moveTo>
                <a:lnTo>
                  <a:pt x="11186" y="4554"/>
                </a:lnTo>
                <a:lnTo>
                  <a:pt x="11184" y="4558"/>
                </a:lnTo>
                <a:lnTo>
                  <a:pt x="11184" y="4560"/>
                </a:lnTo>
                <a:lnTo>
                  <a:pt x="11186" y="4562"/>
                </a:lnTo>
                <a:lnTo>
                  <a:pt x="11188" y="4562"/>
                </a:lnTo>
                <a:lnTo>
                  <a:pt x="11192" y="4562"/>
                </a:lnTo>
                <a:lnTo>
                  <a:pt x="11192" y="4558"/>
                </a:lnTo>
                <a:lnTo>
                  <a:pt x="11192" y="4556"/>
                </a:lnTo>
                <a:lnTo>
                  <a:pt x="11188" y="4548"/>
                </a:lnTo>
                <a:lnTo>
                  <a:pt x="11186" y="4554"/>
                </a:lnTo>
                <a:close/>
                <a:moveTo>
                  <a:pt x="11082" y="4530"/>
                </a:moveTo>
                <a:lnTo>
                  <a:pt x="11082" y="4530"/>
                </a:lnTo>
                <a:lnTo>
                  <a:pt x="11086" y="4520"/>
                </a:lnTo>
                <a:lnTo>
                  <a:pt x="11086" y="4512"/>
                </a:lnTo>
                <a:lnTo>
                  <a:pt x="11086" y="4506"/>
                </a:lnTo>
                <a:lnTo>
                  <a:pt x="11084" y="4504"/>
                </a:lnTo>
                <a:lnTo>
                  <a:pt x="11082" y="4504"/>
                </a:lnTo>
                <a:lnTo>
                  <a:pt x="11078" y="4504"/>
                </a:lnTo>
                <a:lnTo>
                  <a:pt x="11076" y="4504"/>
                </a:lnTo>
                <a:lnTo>
                  <a:pt x="11072" y="4504"/>
                </a:lnTo>
                <a:lnTo>
                  <a:pt x="11068" y="4506"/>
                </a:lnTo>
                <a:lnTo>
                  <a:pt x="11064" y="4508"/>
                </a:lnTo>
                <a:lnTo>
                  <a:pt x="11064" y="4510"/>
                </a:lnTo>
                <a:lnTo>
                  <a:pt x="11064" y="4516"/>
                </a:lnTo>
                <a:lnTo>
                  <a:pt x="11064" y="4520"/>
                </a:lnTo>
                <a:lnTo>
                  <a:pt x="11062" y="4522"/>
                </a:lnTo>
                <a:lnTo>
                  <a:pt x="11060" y="4524"/>
                </a:lnTo>
                <a:lnTo>
                  <a:pt x="11058" y="4526"/>
                </a:lnTo>
                <a:lnTo>
                  <a:pt x="11058" y="4528"/>
                </a:lnTo>
                <a:lnTo>
                  <a:pt x="11060" y="4536"/>
                </a:lnTo>
                <a:lnTo>
                  <a:pt x="11062" y="4544"/>
                </a:lnTo>
                <a:lnTo>
                  <a:pt x="11060" y="4548"/>
                </a:lnTo>
                <a:lnTo>
                  <a:pt x="11056" y="4550"/>
                </a:lnTo>
                <a:lnTo>
                  <a:pt x="11052" y="4552"/>
                </a:lnTo>
                <a:lnTo>
                  <a:pt x="11050" y="4552"/>
                </a:lnTo>
                <a:lnTo>
                  <a:pt x="11046" y="4552"/>
                </a:lnTo>
                <a:lnTo>
                  <a:pt x="11044" y="4552"/>
                </a:lnTo>
                <a:lnTo>
                  <a:pt x="11040" y="4558"/>
                </a:lnTo>
                <a:lnTo>
                  <a:pt x="11040" y="4562"/>
                </a:lnTo>
                <a:lnTo>
                  <a:pt x="11044" y="4570"/>
                </a:lnTo>
                <a:lnTo>
                  <a:pt x="11050" y="4578"/>
                </a:lnTo>
                <a:lnTo>
                  <a:pt x="11054" y="4582"/>
                </a:lnTo>
                <a:lnTo>
                  <a:pt x="11058" y="4584"/>
                </a:lnTo>
                <a:lnTo>
                  <a:pt x="11062" y="4590"/>
                </a:lnTo>
                <a:lnTo>
                  <a:pt x="11064" y="4598"/>
                </a:lnTo>
                <a:lnTo>
                  <a:pt x="11066" y="4598"/>
                </a:lnTo>
                <a:lnTo>
                  <a:pt x="11068" y="4598"/>
                </a:lnTo>
                <a:lnTo>
                  <a:pt x="11072" y="4596"/>
                </a:lnTo>
                <a:lnTo>
                  <a:pt x="11076" y="4590"/>
                </a:lnTo>
                <a:lnTo>
                  <a:pt x="11078" y="4588"/>
                </a:lnTo>
                <a:lnTo>
                  <a:pt x="11078" y="4584"/>
                </a:lnTo>
                <a:lnTo>
                  <a:pt x="11074" y="4574"/>
                </a:lnTo>
                <a:lnTo>
                  <a:pt x="11072" y="4564"/>
                </a:lnTo>
                <a:lnTo>
                  <a:pt x="11072" y="4560"/>
                </a:lnTo>
                <a:lnTo>
                  <a:pt x="11074" y="4554"/>
                </a:lnTo>
                <a:lnTo>
                  <a:pt x="11076" y="4548"/>
                </a:lnTo>
                <a:lnTo>
                  <a:pt x="11076" y="4542"/>
                </a:lnTo>
                <a:lnTo>
                  <a:pt x="11078" y="4538"/>
                </a:lnTo>
                <a:lnTo>
                  <a:pt x="11082" y="4530"/>
                </a:lnTo>
                <a:close/>
                <a:moveTo>
                  <a:pt x="11084" y="4428"/>
                </a:moveTo>
                <a:lnTo>
                  <a:pt x="11084" y="4428"/>
                </a:lnTo>
                <a:lnTo>
                  <a:pt x="11082" y="4428"/>
                </a:lnTo>
                <a:lnTo>
                  <a:pt x="11078" y="4428"/>
                </a:lnTo>
                <a:lnTo>
                  <a:pt x="11076" y="4428"/>
                </a:lnTo>
                <a:lnTo>
                  <a:pt x="11076" y="4430"/>
                </a:lnTo>
                <a:lnTo>
                  <a:pt x="11076" y="4436"/>
                </a:lnTo>
                <a:lnTo>
                  <a:pt x="11076" y="4442"/>
                </a:lnTo>
                <a:lnTo>
                  <a:pt x="11070" y="4456"/>
                </a:lnTo>
                <a:lnTo>
                  <a:pt x="11070" y="4458"/>
                </a:lnTo>
                <a:lnTo>
                  <a:pt x="11072" y="4456"/>
                </a:lnTo>
                <a:lnTo>
                  <a:pt x="11076" y="4454"/>
                </a:lnTo>
                <a:lnTo>
                  <a:pt x="11084" y="4444"/>
                </a:lnTo>
                <a:lnTo>
                  <a:pt x="11086" y="4444"/>
                </a:lnTo>
                <a:lnTo>
                  <a:pt x="11088" y="4444"/>
                </a:lnTo>
                <a:lnTo>
                  <a:pt x="11090" y="4450"/>
                </a:lnTo>
                <a:lnTo>
                  <a:pt x="11094" y="4456"/>
                </a:lnTo>
                <a:lnTo>
                  <a:pt x="11094" y="4458"/>
                </a:lnTo>
                <a:lnTo>
                  <a:pt x="11096" y="4458"/>
                </a:lnTo>
                <a:lnTo>
                  <a:pt x="11102" y="4462"/>
                </a:lnTo>
                <a:lnTo>
                  <a:pt x="11106" y="4464"/>
                </a:lnTo>
                <a:lnTo>
                  <a:pt x="11110" y="4468"/>
                </a:lnTo>
                <a:lnTo>
                  <a:pt x="11108" y="4464"/>
                </a:lnTo>
                <a:lnTo>
                  <a:pt x="11106" y="4458"/>
                </a:lnTo>
                <a:lnTo>
                  <a:pt x="11104" y="4450"/>
                </a:lnTo>
                <a:lnTo>
                  <a:pt x="11102" y="4446"/>
                </a:lnTo>
                <a:lnTo>
                  <a:pt x="11098" y="4442"/>
                </a:lnTo>
                <a:lnTo>
                  <a:pt x="11094" y="4438"/>
                </a:lnTo>
                <a:lnTo>
                  <a:pt x="11090" y="4434"/>
                </a:lnTo>
                <a:lnTo>
                  <a:pt x="11086" y="4430"/>
                </a:lnTo>
                <a:lnTo>
                  <a:pt x="11084" y="4428"/>
                </a:lnTo>
                <a:close/>
                <a:moveTo>
                  <a:pt x="11108" y="4522"/>
                </a:moveTo>
                <a:lnTo>
                  <a:pt x="11108" y="4522"/>
                </a:lnTo>
                <a:lnTo>
                  <a:pt x="11108" y="4518"/>
                </a:lnTo>
                <a:lnTo>
                  <a:pt x="11108" y="4512"/>
                </a:lnTo>
                <a:lnTo>
                  <a:pt x="11110" y="4510"/>
                </a:lnTo>
                <a:lnTo>
                  <a:pt x="11110" y="4506"/>
                </a:lnTo>
                <a:lnTo>
                  <a:pt x="11108" y="4500"/>
                </a:lnTo>
                <a:lnTo>
                  <a:pt x="11108" y="4492"/>
                </a:lnTo>
                <a:lnTo>
                  <a:pt x="11108" y="4490"/>
                </a:lnTo>
                <a:lnTo>
                  <a:pt x="11106" y="4488"/>
                </a:lnTo>
                <a:lnTo>
                  <a:pt x="11104" y="4498"/>
                </a:lnTo>
                <a:lnTo>
                  <a:pt x="11098" y="4512"/>
                </a:lnTo>
                <a:lnTo>
                  <a:pt x="11096" y="4516"/>
                </a:lnTo>
                <a:lnTo>
                  <a:pt x="11094" y="4524"/>
                </a:lnTo>
                <a:lnTo>
                  <a:pt x="11092" y="4534"/>
                </a:lnTo>
                <a:lnTo>
                  <a:pt x="11088" y="4542"/>
                </a:lnTo>
                <a:lnTo>
                  <a:pt x="11084" y="4548"/>
                </a:lnTo>
                <a:lnTo>
                  <a:pt x="11082" y="4552"/>
                </a:lnTo>
                <a:lnTo>
                  <a:pt x="11080" y="4562"/>
                </a:lnTo>
                <a:lnTo>
                  <a:pt x="11078" y="4574"/>
                </a:lnTo>
                <a:lnTo>
                  <a:pt x="11080" y="4578"/>
                </a:lnTo>
                <a:lnTo>
                  <a:pt x="11080" y="4580"/>
                </a:lnTo>
                <a:lnTo>
                  <a:pt x="11080" y="4578"/>
                </a:lnTo>
                <a:lnTo>
                  <a:pt x="11084" y="4574"/>
                </a:lnTo>
                <a:lnTo>
                  <a:pt x="11086" y="4568"/>
                </a:lnTo>
                <a:lnTo>
                  <a:pt x="11088" y="4562"/>
                </a:lnTo>
                <a:lnTo>
                  <a:pt x="11090" y="4558"/>
                </a:lnTo>
                <a:lnTo>
                  <a:pt x="11092" y="4556"/>
                </a:lnTo>
                <a:lnTo>
                  <a:pt x="11092" y="4550"/>
                </a:lnTo>
                <a:lnTo>
                  <a:pt x="11092" y="4548"/>
                </a:lnTo>
                <a:lnTo>
                  <a:pt x="11094" y="4544"/>
                </a:lnTo>
                <a:lnTo>
                  <a:pt x="11100" y="4538"/>
                </a:lnTo>
                <a:lnTo>
                  <a:pt x="11106" y="4532"/>
                </a:lnTo>
                <a:lnTo>
                  <a:pt x="11108" y="4528"/>
                </a:lnTo>
                <a:lnTo>
                  <a:pt x="11108" y="4522"/>
                </a:lnTo>
                <a:close/>
                <a:moveTo>
                  <a:pt x="11114" y="4542"/>
                </a:moveTo>
                <a:lnTo>
                  <a:pt x="11114" y="4542"/>
                </a:lnTo>
                <a:lnTo>
                  <a:pt x="11110" y="4548"/>
                </a:lnTo>
                <a:lnTo>
                  <a:pt x="11104" y="4554"/>
                </a:lnTo>
                <a:lnTo>
                  <a:pt x="11102" y="4556"/>
                </a:lnTo>
                <a:lnTo>
                  <a:pt x="11100" y="4558"/>
                </a:lnTo>
                <a:lnTo>
                  <a:pt x="11098" y="4562"/>
                </a:lnTo>
                <a:lnTo>
                  <a:pt x="11100" y="4568"/>
                </a:lnTo>
                <a:lnTo>
                  <a:pt x="11102" y="4570"/>
                </a:lnTo>
                <a:lnTo>
                  <a:pt x="11106" y="4572"/>
                </a:lnTo>
                <a:lnTo>
                  <a:pt x="11112" y="4572"/>
                </a:lnTo>
                <a:lnTo>
                  <a:pt x="11118" y="4570"/>
                </a:lnTo>
                <a:lnTo>
                  <a:pt x="11122" y="4568"/>
                </a:lnTo>
                <a:lnTo>
                  <a:pt x="11126" y="4566"/>
                </a:lnTo>
                <a:lnTo>
                  <a:pt x="11128" y="4564"/>
                </a:lnTo>
                <a:lnTo>
                  <a:pt x="11130" y="4564"/>
                </a:lnTo>
                <a:lnTo>
                  <a:pt x="11128" y="4560"/>
                </a:lnTo>
                <a:lnTo>
                  <a:pt x="11128" y="4556"/>
                </a:lnTo>
                <a:lnTo>
                  <a:pt x="11130" y="4550"/>
                </a:lnTo>
                <a:lnTo>
                  <a:pt x="11130" y="4546"/>
                </a:lnTo>
                <a:lnTo>
                  <a:pt x="11130" y="4544"/>
                </a:lnTo>
                <a:lnTo>
                  <a:pt x="11128" y="4544"/>
                </a:lnTo>
                <a:lnTo>
                  <a:pt x="11128" y="4546"/>
                </a:lnTo>
                <a:lnTo>
                  <a:pt x="11126" y="4546"/>
                </a:lnTo>
                <a:lnTo>
                  <a:pt x="11122" y="4546"/>
                </a:lnTo>
                <a:lnTo>
                  <a:pt x="11120" y="4544"/>
                </a:lnTo>
                <a:lnTo>
                  <a:pt x="11118" y="4542"/>
                </a:lnTo>
                <a:lnTo>
                  <a:pt x="11116" y="4540"/>
                </a:lnTo>
                <a:lnTo>
                  <a:pt x="11114" y="4542"/>
                </a:lnTo>
                <a:close/>
                <a:moveTo>
                  <a:pt x="11168" y="4562"/>
                </a:moveTo>
                <a:lnTo>
                  <a:pt x="11168" y="4562"/>
                </a:lnTo>
                <a:lnTo>
                  <a:pt x="11164" y="4560"/>
                </a:lnTo>
                <a:lnTo>
                  <a:pt x="11162" y="4560"/>
                </a:lnTo>
                <a:lnTo>
                  <a:pt x="11162" y="4562"/>
                </a:lnTo>
                <a:lnTo>
                  <a:pt x="11166" y="4582"/>
                </a:lnTo>
                <a:lnTo>
                  <a:pt x="11166" y="4596"/>
                </a:lnTo>
                <a:lnTo>
                  <a:pt x="11166" y="4600"/>
                </a:lnTo>
                <a:lnTo>
                  <a:pt x="11164" y="4602"/>
                </a:lnTo>
                <a:lnTo>
                  <a:pt x="11160" y="4600"/>
                </a:lnTo>
                <a:lnTo>
                  <a:pt x="11156" y="4598"/>
                </a:lnTo>
                <a:lnTo>
                  <a:pt x="11154" y="4598"/>
                </a:lnTo>
                <a:lnTo>
                  <a:pt x="11152" y="4598"/>
                </a:lnTo>
                <a:lnTo>
                  <a:pt x="11152" y="4604"/>
                </a:lnTo>
                <a:lnTo>
                  <a:pt x="11150" y="4608"/>
                </a:lnTo>
                <a:lnTo>
                  <a:pt x="11148" y="4608"/>
                </a:lnTo>
                <a:lnTo>
                  <a:pt x="11146" y="4604"/>
                </a:lnTo>
                <a:lnTo>
                  <a:pt x="11142" y="4600"/>
                </a:lnTo>
                <a:lnTo>
                  <a:pt x="11140" y="4600"/>
                </a:lnTo>
                <a:lnTo>
                  <a:pt x="11138" y="4600"/>
                </a:lnTo>
                <a:lnTo>
                  <a:pt x="11138" y="4604"/>
                </a:lnTo>
                <a:lnTo>
                  <a:pt x="11136" y="4622"/>
                </a:lnTo>
                <a:lnTo>
                  <a:pt x="11136" y="4626"/>
                </a:lnTo>
                <a:lnTo>
                  <a:pt x="11134" y="4626"/>
                </a:lnTo>
                <a:lnTo>
                  <a:pt x="11128" y="4622"/>
                </a:lnTo>
                <a:lnTo>
                  <a:pt x="11126" y="4620"/>
                </a:lnTo>
                <a:lnTo>
                  <a:pt x="11122" y="4620"/>
                </a:lnTo>
                <a:lnTo>
                  <a:pt x="11120" y="4622"/>
                </a:lnTo>
                <a:lnTo>
                  <a:pt x="11118" y="4628"/>
                </a:lnTo>
                <a:lnTo>
                  <a:pt x="11114" y="4636"/>
                </a:lnTo>
                <a:lnTo>
                  <a:pt x="11112" y="4640"/>
                </a:lnTo>
                <a:lnTo>
                  <a:pt x="11110" y="4640"/>
                </a:lnTo>
                <a:lnTo>
                  <a:pt x="11104" y="4644"/>
                </a:lnTo>
                <a:lnTo>
                  <a:pt x="11098" y="4646"/>
                </a:lnTo>
                <a:lnTo>
                  <a:pt x="11098" y="4644"/>
                </a:lnTo>
                <a:lnTo>
                  <a:pt x="11100" y="4640"/>
                </a:lnTo>
                <a:lnTo>
                  <a:pt x="11100" y="4632"/>
                </a:lnTo>
                <a:lnTo>
                  <a:pt x="11098" y="4624"/>
                </a:lnTo>
                <a:lnTo>
                  <a:pt x="11096" y="4620"/>
                </a:lnTo>
                <a:lnTo>
                  <a:pt x="11092" y="4618"/>
                </a:lnTo>
                <a:lnTo>
                  <a:pt x="11088" y="4618"/>
                </a:lnTo>
                <a:lnTo>
                  <a:pt x="11086" y="4618"/>
                </a:lnTo>
                <a:lnTo>
                  <a:pt x="11086" y="4616"/>
                </a:lnTo>
                <a:lnTo>
                  <a:pt x="11086" y="4614"/>
                </a:lnTo>
                <a:lnTo>
                  <a:pt x="11084" y="4614"/>
                </a:lnTo>
                <a:lnTo>
                  <a:pt x="11082" y="4614"/>
                </a:lnTo>
                <a:lnTo>
                  <a:pt x="11080" y="4618"/>
                </a:lnTo>
                <a:lnTo>
                  <a:pt x="11078" y="4622"/>
                </a:lnTo>
                <a:lnTo>
                  <a:pt x="11074" y="4622"/>
                </a:lnTo>
                <a:lnTo>
                  <a:pt x="11070" y="4624"/>
                </a:lnTo>
                <a:lnTo>
                  <a:pt x="11066" y="4628"/>
                </a:lnTo>
                <a:lnTo>
                  <a:pt x="11064" y="4632"/>
                </a:lnTo>
                <a:lnTo>
                  <a:pt x="11066" y="4636"/>
                </a:lnTo>
                <a:lnTo>
                  <a:pt x="11066" y="4640"/>
                </a:lnTo>
                <a:lnTo>
                  <a:pt x="11064" y="4642"/>
                </a:lnTo>
                <a:lnTo>
                  <a:pt x="11058" y="4642"/>
                </a:lnTo>
                <a:lnTo>
                  <a:pt x="11054" y="4642"/>
                </a:lnTo>
                <a:lnTo>
                  <a:pt x="11052" y="4640"/>
                </a:lnTo>
                <a:lnTo>
                  <a:pt x="11050" y="4642"/>
                </a:lnTo>
                <a:lnTo>
                  <a:pt x="11048" y="4644"/>
                </a:lnTo>
                <a:lnTo>
                  <a:pt x="11044" y="4646"/>
                </a:lnTo>
                <a:lnTo>
                  <a:pt x="11038" y="4648"/>
                </a:lnTo>
                <a:lnTo>
                  <a:pt x="11034" y="4652"/>
                </a:lnTo>
                <a:lnTo>
                  <a:pt x="11030" y="4658"/>
                </a:lnTo>
                <a:lnTo>
                  <a:pt x="11030" y="4662"/>
                </a:lnTo>
                <a:lnTo>
                  <a:pt x="11028" y="4672"/>
                </a:lnTo>
                <a:lnTo>
                  <a:pt x="11026" y="4678"/>
                </a:lnTo>
                <a:lnTo>
                  <a:pt x="11022" y="4686"/>
                </a:lnTo>
                <a:lnTo>
                  <a:pt x="11022" y="4692"/>
                </a:lnTo>
                <a:lnTo>
                  <a:pt x="11022" y="4694"/>
                </a:lnTo>
                <a:lnTo>
                  <a:pt x="11024" y="4700"/>
                </a:lnTo>
                <a:lnTo>
                  <a:pt x="11028" y="4702"/>
                </a:lnTo>
                <a:lnTo>
                  <a:pt x="11030" y="4704"/>
                </a:lnTo>
                <a:lnTo>
                  <a:pt x="11032" y="4700"/>
                </a:lnTo>
                <a:lnTo>
                  <a:pt x="11036" y="4686"/>
                </a:lnTo>
                <a:lnTo>
                  <a:pt x="11040" y="4680"/>
                </a:lnTo>
                <a:lnTo>
                  <a:pt x="11040" y="4676"/>
                </a:lnTo>
                <a:lnTo>
                  <a:pt x="11040" y="4674"/>
                </a:lnTo>
                <a:lnTo>
                  <a:pt x="11042" y="4674"/>
                </a:lnTo>
                <a:lnTo>
                  <a:pt x="11044" y="4672"/>
                </a:lnTo>
                <a:lnTo>
                  <a:pt x="11046" y="4668"/>
                </a:lnTo>
                <a:lnTo>
                  <a:pt x="11046" y="4666"/>
                </a:lnTo>
                <a:lnTo>
                  <a:pt x="11048" y="4662"/>
                </a:lnTo>
                <a:lnTo>
                  <a:pt x="11052" y="4658"/>
                </a:lnTo>
                <a:lnTo>
                  <a:pt x="11056" y="4660"/>
                </a:lnTo>
                <a:lnTo>
                  <a:pt x="11058" y="4666"/>
                </a:lnTo>
                <a:lnTo>
                  <a:pt x="11056" y="4670"/>
                </a:lnTo>
                <a:lnTo>
                  <a:pt x="11058" y="4674"/>
                </a:lnTo>
                <a:lnTo>
                  <a:pt x="11060" y="4674"/>
                </a:lnTo>
                <a:lnTo>
                  <a:pt x="11066" y="4670"/>
                </a:lnTo>
                <a:lnTo>
                  <a:pt x="11070" y="4664"/>
                </a:lnTo>
                <a:lnTo>
                  <a:pt x="11072" y="4662"/>
                </a:lnTo>
                <a:lnTo>
                  <a:pt x="11072" y="4666"/>
                </a:lnTo>
                <a:lnTo>
                  <a:pt x="11072" y="4672"/>
                </a:lnTo>
                <a:lnTo>
                  <a:pt x="11072" y="4674"/>
                </a:lnTo>
                <a:lnTo>
                  <a:pt x="11074" y="4674"/>
                </a:lnTo>
                <a:lnTo>
                  <a:pt x="11080" y="4678"/>
                </a:lnTo>
                <a:lnTo>
                  <a:pt x="11084" y="4678"/>
                </a:lnTo>
                <a:lnTo>
                  <a:pt x="11082" y="4674"/>
                </a:lnTo>
                <a:lnTo>
                  <a:pt x="11082" y="4670"/>
                </a:lnTo>
                <a:lnTo>
                  <a:pt x="11084" y="4666"/>
                </a:lnTo>
                <a:lnTo>
                  <a:pt x="11086" y="4664"/>
                </a:lnTo>
                <a:lnTo>
                  <a:pt x="11084" y="4662"/>
                </a:lnTo>
                <a:lnTo>
                  <a:pt x="11082" y="4658"/>
                </a:lnTo>
                <a:lnTo>
                  <a:pt x="11084" y="4656"/>
                </a:lnTo>
                <a:lnTo>
                  <a:pt x="11088" y="4656"/>
                </a:lnTo>
                <a:lnTo>
                  <a:pt x="11094" y="4660"/>
                </a:lnTo>
                <a:lnTo>
                  <a:pt x="11098" y="4662"/>
                </a:lnTo>
                <a:lnTo>
                  <a:pt x="11104" y="4664"/>
                </a:lnTo>
                <a:lnTo>
                  <a:pt x="11108" y="4666"/>
                </a:lnTo>
                <a:lnTo>
                  <a:pt x="11110" y="4672"/>
                </a:lnTo>
                <a:lnTo>
                  <a:pt x="11112" y="4676"/>
                </a:lnTo>
                <a:lnTo>
                  <a:pt x="11112" y="4678"/>
                </a:lnTo>
                <a:lnTo>
                  <a:pt x="11114" y="4678"/>
                </a:lnTo>
                <a:lnTo>
                  <a:pt x="11114" y="4680"/>
                </a:lnTo>
                <a:lnTo>
                  <a:pt x="11112" y="4686"/>
                </a:lnTo>
                <a:lnTo>
                  <a:pt x="11108" y="4692"/>
                </a:lnTo>
                <a:lnTo>
                  <a:pt x="11104" y="4698"/>
                </a:lnTo>
                <a:lnTo>
                  <a:pt x="11104" y="4702"/>
                </a:lnTo>
                <a:lnTo>
                  <a:pt x="11104" y="4706"/>
                </a:lnTo>
                <a:lnTo>
                  <a:pt x="11106" y="4718"/>
                </a:lnTo>
                <a:lnTo>
                  <a:pt x="11108" y="4726"/>
                </a:lnTo>
                <a:lnTo>
                  <a:pt x="11110" y="4730"/>
                </a:lnTo>
                <a:lnTo>
                  <a:pt x="11112" y="4734"/>
                </a:lnTo>
                <a:lnTo>
                  <a:pt x="11114" y="4736"/>
                </a:lnTo>
                <a:lnTo>
                  <a:pt x="11116" y="4738"/>
                </a:lnTo>
                <a:lnTo>
                  <a:pt x="11122" y="4742"/>
                </a:lnTo>
                <a:lnTo>
                  <a:pt x="11140" y="4752"/>
                </a:lnTo>
                <a:lnTo>
                  <a:pt x="11146" y="4752"/>
                </a:lnTo>
                <a:lnTo>
                  <a:pt x="11150" y="4748"/>
                </a:lnTo>
                <a:lnTo>
                  <a:pt x="11152" y="4742"/>
                </a:lnTo>
                <a:lnTo>
                  <a:pt x="11154" y="4742"/>
                </a:lnTo>
                <a:lnTo>
                  <a:pt x="11156" y="4744"/>
                </a:lnTo>
                <a:lnTo>
                  <a:pt x="11156" y="4748"/>
                </a:lnTo>
                <a:lnTo>
                  <a:pt x="11154" y="4756"/>
                </a:lnTo>
                <a:lnTo>
                  <a:pt x="11156" y="4764"/>
                </a:lnTo>
                <a:lnTo>
                  <a:pt x="11158" y="4766"/>
                </a:lnTo>
                <a:lnTo>
                  <a:pt x="11160" y="4768"/>
                </a:lnTo>
                <a:lnTo>
                  <a:pt x="11162" y="4766"/>
                </a:lnTo>
                <a:lnTo>
                  <a:pt x="11166" y="4762"/>
                </a:lnTo>
                <a:lnTo>
                  <a:pt x="11170" y="4754"/>
                </a:lnTo>
                <a:lnTo>
                  <a:pt x="11174" y="4746"/>
                </a:lnTo>
                <a:lnTo>
                  <a:pt x="11174" y="4738"/>
                </a:lnTo>
                <a:lnTo>
                  <a:pt x="11172" y="4732"/>
                </a:lnTo>
                <a:lnTo>
                  <a:pt x="11170" y="4722"/>
                </a:lnTo>
                <a:lnTo>
                  <a:pt x="11166" y="4718"/>
                </a:lnTo>
                <a:lnTo>
                  <a:pt x="11164" y="4716"/>
                </a:lnTo>
                <a:lnTo>
                  <a:pt x="11162" y="4716"/>
                </a:lnTo>
                <a:lnTo>
                  <a:pt x="11162" y="4714"/>
                </a:lnTo>
                <a:lnTo>
                  <a:pt x="11162" y="4706"/>
                </a:lnTo>
                <a:lnTo>
                  <a:pt x="11164" y="4700"/>
                </a:lnTo>
                <a:lnTo>
                  <a:pt x="11168" y="4696"/>
                </a:lnTo>
                <a:lnTo>
                  <a:pt x="11172" y="4694"/>
                </a:lnTo>
                <a:lnTo>
                  <a:pt x="11172" y="4690"/>
                </a:lnTo>
                <a:lnTo>
                  <a:pt x="11172" y="4686"/>
                </a:lnTo>
                <a:lnTo>
                  <a:pt x="11176" y="4682"/>
                </a:lnTo>
                <a:lnTo>
                  <a:pt x="11180" y="4682"/>
                </a:lnTo>
                <a:lnTo>
                  <a:pt x="11182" y="4688"/>
                </a:lnTo>
                <a:lnTo>
                  <a:pt x="11184" y="4696"/>
                </a:lnTo>
                <a:lnTo>
                  <a:pt x="11184" y="4700"/>
                </a:lnTo>
                <a:lnTo>
                  <a:pt x="11188" y="4706"/>
                </a:lnTo>
                <a:lnTo>
                  <a:pt x="11190" y="4708"/>
                </a:lnTo>
                <a:lnTo>
                  <a:pt x="11188" y="4712"/>
                </a:lnTo>
                <a:lnTo>
                  <a:pt x="11188" y="4718"/>
                </a:lnTo>
                <a:lnTo>
                  <a:pt x="11192" y="4728"/>
                </a:lnTo>
                <a:lnTo>
                  <a:pt x="11192" y="4730"/>
                </a:lnTo>
                <a:lnTo>
                  <a:pt x="11194" y="4730"/>
                </a:lnTo>
                <a:lnTo>
                  <a:pt x="11196" y="4726"/>
                </a:lnTo>
                <a:lnTo>
                  <a:pt x="11196" y="4716"/>
                </a:lnTo>
                <a:lnTo>
                  <a:pt x="11194" y="4706"/>
                </a:lnTo>
                <a:lnTo>
                  <a:pt x="11194" y="4702"/>
                </a:lnTo>
                <a:lnTo>
                  <a:pt x="11196" y="4702"/>
                </a:lnTo>
                <a:lnTo>
                  <a:pt x="11198" y="4704"/>
                </a:lnTo>
                <a:lnTo>
                  <a:pt x="11200" y="4704"/>
                </a:lnTo>
                <a:lnTo>
                  <a:pt x="11200" y="4702"/>
                </a:lnTo>
                <a:lnTo>
                  <a:pt x="11198" y="4698"/>
                </a:lnTo>
                <a:lnTo>
                  <a:pt x="11200" y="4698"/>
                </a:lnTo>
                <a:lnTo>
                  <a:pt x="11204" y="4698"/>
                </a:lnTo>
                <a:lnTo>
                  <a:pt x="11208" y="4692"/>
                </a:lnTo>
                <a:lnTo>
                  <a:pt x="11210" y="4686"/>
                </a:lnTo>
                <a:lnTo>
                  <a:pt x="11210" y="4682"/>
                </a:lnTo>
                <a:lnTo>
                  <a:pt x="11210" y="4668"/>
                </a:lnTo>
                <a:lnTo>
                  <a:pt x="11208" y="4662"/>
                </a:lnTo>
                <a:lnTo>
                  <a:pt x="11206" y="4660"/>
                </a:lnTo>
                <a:lnTo>
                  <a:pt x="11204" y="4660"/>
                </a:lnTo>
                <a:lnTo>
                  <a:pt x="11202" y="4656"/>
                </a:lnTo>
                <a:lnTo>
                  <a:pt x="11202" y="4652"/>
                </a:lnTo>
                <a:lnTo>
                  <a:pt x="11204" y="4646"/>
                </a:lnTo>
                <a:lnTo>
                  <a:pt x="11206" y="4640"/>
                </a:lnTo>
                <a:lnTo>
                  <a:pt x="11204" y="4636"/>
                </a:lnTo>
                <a:lnTo>
                  <a:pt x="11202" y="4632"/>
                </a:lnTo>
                <a:lnTo>
                  <a:pt x="11202" y="4628"/>
                </a:lnTo>
                <a:lnTo>
                  <a:pt x="11200" y="4624"/>
                </a:lnTo>
                <a:lnTo>
                  <a:pt x="11200" y="4622"/>
                </a:lnTo>
                <a:lnTo>
                  <a:pt x="11196" y="4622"/>
                </a:lnTo>
                <a:lnTo>
                  <a:pt x="11192" y="4622"/>
                </a:lnTo>
                <a:lnTo>
                  <a:pt x="11190" y="4620"/>
                </a:lnTo>
                <a:lnTo>
                  <a:pt x="11190" y="4618"/>
                </a:lnTo>
                <a:lnTo>
                  <a:pt x="11192" y="4618"/>
                </a:lnTo>
                <a:lnTo>
                  <a:pt x="11196" y="4614"/>
                </a:lnTo>
                <a:lnTo>
                  <a:pt x="11198" y="4610"/>
                </a:lnTo>
                <a:lnTo>
                  <a:pt x="11200" y="4606"/>
                </a:lnTo>
                <a:lnTo>
                  <a:pt x="11198" y="4600"/>
                </a:lnTo>
                <a:lnTo>
                  <a:pt x="11194" y="4594"/>
                </a:lnTo>
                <a:lnTo>
                  <a:pt x="11194" y="4588"/>
                </a:lnTo>
                <a:lnTo>
                  <a:pt x="11194" y="4586"/>
                </a:lnTo>
                <a:lnTo>
                  <a:pt x="11192" y="4586"/>
                </a:lnTo>
                <a:lnTo>
                  <a:pt x="11188" y="4588"/>
                </a:lnTo>
                <a:lnTo>
                  <a:pt x="11186" y="4584"/>
                </a:lnTo>
                <a:lnTo>
                  <a:pt x="11184" y="4578"/>
                </a:lnTo>
                <a:lnTo>
                  <a:pt x="11182" y="4576"/>
                </a:lnTo>
                <a:lnTo>
                  <a:pt x="11178" y="4574"/>
                </a:lnTo>
                <a:lnTo>
                  <a:pt x="11172" y="4570"/>
                </a:lnTo>
                <a:lnTo>
                  <a:pt x="11170" y="4568"/>
                </a:lnTo>
                <a:lnTo>
                  <a:pt x="11170" y="4566"/>
                </a:lnTo>
                <a:lnTo>
                  <a:pt x="11168" y="4562"/>
                </a:lnTo>
                <a:close/>
                <a:moveTo>
                  <a:pt x="11152" y="4426"/>
                </a:moveTo>
                <a:lnTo>
                  <a:pt x="11152" y="4426"/>
                </a:lnTo>
                <a:lnTo>
                  <a:pt x="11146" y="4424"/>
                </a:lnTo>
                <a:lnTo>
                  <a:pt x="11138" y="4426"/>
                </a:lnTo>
                <a:lnTo>
                  <a:pt x="11130" y="4428"/>
                </a:lnTo>
                <a:lnTo>
                  <a:pt x="11122" y="4426"/>
                </a:lnTo>
                <a:lnTo>
                  <a:pt x="11118" y="4426"/>
                </a:lnTo>
                <a:lnTo>
                  <a:pt x="11116" y="4426"/>
                </a:lnTo>
                <a:lnTo>
                  <a:pt x="11118" y="4434"/>
                </a:lnTo>
                <a:lnTo>
                  <a:pt x="11122" y="4444"/>
                </a:lnTo>
                <a:lnTo>
                  <a:pt x="11130" y="4452"/>
                </a:lnTo>
                <a:lnTo>
                  <a:pt x="11134" y="4456"/>
                </a:lnTo>
                <a:lnTo>
                  <a:pt x="11136" y="4460"/>
                </a:lnTo>
                <a:lnTo>
                  <a:pt x="11138" y="4462"/>
                </a:lnTo>
                <a:lnTo>
                  <a:pt x="11142" y="4464"/>
                </a:lnTo>
                <a:lnTo>
                  <a:pt x="11146" y="4466"/>
                </a:lnTo>
                <a:lnTo>
                  <a:pt x="11148" y="4468"/>
                </a:lnTo>
                <a:lnTo>
                  <a:pt x="11146" y="4472"/>
                </a:lnTo>
                <a:lnTo>
                  <a:pt x="11142" y="4474"/>
                </a:lnTo>
                <a:lnTo>
                  <a:pt x="11142" y="4476"/>
                </a:lnTo>
                <a:lnTo>
                  <a:pt x="11142" y="4478"/>
                </a:lnTo>
                <a:lnTo>
                  <a:pt x="11144" y="4480"/>
                </a:lnTo>
                <a:lnTo>
                  <a:pt x="11150" y="4486"/>
                </a:lnTo>
                <a:lnTo>
                  <a:pt x="11152" y="4496"/>
                </a:lnTo>
                <a:lnTo>
                  <a:pt x="11154" y="4498"/>
                </a:lnTo>
                <a:lnTo>
                  <a:pt x="11156" y="4498"/>
                </a:lnTo>
                <a:lnTo>
                  <a:pt x="11160" y="4498"/>
                </a:lnTo>
                <a:lnTo>
                  <a:pt x="11164" y="4498"/>
                </a:lnTo>
                <a:lnTo>
                  <a:pt x="11168" y="4498"/>
                </a:lnTo>
                <a:lnTo>
                  <a:pt x="11170" y="4500"/>
                </a:lnTo>
                <a:lnTo>
                  <a:pt x="11174" y="4502"/>
                </a:lnTo>
                <a:lnTo>
                  <a:pt x="11176" y="4500"/>
                </a:lnTo>
                <a:lnTo>
                  <a:pt x="11174" y="4494"/>
                </a:lnTo>
                <a:lnTo>
                  <a:pt x="11172" y="4492"/>
                </a:lnTo>
                <a:lnTo>
                  <a:pt x="11170" y="4488"/>
                </a:lnTo>
                <a:lnTo>
                  <a:pt x="11170" y="4486"/>
                </a:lnTo>
                <a:lnTo>
                  <a:pt x="11170" y="4484"/>
                </a:lnTo>
                <a:lnTo>
                  <a:pt x="11166" y="4480"/>
                </a:lnTo>
                <a:lnTo>
                  <a:pt x="11164" y="4476"/>
                </a:lnTo>
                <a:lnTo>
                  <a:pt x="11164" y="4472"/>
                </a:lnTo>
                <a:lnTo>
                  <a:pt x="11164" y="4458"/>
                </a:lnTo>
                <a:lnTo>
                  <a:pt x="11166" y="4446"/>
                </a:lnTo>
                <a:lnTo>
                  <a:pt x="11164" y="4442"/>
                </a:lnTo>
                <a:lnTo>
                  <a:pt x="11162" y="4440"/>
                </a:lnTo>
                <a:lnTo>
                  <a:pt x="11158" y="4436"/>
                </a:lnTo>
                <a:lnTo>
                  <a:pt x="11158" y="4432"/>
                </a:lnTo>
                <a:lnTo>
                  <a:pt x="11156" y="4428"/>
                </a:lnTo>
                <a:lnTo>
                  <a:pt x="11152" y="4426"/>
                </a:lnTo>
                <a:close/>
                <a:moveTo>
                  <a:pt x="11024" y="4468"/>
                </a:moveTo>
                <a:lnTo>
                  <a:pt x="11024" y="4468"/>
                </a:lnTo>
                <a:lnTo>
                  <a:pt x="11026" y="4470"/>
                </a:lnTo>
                <a:lnTo>
                  <a:pt x="11028" y="4472"/>
                </a:lnTo>
                <a:lnTo>
                  <a:pt x="11028" y="4478"/>
                </a:lnTo>
                <a:lnTo>
                  <a:pt x="11026" y="4486"/>
                </a:lnTo>
                <a:lnTo>
                  <a:pt x="11028" y="4494"/>
                </a:lnTo>
                <a:lnTo>
                  <a:pt x="11028" y="4502"/>
                </a:lnTo>
                <a:lnTo>
                  <a:pt x="11026" y="4506"/>
                </a:lnTo>
                <a:lnTo>
                  <a:pt x="11022" y="4510"/>
                </a:lnTo>
                <a:lnTo>
                  <a:pt x="11022" y="4522"/>
                </a:lnTo>
                <a:lnTo>
                  <a:pt x="11022" y="4528"/>
                </a:lnTo>
                <a:lnTo>
                  <a:pt x="11024" y="4530"/>
                </a:lnTo>
                <a:lnTo>
                  <a:pt x="11026" y="4530"/>
                </a:lnTo>
                <a:lnTo>
                  <a:pt x="11028" y="4528"/>
                </a:lnTo>
                <a:lnTo>
                  <a:pt x="11034" y="4522"/>
                </a:lnTo>
                <a:lnTo>
                  <a:pt x="11036" y="4520"/>
                </a:lnTo>
                <a:lnTo>
                  <a:pt x="11040" y="4520"/>
                </a:lnTo>
                <a:lnTo>
                  <a:pt x="11046" y="4516"/>
                </a:lnTo>
                <a:lnTo>
                  <a:pt x="11054" y="4512"/>
                </a:lnTo>
                <a:lnTo>
                  <a:pt x="11066" y="4498"/>
                </a:lnTo>
                <a:lnTo>
                  <a:pt x="11070" y="4494"/>
                </a:lnTo>
                <a:lnTo>
                  <a:pt x="11072" y="4490"/>
                </a:lnTo>
                <a:lnTo>
                  <a:pt x="11072" y="4482"/>
                </a:lnTo>
                <a:lnTo>
                  <a:pt x="11070" y="4476"/>
                </a:lnTo>
                <a:lnTo>
                  <a:pt x="11068" y="4476"/>
                </a:lnTo>
                <a:lnTo>
                  <a:pt x="11066" y="4478"/>
                </a:lnTo>
                <a:lnTo>
                  <a:pt x="11064" y="4478"/>
                </a:lnTo>
                <a:lnTo>
                  <a:pt x="11060" y="4474"/>
                </a:lnTo>
                <a:lnTo>
                  <a:pt x="11056" y="4472"/>
                </a:lnTo>
                <a:lnTo>
                  <a:pt x="11054" y="4474"/>
                </a:lnTo>
                <a:lnTo>
                  <a:pt x="11050" y="4474"/>
                </a:lnTo>
                <a:lnTo>
                  <a:pt x="11048" y="4474"/>
                </a:lnTo>
                <a:lnTo>
                  <a:pt x="11042" y="4470"/>
                </a:lnTo>
                <a:lnTo>
                  <a:pt x="11036" y="4464"/>
                </a:lnTo>
                <a:lnTo>
                  <a:pt x="11028" y="4458"/>
                </a:lnTo>
                <a:lnTo>
                  <a:pt x="11020" y="4458"/>
                </a:lnTo>
                <a:lnTo>
                  <a:pt x="11018" y="4460"/>
                </a:lnTo>
                <a:lnTo>
                  <a:pt x="11018" y="4464"/>
                </a:lnTo>
                <a:lnTo>
                  <a:pt x="11024" y="4468"/>
                </a:lnTo>
                <a:close/>
                <a:moveTo>
                  <a:pt x="10976" y="4378"/>
                </a:moveTo>
                <a:lnTo>
                  <a:pt x="10976" y="4378"/>
                </a:lnTo>
                <a:lnTo>
                  <a:pt x="10964" y="4378"/>
                </a:lnTo>
                <a:lnTo>
                  <a:pt x="10958" y="4380"/>
                </a:lnTo>
                <a:lnTo>
                  <a:pt x="10956" y="4382"/>
                </a:lnTo>
                <a:lnTo>
                  <a:pt x="10960" y="4384"/>
                </a:lnTo>
                <a:lnTo>
                  <a:pt x="10964" y="4386"/>
                </a:lnTo>
                <a:lnTo>
                  <a:pt x="10966" y="4390"/>
                </a:lnTo>
                <a:lnTo>
                  <a:pt x="10966" y="4392"/>
                </a:lnTo>
                <a:lnTo>
                  <a:pt x="10970" y="4396"/>
                </a:lnTo>
                <a:lnTo>
                  <a:pt x="10974" y="4400"/>
                </a:lnTo>
                <a:lnTo>
                  <a:pt x="10976" y="4410"/>
                </a:lnTo>
                <a:lnTo>
                  <a:pt x="10980" y="4424"/>
                </a:lnTo>
                <a:lnTo>
                  <a:pt x="10986" y="4436"/>
                </a:lnTo>
                <a:lnTo>
                  <a:pt x="10990" y="4442"/>
                </a:lnTo>
                <a:lnTo>
                  <a:pt x="10992" y="4444"/>
                </a:lnTo>
                <a:lnTo>
                  <a:pt x="10996" y="4444"/>
                </a:lnTo>
                <a:lnTo>
                  <a:pt x="11000" y="4440"/>
                </a:lnTo>
                <a:lnTo>
                  <a:pt x="11004" y="4430"/>
                </a:lnTo>
                <a:lnTo>
                  <a:pt x="11006" y="4424"/>
                </a:lnTo>
                <a:lnTo>
                  <a:pt x="11006" y="4420"/>
                </a:lnTo>
                <a:lnTo>
                  <a:pt x="11004" y="4416"/>
                </a:lnTo>
                <a:lnTo>
                  <a:pt x="11006" y="4408"/>
                </a:lnTo>
                <a:lnTo>
                  <a:pt x="11006" y="4402"/>
                </a:lnTo>
                <a:lnTo>
                  <a:pt x="11004" y="4398"/>
                </a:lnTo>
                <a:lnTo>
                  <a:pt x="11002" y="4394"/>
                </a:lnTo>
                <a:lnTo>
                  <a:pt x="11000" y="4388"/>
                </a:lnTo>
                <a:lnTo>
                  <a:pt x="10988" y="4382"/>
                </a:lnTo>
                <a:lnTo>
                  <a:pt x="10976" y="4378"/>
                </a:lnTo>
                <a:close/>
                <a:moveTo>
                  <a:pt x="10900" y="4536"/>
                </a:moveTo>
                <a:lnTo>
                  <a:pt x="10900" y="4536"/>
                </a:lnTo>
                <a:lnTo>
                  <a:pt x="10884" y="4562"/>
                </a:lnTo>
                <a:lnTo>
                  <a:pt x="10866" y="4584"/>
                </a:lnTo>
                <a:lnTo>
                  <a:pt x="10848" y="4600"/>
                </a:lnTo>
                <a:lnTo>
                  <a:pt x="10840" y="4612"/>
                </a:lnTo>
                <a:lnTo>
                  <a:pt x="10836" y="4618"/>
                </a:lnTo>
                <a:lnTo>
                  <a:pt x="10834" y="4628"/>
                </a:lnTo>
                <a:lnTo>
                  <a:pt x="10832" y="4630"/>
                </a:lnTo>
                <a:lnTo>
                  <a:pt x="10834" y="4632"/>
                </a:lnTo>
                <a:lnTo>
                  <a:pt x="10836" y="4632"/>
                </a:lnTo>
                <a:lnTo>
                  <a:pt x="10838" y="4632"/>
                </a:lnTo>
                <a:lnTo>
                  <a:pt x="10844" y="4626"/>
                </a:lnTo>
                <a:lnTo>
                  <a:pt x="10848" y="4620"/>
                </a:lnTo>
                <a:lnTo>
                  <a:pt x="10858" y="4610"/>
                </a:lnTo>
                <a:lnTo>
                  <a:pt x="10882" y="4586"/>
                </a:lnTo>
                <a:lnTo>
                  <a:pt x="10890" y="4578"/>
                </a:lnTo>
                <a:lnTo>
                  <a:pt x="10894" y="4572"/>
                </a:lnTo>
                <a:lnTo>
                  <a:pt x="10896" y="4566"/>
                </a:lnTo>
                <a:lnTo>
                  <a:pt x="10898" y="4562"/>
                </a:lnTo>
                <a:lnTo>
                  <a:pt x="10898" y="4558"/>
                </a:lnTo>
                <a:lnTo>
                  <a:pt x="10900" y="4556"/>
                </a:lnTo>
                <a:lnTo>
                  <a:pt x="10904" y="4554"/>
                </a:lnTo>
                <a:lnTo>
                  <a:pt x="10910" y="4552"/>
                </a:lnTo>
                <a:lnTo>
                  <a:pt x="10914" y="4550"/>
                </a:lnTo>
                <a:lnTo>
                  <a:pt x="10916" y="4544"/>
                </a:lnTo>
                <a:lnTo>
                  <a:pt x="10918" y="4538"/>
                </a:lnTo>
                <a:lnTo>
                  <a:pt x="10920" y="4536"/>
                </a:lnTo>
                <a:lnTo>
                  <a:pt x="10922" y="4534"/>
                </a:lnTo>
                <a:lnTo>
                  <a:pt x="10928" y="4534"/>
                </a:lnTo>
                <a:lnTo>
                  <a:pt x="10930" y="4530"/>
                </a:lnTo>
                <a:lnTo>
                  <a:pt x="10932" y="4524"/>
                </a:lnTo>
                <a:lnTo>
                  <a:pt x="10930" y="4516"/>
                </a:lnTo>
                <a:lnTo>
                  <a:pt x="10928" y="4510"/>
                </a:lnTo>
                <a:lnTo>
                  <a:pt x="10928" y="4506"/>
                </a:lnTo>
                <a:lnTo>
                  <a:pt x="10928" y="4496"/>
                </a:lnTo>
                <a:lnTo>
                  <a:pt x="10928" y="4488"/>
                </a:lnTo>
                <a:lnTo>
                  <a:pt x="10928" y="4484"/>
                </a:lnTo>
                <a:lnTo>
                  <a:pt x="10924" y="4484"/>
                </a:lnTo>
                <a:lnTo>
                  <a:pt x="10922" y="4484"/>
                </a:lnTo>
                <a:lnTo>
                  <a:pt x="10920" y="4486"/>
                </a:lnTo>
                <a:lnTo>
                  <a:pt x="10920" y="4492"/>
                </a:lnTo>
                <a:lnTo>
                  <a:pt x="10918" y="4500"/>
                </a:lnTo>
                <a:lnTo>
                  <a:pt x="10918" y="4504"/>
                </a:lnTo>
                <a:lnTo>
                  <a:pt x="10914" y="4506"/>
                </a:lnTo>
                <a:lnTo>
                  <a:pt x="10912" y="4506"/>
                </a:lnTo>
                <a:lnTo>
                  <a:pt x="10912" y="4508"/>
                </a:lnTo>
                <a:lnTo>
                  <a:pt x="10914" y="4512"/>
                </a:lnTo>
                <a:lnTo>
                  <a:pt x="10916" y="4518"/>
                </a:lnTo>
                <a:lnTo>
                  <a:pt x="10916" y="4522"/>
                </a:lnTo>
                <a:lnTo>
                  <a:pt x="10914" y="4526"/>
                </a:lnTo>
                <a:lnTo>
                  <a:pt x="10912" y="4528"/>
                </a:lnTo>
                <a:lnTo>
                  <a:pt x="10908" y="4528"/>
                </a:lnTo>
                <a:lnTo>
                  <a:pt x="10906" y="4528"/>
                </a:lnTo>
                <a:lnTo>
                  <a:pt x="10900" y="4536"/>
                </a:lnTo>
                <a:close/>
                <a:moveTo>
                  <a:pt x="10936" y="4240"/>
                </a:moveTo>
                <a:lnTo>
                  <a:pt x="10936" y="4240"/>
                </a:lnTo>
                <a:lnTo>
                  <a:pt x="10934" y="4240"/>
                </a:lnTo>
                <a:lnTo>
                  <a:pt x="10932" y="4242"/>
                </a:lnTo>
                <a:lnTo>
                  <a:pt x="10930" y="4248"/>
                </a:lnTo>
                <a:lnTo>
                  <a:pt x="10932" y="4256"/>
                </a:lnTo>
                <a:lnTo>
                  <a:pt x="10934" y="4260"/>
                </a:lnTo>
                <a:lnTo>
                  <a:pt x="10938" y="4264"/>
                </a:lnTo>
                <a:lnTo>
                  <a:pt x="10938" y="4268"/>
                </a:lnTo>
                <a:lnTo>
                  <a:pt x="10940" y="4298"/>
                </a:lnTo>
                <a:lnTo>
                  <a:pt x="10942" y="4316"/>
                </a:lnTo>
                <a:lnTo>
                  <a:pt x="10944" y="4318"/>
                </a:lnTo>
                <a:lnTo>
                  <a:pt x="10946" y="4320"/>
                </a:lnTo>
                <a:lnTo>
                  <a:pt x="10950" y="4320"/>
                </a:lnTo>
                <a:lnTo>
                  <a:pt x="10952" y="4320"/>
                </a:lnTo>
                <a:lnTo>
                  <a:pt x="10954" y="4326"/>
                </a:lnTo>
                <a:lnTo>
                  <a:pt x="10958" y="4334"/>
                </a:lnTo>
                <a:lnTo>
                  <a:pt x="10962" y="4336"/>
                </a:lnTo>
                <a:lnTo>
                  <a:pt x="10964" y="4334"/>
                </a:lnTo>
                <a:lnTo>
                  <a:pt x="10966" y="4326"/>
                </a:lnTo>
                <a:lnTo>
                  <a:pt x="10966" y="4320"/>
                </a:lnTo>
                <a:lnTo>
                  <a:pt x="10966" y="4318"/>
                </a:lnTo>
                <a:lnTo>
                  <a:pt x="10970" y="4318"/>
                </a:lnTo>
                <a:lnTo>
                  <a:pt x="10974" y="4322"/>
                </a:lnTo>
                <a:lnTo>
                  <a:pt x="10980" y="4326"/>
                </a:lnTo>
                <a:lnTo>
                  <a:pt x="10980" y="4330"/>
                </a:lnTo>
                <a:lnTo>
                  <a:pt x="10978" y="4334"/>
                </a:lnTo>
                <a:lnTo>
                  <a:pt x="10974" y="4338"/>
                </a:lnTo>
                <a:lnTo>
                  <a:pt x="10968" y="4346"/>
                </a:lnTo>
                <a:lnTo>
                  <a:pt x="10966" y="4356"/>
                </a:lnTo>
                <a:lnTo>
                  <a:pt x="10966" y="4364"/>
                </a:lnTo>
                <a:lnTo>
                  <a:pt x="10968" y="4366"/>
                </a:lnTo>
                <a:lnTo>
                  <a:pt x="10970" y="4364"/>
                </a:lnTo>
                <a:lnTo>
                  <a:pt x="10974" y="4364"/>
                </a:lnTo>
                <a:lnTo>
                  <a:pt x="10976" y="4364"/>
                </a:lnTo>
                <a:lnTo>
                  <a:pt x="10980" y="4368"/>
                </a:lnTo>
                <a:lnTo>
                  <a:pt x="10984" y="4374"/>
                </a:lnTo>
                <a:lnTo>
                  <a:pt x="10988" y="4376"/>
                </a:lnTo>
                <a:lnTo>
                  <a:pt x="10992" y="4376"/>
                </a:lnTo>
                <a:lnTo>
                  <a:pt x="11000" y="4376"/>
                </a:lnTo>
                <a:lnTo>
                  <a:pt x="11000" y="4372"/>
                </a:lnTo>
                <a:lnTo>
                  <a:pt x="11000" y="4368"/>
                </a:lnTo>
                <a:lnTo>
                  <a:pt x="11002" y="4366"/>
                </a:lnTo>
                <a:lnTo>
                  <a:pt x="11004" y="4362"/>
                </a:lnTo>
                <a:lnTo>
                  <a:pt x="11008" y="4360"/>
                </a:lnTo>
                <a:lnTo>
                  <a:pt x="11012" y="4360"/>
                </a:lnTo>
                <a:lnTo>
                  <a:pt x="11028" y="4370"/>
                </a:lnTo>
                <a:lnTo>
                  <a:pt x="11032" y="4376"/>
                </a:lnTo>
                <a:lnTo>
                  <a:pt x="11036" y="4380"/>
                </a:lnTo>
                <a:lnTo>
                  <a:pt x="11040" y="4388"/>
                </a:lnTo>
                <a:lnTo>
                  <a:pt x="11042" y="4394"/>
                </a:lnTo>
                <a:lnTo>
                  <a:pt x="11044" y="4396"/>
                </a:lnTo>
                <a:lnTo>
                  <a:pt x="11048" y="4398"/>
                </a:lnTo>
                <a:lnTo>
                  <a:pt x="11050" y="4396"/>
                </a:lnTo>
                <a:lnTo>
                  <a:pt x="11050" y="4394"/>
                </a:lnTo>
                <a:lnTo>
                  <a:pt x="11050" y="4388"/>
                </a:lnTo>
                <a:lnTo>
                  <a:pt x="11042" y="4368"/>
                </a:lnTo>
                <a:lnTo>
                  <a:pt x="11042" y="4366"/>
                </a:lnTo>
                <a:lnTo>
                  <a:pt x="11044" y="4364"/>
                </a:lnTo>
                <a:lnTo>
                  <a:pt x="11048" y="4364"/>
                </a:lnTo>
                <a:lnTo>
                  <a:pt x="11054" y="4368"/>
                </a:lnTo>
                <a:lnTo>
                  <a:pt x="11056" y="4374"/>
                </a:lnTo>
                <a:lnTo>
                  <a:pt x="11060" y="4378"/>
                </a:lnTo>
                <a:lnTo>
                  <a:pt x="11064" y="4382"/>
                </a:lnTo>
                <a:lnTo>
                  <a:pt x="11068" y="4386"/>
                </a:lnTo>
                <a:lnTo>
                  <a:pt x="11072" y="4390"/>
                </a:lnTo>
                <a:lnTo>
                  <a:pt x="11074" y="4396"/>
                </a:lnTo>
                <a:lnTo>
                  <a:pt x="11074" y="4400"/>
                </a:lnTo>
                <a:lnTo>
                  <a:pt x="11078" y="4404"/>
                </a:lnTo>
                <a:lnTo>
                  <a:pt x="11086" y="4410"/>
                </a:lnTo>
                <a:lnTo>
                  <a:pt x="11094" y="4414"/>
                </a:lnTo>
                <a:lnTo>
                  <a:pt x="11098" y="4418"/>
                </a:lnTo>
                <a:lnTo>
                  <a:pt x="11100" y="4422"/>
                </a:lnTo>
                <a:lnTo>
                  <a:pt x="11102" y="4428"/>
                </a:lnTo>
                <a:lnTo>
                  <a:pt x="11104" y="4430"/>
                </a:lnTo>
                <a:lnTo>
                  <a:pt x="11106" y="4428"/>
                </a:lnTo>
                <a:lnTo>
                  <a:pt x="11108" y="4422"/>
                </a:lnTo>
                <a:lnTo>
                  <a:pt x="11110" y="4414"/>
                </a:lnTo>
                <a:lnTo>
                  <a:pt x="11110" y="4408"/>
                </a:lnTo>
                <a:lnTo>
                  <a:pt x="11110" y="4404"/>
                </a:lnTo>
                <a:lnTo>
                  <a:pt x="11106" y="4400"/>
                </a:lnTo>
                <a:lnTo>
                  <a:pt x="11098" y="4400"/>
                </a:lnTo>
                <a:lnTo>
                  <a:pt x="11094" y="4398"/>
                </a:lnTo>
                <a:lnTo>
                  <a:pt x="11094" y="4396"/>
                </a:lnTo>
                <a:lnTo>
                  <a:pt x="11094" y="4394"/>
                </a:lnTo>
                <a:lnTo>
                  <a:pt x="11094" y="4390"/>
                </a:lnTo>
                <a:lnTo>
                  <a:pt x="11092" y="4386"/>
                </a:lnTo>
                <a:lnTo>
                  <a:pt x="11088" y="4380"/>
                </a:lnTo>
                <a:lnTo>
                  <a:pt x="11084" y="4376"/>
                </a:lnTo>
                <a:lnTo>
                  <a:pt x="11082" y="4374"/>
                </a:lnTo>
                <a:lnTo>
                  <a:pt x="11084" y="4374"/>
                </a:lnTo>
                <a:lnTo>
                  <a:pt x="11088" y="4372"/>
                </a:lnTo>
                <a:lnTo>
                  <a:pt x="11096" y="4372"/>
                </a:lnTo>
                <a:lnTo>
                  <a:pt x="11098" y="4372"/>
                </a:lnTo>
                <a:lnTo>
                  <a:pt x="11100" y="4370"/>
                </a:lnTo>
                <a:lnTo>
                  <a:pt x="11102" y="4366"/>
                </a:lnTo>
                <a:lnTo>
                  <a:pt x="11098" y="4364"/>
                </a:lnTo>
                <a:lnTo>
                  <a:pt x="11082" y="4356"/>
                </a:lnTo>
                <a:lnTo>
                  <a:pt x="11078" y="4354"/>
                </a:lnTo>
                <a:lnTo>
                  <a:pt x="11076" y="4354"/>
                </a:lnTo>
                <a:lnTo>
                  <a:pt x="11074" y="4358"/>
                </a:lnTo>
                <a:lnTo>
                  <a:pt x="11074" y="4362"/>
                </a:lnTo>
                <a:lnTo>
                  <a:pt x="11072" y="4368"/>
                </a:lnTo>
                <a:lnTo>
                  <a:pt x="11070" y="4370"/>
                </a:lnTo>
                <a:lnTo>
                  <a:pt x="11068" y="4370"/>
                </a:lnTo>
                <a:lnTo>
                  <a:pt x="11066" y="4368"/>
                </a:lnTo>
                <a:lnTo>
                  <a:pt x="11064" y="4364"/>
                </a:lnTo>
                <a:lnTo>
                  <a:pt x="11064" y="4358"/>
                </a:lnTo>
                <a:lnTo>
                  <a:pt x="11064" y="4354"/>
                </a:lnTo>
                <a:lnTo>
                  <a:pt x="11062" y="4350"/>
                </a:lnTo>
                <a:lnTo>
                  <a:pt x="11058" y="4346"/>
                </a:lnTo>
                <a:lnTo>
                  <a:pt x="11052" y="4342"/>
                </a:lnTo>
                <a:lnTo>
                  <a:pt x="11046" y="4340"/>
                </a:lnTo>
                <a:lnTo>
                  <a:pt x="11042" y="4338"/>
                </a:lnTo>
                <a:lnTo>
                  <a:pt x="11040" y="4340"/>
                </a:lnTo>
                <a:lnTo>
                  <a:pt x="11038" y="4342"/>
                </a:lnTo>
                <a:lnTo>
                  <a:pt x="11038" y="4344"/>
                </a:lnTo>
                <a:lnTo>
                  <a:pt x="11036" y="4346"/>
                </a:lnTo>
                <a:lnTo>
                  <a:pt x="11032" y="4346"/>
                </a:lnTo>
                <a:lnTo>
                  <a:pt x="11030" y="4346"/>
                </a:lnTo>
                <a:lnTo>
                  <a:pt x="11030" y="4352"/>
                </a:lnTo>
                <a:lnTo>
                  <a:pt x="11030" y="4356"/>
                </a:lnTo>
                <a:lnTo>
                  <a:pt x="11028" y="4358"/>
                </a:lnTo>
                <a:lnTo>
                  <a:pt x="11024" y="4358"/>
                </a:lnTo>
                <a:lnTo>
                  <a:pt x="11020" y="4356"/>
                </a:lnTo>
                <a:lnTo>
                  <a:pt x="11016" y="4352"/>
                </a:lnTo>
                <a:lnTo>
                  <a:pt x="11010" y="4342"/>
                </a:lnTo>
                <a:lnTo>
                  <a:pt x="11008" y="4330"/>
                </a:lnTo>
                <a:lnTo>
                  <a:pt x="11008" y="4322"/>
                </a:lnTo>
                <a:lnTo>
                  <a:pt x="11008" y="4320"/>
                </a:lnTo>
                <a:lnTo>
                  <a:pt x="11008" y="4314"/>
                </a:lnTo>
                <a:lnTo>
                  <a:pt x="11004" y="4304"/>
                </a:lnTo>
                <a:lnTo>
                  <a:pt x="11000" y="4292"/>
                </a:lnTo>
                <a:lnTo>
                  <a:pt x="11002" y="4286"/>
                </a:lnTo>
                <a:lnTo>
                  <a:pt x="11004" y="4280"/>
                </a:lnTo>
                <a:lnTo>
                  <a:pt x="11008" y="4272"/>
                </a:lnTo>
                <a:lnTo>
                  <a:pt x="11008" y="4266"/>
                </a:lnTo>
                <a:lnTo>
                  <a:pt x="11008" y="4260"/>
                </a:lnTo>
                <a:lnTo>
                  <a:pt x="11014" y="4254"/>
                </a:lnTo>
                <a:lnTo>
                  <a:pt x="11016" y="4250"/>
                </a:lnTo>
                <a:lnTo>
                  <a:pt x="11018" y="4250"/>
                </a:lnTo>
                <a:lnTo>
                  <a:pt x="11020" y="4250"/>
                </a:lnTo>
                <a:lnTo>
                  <a:pt x="11022" y="4252"/>
                </a:lnTo>
                <a:lnTo>
                  <a:pt x="11024" y="4256"/>
                </a:lnTo>
                <a:lnTo>
                  <a:pt x="11026" y="4254"/>
                </a:lnTo>
                <a:lnTo>
                  <a:pt x="11032" y="4246"/>
                </a:lnTo>
                <a:lnTo>
                  <a:pt x="11036" y="4232"/>
                </a:lnTo>
                <a:lnTo>
                  <a:pt x="11042" y="4208"/>
                </a:lnTo>
                <a:lnTo>
                  <a:pt x="11042" y="4204"/>
                </a:lnTo>
                <a:lnTo>
                  <a:pt x="11040" y="4200"/>
                </a:lnTo>
                <a:lnTo>
                  <a:pt x="11034" y="4190"/>
                </a:lnTo>
                <a:lnTo>
                  <a:pt x="11032" y="4184"/>
                </a:lnTo>
                <a:lnTo>
                  <a:pt x="11030" y="4178"/>
                </a:lnTo>
                <a:lnTo>
                  <a:pt x="11030" y="4168"/>
                </a:lnTo>
                <a:lnTo>
                  <a:pt x="11032" y="4158"/>
                </a:lnTo>
                <a:lnTo>
                  <a:pt x="11036" y="4144"/>
                </a:lnTo>
                <a:lnTo>
                  <a:pt x="11036" y="4136"/>
                </a:lnTo>
                <a:lnTo>
                  <a:pt x="11034" y="4134"/>
                </a:lnTo>
                <a:lnTo>
                  <a:pt x="11032" y="4134"/>
                </a:lnTo>
                <a:lnTo>
                  <a:pt x="11028" y="4136"/>
                </a:lnTo>
                <a:lnTo>
                  <a:pt x="11024" y="4140"/>
                </a:lnTo>
                <a:lnTo>
                  <a:pt x="11020" y="4144"/>
                </a:lnTo>
                <a:lnTo>
                  <a:pt x="11016" y="4144"/>
                </a:lnTo>
                <a:lnTo>
                  <a:pt x="11010" y="4142"/>
                </a:lnTo>
                <a:lnTo>
                  <a:pt x="11004" y="4138"/>
                </a:lnTo>
                <a:lnTo>
                  <a:pt x="10988" y="4128"/>
                </a:lnTo>
                <a:lnTo>
                  <a:pt x="10982" y="4126"/>
                </a:lnTo>
                <a:lnTo>
                  <a:pt x="10974" y="4128"/>
                </a:lnTo>
                <a:lnTo>
                  <a:pt x="10966" y="4132"/>
                </a:lnTo>
                <a:lnTo>
                  <a:pt x="10964" y="4134"/>
                </a:lnTo>
                <a:lnTo>
                  <a:pt x="10964" y="4138"/>
                </a:lnTo>
                <a:lnTo>
                  <a:pt x="10964" y="4146"/>
                </a:lnTo>
                <a:lnTo>
                  <a:pt x="10962" y="4150"/>
                </a:lnTo>
                <a:lnTo>
                  <a:pt x="10960" y="4158"/>
                </a:lnTo>
                <a:lnTo>
                  <a:pt x="10958" y="4166"/>
                </a:lnTo>
                <a:lnTo>
                  <a:pt x="10956" y="4172"/>
                </a:lnTo>
                <a:lnTo>
                  <a:pt x="10958" y="4186"/>
                </a:lnTo>
                <a:lnTo>
                  <a:pt x="10958" y="4200"/>
                </a:lnTo>
                <a:lnTo>
                  <a:pt x="10958" y="4208"/>
                </a:lnTo>
                <a:lnTo>
                  <a:pt x="10954" y="4218"/>
                </a:lnTo>
                <a:lnTo>
                  <a:pt x="10952" y="4226"/>
                </a:lnTo>
                <a:lnTo>
                  <a:pt x="10950" y="4232"/>
                </a:lnTo>
                <a:lnTo>
                  <a:pt x="10952" y="4236"/>
                </a:lnTo>
                <a:lnTo>
                  <a:pt x="10954" y="4240"/>
                </a:lnTo>
                <a:lnTo>
                  <a:pt x="10958" y="4246"/>
                </a:lnTo>
                <a:lnTo>
                  <a:pt x="10958" y="4248"/>
                </a:lnTo>
                <a:lnTo>
                  <a:pt x="10956" y="4254"/>
                </a:lnTo>
                <a:lnTo>
                  <a:pt x="10954" y="4258"/>
                </a:lnTo>
                <a:lnTo>
                  <a:pt x="10952" y="4258"/>
                </a:lnTo>
                <a:lnTo>
                  <a:pt x="10948" y="4256"/>
                </a:lnTo>
                <a:lnTo>
                  <a:pt x="10946" y="4252"/>
                </a:lnTo>
                <a:lnTo>
                  <a:pt x="10942" y="4244"/>
                </a:lnTo>
                <a:lnTo>
                  <a:pt x="10938" y="4240"/>
                </a:lnTo>
                <a:lnTo>
                  <a:pt x="10936" y="4240"/>
                </a:lnTo>
                <a:close/>
                <a:moveTo>
                  <a:pt x="9396" y="4654"/>
                </a:moveTo>
                <a:lnTo>
                  <a:pt x="9396" y="4654"/>
                </a:lnTo>
                <a:lnTo>
                  <a:pt x="9392" y="4644"/>
                </a:lnTo>
                <a:lnTo>
                  <a:pt x="9386" y="4630"/>
                </a:lnTo>
                <a:lnTo>
                  <a:pt x="9380" y="4616"/>
                </a:lnTo>
                <a:lnTo>
                  <a:pt x="9372" y="4604"/>
                </a:lnTo>
                <a:lnTo>
                  <a:pt x="9366" y="4596"/>
                </a:lnTo>
                <a:lnTo>
                  <a:pt x="9364" y="4588"/>
                </a:lnTo>
                <a:lnTo>
                  <a:pt x="9360" y="4580"/>
                </a:lnTo>
                <a:lnTo>
                  <a:pt x="9352" y="4570"/>
                </a:lnTo>
                <a:lnTo>
                  <a:pt x="9344" y="4562"/>
                </a:lnTo>
                <a:lnTo>
                  <a:pt x="9336" y="4560"/>
                </a:lnTo>
                <a:lnTo>
                  <a:pt x="9330" y="4560"/>
                </a:lnTo>
                <a:lnTo>
                  <a:pt x="9326" y="4562"/>
                </a:lnTo>
                <a:lnTo>
                  <a:pt x="9326" y="4564"/>
                </a:lnTo>
                <a:lnTo>
                  <a:pt x="9330" y="4566"/>
                </a:lnTo>
                <a:lnTo>
                  <a:pt x="9332" y="4572"/>
                </a:lnTo>
                <a:lnTo>
                  <a:pt x="9334" y="4580"/>
                </a:lnTo>
                <a:lnTo>
                  <a:pt x="9334" y="4590"/>
                </a:lnTo>
                <a:lnTo>
                  <a:pt x="9332" y="4598"/>
                </a:lnTo>
                <a:lnTo>
                  <a:pt x="9328" y="4604"/>
                </a:lnTo>
                <a:lnTo>
                  <a:pt x="9328" y="4610"/>
                </a:lnTo>
                <a:lnTo>
                  <a:pt x="9328" y="4618"/>
                </a:lnTo>
                <a:lnTo>
                  <a:pt x="9326" y="4630"/>
                </a:lnTo>
                <a:lnTo>
                  <a:pt x="9324" y="4636"/>
                </a:lnTo>
                <a:lnTo>
                  <a:pt x="9324" y="4638"/>
                </a:lnTo>
                <a:lnTo>
                  <a:pt x="9324" y="4636"/>
                </a:lnTo>
                <a:lnTo>
                  <a:pt x="9322" y="4630"/>
                </a:lnTo>
                <a:lnTo>
                  <a:pt x="9320" y="4630"/>
                </a:lnTo>
                <a:lnTo>
                  <a:pt x="9320" y="4632"/>
                </a:lnTo>
                <a:lnTo>
                  <a:pt x="9318" y="4640"/>
                </a:lnTo>
                <a:lnTo>
                  <a:pt x="9320" y="4654"/>
                </a:lnTo>
                <a:lnTo>
                  <a:pt x="9322" y="4676"/>
                </a:lnTo>
                <a:lnTo>
                  <a:pt x="9322" y="4700"/>
                </a:lnTo>
                <a:lnTo>
                  <a:pt x="9324" y="4712"/>
                </a:lnTo>
                <a:lnTo>
                  <a:pt x="9326" y="4722"/>
                </a:lnTo>
                <a:lnTo>
                  <a:pt x="9332" y="4734"/>
                </a:lnTo>
                <a:lnTo>
                  <a:pt x="9338" y="4742"/>
                </a:lnTo>
                <a:lnTo>
                  <a:pt x="9346" y="4748"/>
                </a:lnTo>
                <a:lnTo>
                  <a:pt x="9352" y="4750"/>
                </a:lnTo>
                <a:lnTo>
                  <a:pt x="9358" y="4750"/>
                </a:lnTo>
                <a:lnTo>
                  <a:pt x="9364" y="4748"/>
                </a:lnTo>
                <a:lnTo>
                  <a:pt x="9376" y="4740"/>
                </a:lnTo>
                <a:lnTo>
                  <a:pt x="9390" y="4732"/>
                </a:lnTo>
                <a:lnTo>
                  <a:pt x="9396" y="4726"/>
                </a:lnTo>
                <a:lnTo>
                  <a:pt x="9402" y="4718"/>
                </a:lnTo>
                <a:lnTo>
                  <a:pt x="9404" y="4710"/>
                </a:lnTo>
                <a:lnTo>
                  <a:pt x="9406" y="4700"/>
                </a:lnTo>
                <a:lnTo>
                  <a:pt x="9406" y="4682"/>
                </a:lnTo>
                <a:lnTo>
                  <a:pt x="9406" y="4676"/>
                </a:lnTo>
                <a:lnTo>
                  <a:pt x="9404" y="4672"/>
                </a:lnTo>
                <a:lnTo>
                  <a:pt x="9400" y="4666"/>
                </a:lnTo>
                <a:lnTo>
                  <a:pt x="9400" y="4662"/>
                </a:lnTo>
                <a:lnTo>
                  <a:pt x="9400" y="4658"/>
                </a:lnTo>
                <a:lnTo>
                  <a:pt x="9396" y="4654"/>
                </a:lnTo>
                <a:close/>
                <a:moveTo>
                  <a:pt x="9854" y="4376"/>
                </a:moveTo>
                <a:lnTo>
                  <a:pt x="9854" y="4376"/>
                </a:lnTo>
                <a:lnTo>
                  <a:pt x="9854" y="4374"/>
                </a:lnTo>
                <a:lnTo>
                  <a:pt x="9852" y="4376"/>
                </a:lnTo>
                <a:lnTo>
                  <a:pt x="9848" y="4384"/>
                </a:lnTo>
                <a:lnTo>
                  <a:pt x="9846" y="4400"/>
                </a:lnTo>
                <a:lnTo>
                  <a:pt x="9844" y="4422"/>
                </a:lnTo>
                <a:lnTo>
                  <a:pt x="9842" y="4442"/>
                </a:lnTo>
                <a:lnTo>
                  <a:pt x="9840" y="4452"/>
                </a:lnTo>
                <a:lnTo>
                  <a:pt x="9838" y="4460"/>
                </a:lnTo>
                <a:lnTo>
                  <a:pt x="9840" y="4472"/>
                </a:lnTo>
                <a:lnTo>
                  <a:pt x="9842" y="4478"/>
                </a:lnTo>
                <a:lnTo>
                  <a:pt x="9844" y="4480"/>
                </a:lnTo>
                <a:lnTo>
                  <a:pt x="9846" y="4474"/>
                </a:lnTo>
                <a:lnTo>
                  <a:pt x="9850" y="4448"/>
                </a:lnTo>
                <a:lnTo>
                  <a:pt x="9850" y="4440"/>
                </a:lnTo>
                <a:lnTo>
                  <a:pt x="9850" y="4436"/>
                </a:lnTo>
                <a:lnTo>
                  <a:pt x="9850" y="4434"/>
                </a:lnTo>
                <a:lnTo>
                  <a:pt x="9852" y="4430"/>
                </a:lnTo>
                <a:lnTo>
                  <a:pt x="9854" y="4428"/>
                </a:lnTo>
                <a:lnTo>
                  <a:pt x="9854" y="4424"/>
                </a:lnTo>
                <a:lnTo>
                  <a:pt x="9852" y="4416"/>
                </a:lnTo>
                <a:lnTo>
                  <a:pt x="9852" y="4410"/>
                </a:lnTo>
                <a:lnTo>
                  <a:pt x="9852" y="4406"/>
                </a:lnTo>
                <a:lnTo>
                  <a:pt x="9854" y="4404"/>
                </a:lnTo>
                <a:lnTo>
                  <a:pt x="9856" y="4398"/>
                </a:lnTo>
                <a:lnTo>
                  <a:pt x="9858" y="4390"/>
                </a:lnTo>
                <a:lnTo>
                  <a:pt x="9858" y="4382"/>
                </a:lnTo>
                <a:lnTo>
                  <a:pt x="9854" y="4376"/>
                </a:lnTo>
                <a:close/>
                <a:moveTo>
                  <a:pt x="9834" y="4508"/>
                </a:moveTo>
                <a:lnTo>
                  <a:pt x="9834" y="4508"/>
                </a:lnTo>
                <a:lnTo>
                  <a:pt x="9832" y="4510"/>
                </a:lnTo>
                <a:lnTo>
                  <a:pt x="9828" y="4516"/>
                </a:lnTo>
                <a:lnTo>
                  <a:pt x="9828" y="4522"/>
                </a:lnTo>
                <a:lnTo>
                  <a:pt x="9830" y="4526"/>
                </a:lnTo>
                <a:lnTo>
                  <a:pt x="9832" y="4526"/>
                </a:lnTo>
                <a:lnTo>
                  <a:pt x="9834" y="4526"/>
                </a:lnTo>
                <a:lnTo>
                  <a:pt x="9838" y="4520"/>
                </a:lnTo>
                <a:lnTo>
                  <a:pt x="9838" y="4512"/>
                </a:lnTo>
                <a:lnTo>
                  <a:pt x="9836" y="4510"/>
                </a:lnTo>
                <a:lnTo>
                  <a:pt x="9834" y="4508"/>
                </a:lnTo>
                <a:close/>
                <a:moveTo>
                  <a:pt x="9884" y="4688"/>
                </a:moveTo>
                <a:lnTo>
                  <a:pt x="9884" y="4688"/>
                </a:lnTo>
                <a:lnTo>
                  <a:pt x="9882" y="4690"/>
                </a:lnTo>
                <a:lnTo>
                  <a:pt x="9882" y="4694"/>
                </a:lnTo>
                <a:lnTo>
                  <a:pt x="9882" y="4702"/>
                </a:lnTo>
                <a:lnTo>
                  <a:pt x="9886" y="4708"/>
                </a:lnTo>
                <a:lnTo>
                  <a:pt x="9888" y="4710"/>
                </a:lnTo>
                <a:lnTo>
                  <a:pt x="9890" y="4708"/>
                </a:lnTo>
                <a:lnTo>
                  <a:pt x="9892" y="4704"/>
                </a:lnTo>
                <a:lnTo>
                  <a:pt x="9892" y="4700"/>
                </a:lnTo>
                <a:lnTo>
                  <a:pt x="9892" y="4692"/>
                </a:lnTo>
                <a:lnTo>
                  <a:pt x="9888" y="4688"/>
                </a:lnTo>
                <a:lnTo>
                  <a:pt x="9886" y="4686"/>
                </a:lnTo>
                <a:lnTo>
                  <a:pt x="9884" y="4688"/>
                </a:lnTo>
                <a:close/>
                <a:moveTo>
                  <a:pt x="9842" y="4586"/>
                </a:moveTo>
                <a:lnTo>
                  <a:pt x="9842" y="4586"/>
                </a:lnTo>
                <a:lnTo>
                  <a:pt x="9840" y="4590"/>
                </a:lnTo>
                <a:lnTo>
                  <a:pt x="9840" y="4592"/>
                </a:lnTo>
                <a:lnTo>
                  <a:pt x="9844" y="4594"/>
                </a:lnTo>
                <a:lnTo>
                  <a:pt x="9846" y="4596"/>
                </a:lnTo>
                <a:lnTo>
                  <a:pt x="9848" y="4592"/>
                </a:lnTo>
                <a:lnTo>
                  <a:pt x="9848" y="4590"/>
                </a:lnTo>
                <a:lnTo>
                  <a:pt x="9846" y="4586"/>
                </a:lnTo>
                <a:lnTo>
                  <a:pt x="9844" y="4586"/>
                </a:lnTo>
                <a:lnTo>
                  <a:pt x="9842" y="4586"/>
                </a:lnTo>
                <a:close/>
                <a:moveTo>
                  <a:pt x="9868" y="4654"/>
                </a:moveTo>
                <a:lnTo>
                  <a:pt x="9868" y="4654"/>
                </a:lnTo>
                <a:lnTo>
                  <a:pt x="9872" y="4654"/>
                </a:lnTo>
                <a:lnTo>
                  <a:pt x="9870" y="4648"/>
                </a:lnTo>
                <a:lnTo>
                  <a:pt x="9868" y="4646"/>
                </a:lnTo>
                <a:lnTo>
                  <a:pt x="9868" y="4648"/>
                </a:lnTo>
                <a:lnTo>
                  <a:pt x="9866" y="4650"/>
                </a:lnTo>
                <a:lnTo>
                  <a:pt x="9868" y="4654"/>
                </a:lnTo>
                <a:close/>
                <a:moveTo>
                  <a:pt x="7488" y="3256"/>
                </a:moveTo>
                <a:lnTo>
                  <a:pt x="7488" y="3256"/>
                </a:lnTo>
                <a:lnTo>
                  <a:pt x="7494" y="3250"/>
                </a:lnTo>
                <a:lnTo>
                  <a:pt x="7496" y="3246"/>
                </a:lnTo>
                <a:lnTo>
                  <a:pt x="7496" y="3244"/>
                </a:lnTo>
                <a:lnTo>
                  <a:pt x="7492" y="3246"/>
                </a:lnTo>
                <a:lnTo>
                  <a:pt x="7486" y="3252"/>
                </a:lnTo>
                <a:lnTo>
                  <a:pt x="7474" y="3258"/>
                </a:lnTo>
                <a:lnTo>
                  <a:pt x="7460" y="3262"/>
                </a:lnTo>
                <a:lnTo>
                  <a:pt x="7454" y="3262"/>
                </a:lnTo>
                <a:lnTo>
                  <a:pt x="7446" y="3262"/>
                </a:lnTo>
                <a:lnTo>
                  <a:pt x="7438" y="3260"/>
                </a:lnTo>
                <a:lnTo>
                  <a:pt x="7436" y="3262"/>
                </a:lnTo>
                <a:lnTo>
                  <a:pt x="7434" y="3264"/>
                </a:lnTo>
                <a:lnTo>
                  <a:pt x="7432" y="3266"/>
                </a:lnTo>
                <a:lnTo>
                  <a:pt x="7432" y="3270"/>
                </a:lnTo>
                <a:lnTo>
                  <a:pt x="7430" y="3272"/>
                </a:lnTo>
                <a:lnTo>
                  <a:pt x="7428" y="3272"/>
                </a:lnTo>
                <a:lnTo>
                  <a:pt x="7420" y="3272"/>
                </a:lnTo>
                <a:lnTo>
                  <a:pt x="7416" y="3274"/>
                </a:lnTo>
                <a:lnTo>
                  <a:pt x="7414" y="3278"/>
                </a:lnTo>
                <a:lnTo>
                  <a:pt x="7410" y="3278"/>
                </a:lnTo>
                <a:lnTo>
                  <a:pt x="7406" y="3278"/>
                </a:lnTo>
                <a:lnTo>
                  <a:pt x="7406" y="3280"/>
                </a:lnTo>
                <a:lnTo>
                  <a:pt x="7410" y="3292"/>
                </a:lnTo>
                <a:lnTo>
                  <a:pt x="7412" y="3296"/>
                </a:lnTo>
                <a:lnTo>
                  <a:pt x="7416" y="3298"/>
                </a:lnTo>
                <a:lnTo>
                  <a:pt x="7422" y="3300"/>
                </a:lnTo>
                <a:lnTo>
                  <a:pt x="7426" y="3300"/>
                </a:lnTo>
                <a:lnTo>
                  <a:pt x="7432" y="3300"/>
                </a:lnTo>
                <a:lnTo>
                  <a:pt x="7436" y="3302"/>
                </a:lnTo>
                <a:lnTo>
                  <a:pt x="7438" y="3302"/>
                </a:lnTo>
                <a:lnTo>
                  <a:pt x="7438" y="3300"/>
                </a:lnTo>
                <a:lnTo>
                  <a:pt x="7440" y="3298"/>
                </a:lnTo>
                <a:lnTo>
                  <a:pt x="7442" y="3298"/>
                </a:lnTo>
                <a:lnTo>
                  <a:pt x="7448" y="3296"/>
                </a:lnTo>
                <a:lnTo>
                  <a:pt x="7456" y="3294"/>
                </a:lnTo>
                <a:lnTo>
                  <a:pt x="7458" y="3290"/>
                </a:lnTo>
                <a:lnTo>
                  <a:pt x="7462" y="3286"/>
                </a:lnTo>
                <a:lnTo>
                  <a:pt x="7464" y="3284"/>
                </a:lnTo>
                <a:lnTo>
                  <a:pt x="7468" y="3282"/>
                </a:lnTo>
                <a:lnTo>
                  <a:pt x="7474" y="3282"/>
                </a:lnTo>
                <a:lnTo>
                  <a:pt x="7480" y="3280"/>
                </a:lnTo>
                <a:lnTo>
                  <a:pt x="7478" y="3276"/>
                </a:lnTo>
                <a:lnTo>
                  <a:pt x="7474" y="3270"/>
                </a:lnTo>
                <a:lnTo>
                  <a:pt x="7474" y="3266"/>
                </a:lnTo>
                <a:lnTo>
                  <a:pt x="7480" y="3262"/>
                </a:lnTo>
                <a:lnTo>
                  <a:pt x="7488" y="3256"/>
                </a:lnTo>
                <a:close/>
                <a:moveTo>
                  <a:pt x="6684" y="3228"/>
                </a:moveTo>
                <a:lnTo>
                  <a:pt x="6684" y="3228"/>
                </a:lnTo>
                <a:lnTo>
                  <a:pt x="6684" y="3230"/>
                </a:lnTo>
                <a:lnTo>
                  <a:pt x="6686" y="3234"/>
                </a:lnTo>
                <a:lnTo>
                  <a:pt x="6688" y="3238"/>
                </a:lnTo>
                <a:lnTo>
                  <a:pt x="6692" y="3238"/>
                </a:lnTo>
                <a:lnTo>
                  <a:pt x="6692" y="3234"/>
                </a:lnTo>
                <a:lnTo>
                  <a:pt x="6690" y="3230"/>
                </a:lnTo>
                <a:lnTo>
                  <a:pt x="6688" y="3228"/>
                </a:lnTo>
                <a:lnTo>
                  <a:pt x="6684" y="3228"/>
                </a:lnTo>
                <a:close/>
                <a:moveTo>
                  <a:pt x="6456" y="4860"/>
                </a:moveTo>
                <a:lnTo>
                  <a:pt x="6456" y="4860"/>
                </a:lnTo>
                <a:lnTo>
                  <a:pt x="6448" y="4872"/>
                </a:lnTo>
                <a:lnTo>
                  <a:pt x="6446" y="4874"/>
                </a:lnTo>
                <a:lnTo>
                  <a:pt x="6448" y="4878"/>
                </a:lnTo>
                <a:lnTo>
                  <a:pt x="6448" y="4880"/>
                </a:lnTo>
                <a:lnTo>
                  <a:pt x="6452" y="4882"/>
                </a:lnTo>
                <a:lnTo>
                  <a:pt x="6456" y="4884"/>
                </a:lnTo>
                <a:lnTo>
                  <a:pt x="6456" y="4882"/>
                </a:lnTo>
                <a:lnTo>
                  <a:pt x="6464" y="4870"/>
                </a:lnTo>
                <a:lnTo>
                  <a:pt x="6466" y="4864"/>
                </a:lnTo>
                <a:lnTo>
                  <a:pt x="6466" y="4860"/>
                </a:lnTo>
                <a:lnTo>
                  <a:pt x="6466" y="4858"/>
                </a:lnTo>
                <a:lnTo>
                  <a:pt x="6464" y="4856"/>
                </a:lnTo>
                <a:lnTo>
                  <a:pt x="6460" y="4856"/>
                </a:lnTo>
                <a:lnTo>
                  <a:pt x="6456" y="4860"/>
                </a:lnTo>
                <a:close/>
                <a:moveTo>
                  <a:pt x="6376" y="5018"/>
                </a:moveTo>
                <a:lnTo>
                  <a:pt x="6376" y="5018"/>
                </a:lnTo>
                <a:lnTo>
                  <a:pt x="6372" y="5018"/>
                </a:lnTo>
                <a:lnTo>
                  <a:pt x="6370" y="5020"/>
                </a:lnTo>
                <a:lnTo>
                  <a:pt x="6368" y="5026"/>
                </a:lnTo>
                <a:lnTo>
                  <a:pt x="6366" y="5032"/>
                </a:lnTo>
                <a:lnTo>
                  <a:pt x="6368" y="5038"/>
                </a:lnTo>
                <a:lnTo>
                  <a:pt x="6370" y="5038"/>
                </a:lnTo>
                <a:lnTo>
                  <a:pt x="6372" y="5036"/>
                </a:lnTo>
                <a:lnTo>
                  <a:pt x="6376" y="5030"/>
                </a:lnTo>
                <a:lnTo>
                  <a:pt x="6378" y="5024"/>
                </a:lnTo>
                <a:lnTo>
                  <a:pt x="6378" y="5020"/>
                </a:lnTo>
                <a:lnTo>
                  <a:pt x="6376" y="5018"/>
                </a:lnTo>
                <a:close/>
                <a:moveTo>
                  <a:pt x="5466" y="4460"/>
                </a:moveTo>
                <a:lnTo>
                  <a:pt x="5466" y="4460"/>
                </a:lnTo>
                <a:lnTo>
                  <a:pt x="5466" y="4458"/>
                </a:lnTo>
                <a:lnTo>
                  <a:pt x="5464" y="4458"/>
                </a:lnTo>
                <a:lnTo>
                  <a:pt x="5462" y="4458"/>
                </a:lnTo>
                <a:lnTo>
                  <a:pt x="5458" y="4460"/>
                </a:lnTo>
                <a:lnTo>
                  <a:pt x="5458" y="4462"/>
                </a:lnTo>
                <a:lnTo>
                  <a:pt x="5462" y="4464"/>
                </a:lnTo>
                <a:lnTo>
                  <a:pt x="5466" y="4460"/>
                </a:lnTo>
                <a:close/>
                <a:moveTo>
                  <a:pt x="5468" y="4472"/>
                </a:moveTo>
                <a:lnTo>
                  <a:pt x="5468" y="4472"/>
                </a:lnTo>
                <a:lnTo>
                  <a:pt x="5466" y="4472"/>
                </a:lnTo>
                <a:lnTo>
                  <a:pt x="5464" y="4474"/>
                </a:lnTo>
                <a:lnTo>
                  <a:pt x="5462" y="4476"/>
                </a:lnTo>
                <a:lnTo>
                  <a:pt x="5462" y="4478"/>
                </a:lnTo>
                <a:lnTo>
                  <a:pt x="5466" y="4478"/>
                </a:lnTo>
                <a:lnTo>
                  <a:pt x="5468" y="4476"/>
                </a:lnTo>
                <a:lnTo>
                  <a:pt x="5468" y="4472"/>
                </a:lnTo>
                <a:close/>
                <a:moveTo>
                  <a:pt x="5454" y="4498"/>
                </a:moveTo>
                <a:lnTo>
                  <a:pt x="5454" y="4498"/>
                </a:lnTo>
                <a:lnTo>
                  <a:pt x="5456" y="4500"/>
                </a:lnTo>
                <a:lnTo>
                  <a:pt x="5458" y="4500"/>
                </a:lnTo>
                <a:lnTo>
                  <a:pt x="5460" y="4500"/>
                </a:lnTo>
                <a:lnTo>
                  <a:pt x="5462" y="4496"/>
                </a:lnTo>
                <a:lnTo>
                  <a:pt x="5460" y="4492"/>
                </a:lnTo>
                <a:lnTo>
                  <a:pt x="5458" y="4492"/>
                </a:lnTo>
                <a:lnTo>
                  <a:pt x="5456" y="4494"/>
                </a:lnTo>
                <a:lnTo>
                  <a:pt x="5454" y="4498"/>
                </a:lnTo>
                <a:close/>
                <a:moveTo>
                  <a:pt x="5466" y="4492"/>
                </a:moveTo>
                <a:lnTo>
                  <a:pt x="5466" y="4492"/>
                </a:lnTo>
                <a:lnTo>
                  <a:pt x="5464" y="4492"/>
                </a:lnTo>
                <a:lnTo>
                  <a:pt x="5464" y="4496"/>
                </a:lnTo>
                <a:lnTo>
                  <a:pt x="5466" y="4498"/>
                </a:lnTo>
                <a:lnTo>
                  <a:pt x="5468" y="4498"/>
                </a:lnTo>
                <a:lnTo>
                  <a:pt x="5470" y="4496"/>
                </a:lnTo>
                <a:lnTo>
                  <a:pt x="5468" y="4494"/>
                </a:lnTo>
                <a:lnTo>
                  <a:pt x="5466" y="4492"/>
                </a:lnTo>
                <a:close/>
                <a:moveTo>
                  <a:pt x="5474" y="4492"/>
                </a:moveTo>
                <a:lnTo>
                  <a:pt x="5474" y="4492"/>
                </a:lnTo>
                <a:lnTo>
                  <a:pt x="5476" y="4492"/>
                </a:lnTo>
                <a:lnTo>
                  <a:pt x="5478" y="4490"/>
                </a:lnTo>
                <a:lnTo>
                  <a:pt x="5478" y="4488"/>
                </a:lnTo>
                <a:lnTo>
                  <a:pt x="5478" y="4486"/>
                </a:lnTo>
                <a:lnTo>
                  <a:pt x="5476" y="4486"/>
                </a:lnTo>
                <a:lnTo>
                  <a:pt x="5474" y="4488"/>
                </a:lnTo>
                <a:lnTo>
                  <a:pt x="5474" y="4492"/>
                </a:lnTo>
                <a:close/>
                <a:moveTo>
                  <a:pt x="5456" y="4486"/>
                </a:moveTo>
                <a:lnTo>
                  <a:pt x="5456" y="4486"/>
                </a:lnTo>
                <a:lnTo>
                  <a:pt x="5454" y="4486"/>
                </a:lnTo>
                <a:lnTo>
                  <a:pt x="5454" y="4488"/>
                </a:lnTo>
                <a:lnTo>
                  <a:pt x="5454" y="4490"/>
                </a:lnTo>
                <a:lnTo>
                  <a:pt x="5456" y="4490"/>
                </a:lnTo>
                <a:lnTo>
                  <a:pt x="5458" y="4488"/>
                </a:lnTo>
                <a:lnTo>
                  <a:pt x="5456" y="4486"/>
                </a:lnTo>
                <a:close/>
                <a:moveTo>
                  <a:pt x="5448" y="4476"/>
                </a:moveTo>
                <a:lnTo>
                  <a:pt x="5448" y="4476"/>
                </a:lnTo>
                <a:lnTo>
                  <a:pt x="5450" y="4476"/>
                </a:lnTo>
                <a:lnTo>
                  <a:pt x="5454" y="4474"/>
                </a:lnTo>
                <a:lnTo>
                  <a:pt x="5454" y="4472"/>
                </a:lnTo>
                <a:lnTo>
                  <a:pt x="5450" y="4472"/>
                </a:lnTo>
                <a:lnTo>
                  <a:pt x="5448" y="4474"/>
                </a:lnTo>
                <a:lnTo>
                  <a:pt x="5448" y="4476"/>
                </a:lnTo>
                <a:close/>
                <a:moveTo>
                  <a:pt x="5480" y="4474"/>
                </a:moveTo>
                <a:lnTo>
                  <a:pt x="5480" y="4474"/>
                </a:lnTo>
                <a:lnTo>
                  <a:pt x="5484" y="4474"/>
                </a:lnTo>
                <a:lnTo>
                  <a:pt x="5484" y="4472"/>
                </a:lnTo>
                <a:lnTo>
                  <a:pt x="5482" y="4470"/>
                </a:lnTo>
                <a:lnTo>
                  <a:pt x="5480" y="4472"/>
                </a:lnTo>
                <a:lnTo>
                  <a:pt x="5480" y="4474"/>
                </a:lnTo>
                <a:close/>
                <a:moveTo>
                  <a:pt x="6488" y="2842"/>
                </a:moveTo>
                <a:lnTo>
                  <a:pt x="6488" y="2842"/>
                </a:lnTo>
                <a:lnTo>
                  <a:pt x="6484" y="2842"/>
                </a:lnTo>
                <a:lnTo>
                  <a:pt x="6484" y="2844"/>
                </a:lnTo>
                <a:lnTo>
                  <a:pt x="6484" y="2852"/>
                </a:lnTo>
                <a:lnTo>
                  <a:pt x="6482" y="2858"/>
                </a:lnTo>
                <a:lnTo>
                  <a:pt x="6482" y="2860"/>
                </a:lnTo>
                <a:lnTo>
                  <a:pt x="6480" y="2860"/>
                </a:lnTo>
                <a:lnTo>
                  <a:pt x="6476" y="2858"/>
                </a:lnTo>
                <a:lnTo>
                  <a:pt x="6472" y="2860"/>
                </a:lnTo>
                <a:lnTo>
                  <a:pt x="6468" y="2862"/>
                </a:lnTo>
                <a:lnTo>
                  <a:pt x="6464" y="2866"/>
                </a:lnTo>
                <a:lnTo>
                  <a:pt x="6460" y="2868"/>
                </a:lnTo>
                <a:lnTo>
                  <a:pt x="6458" y="2868"/>
                </a:lnTo>
                <a:lnTo>
                  <a:pt x="6456" y="2872"/>
                </a:lnTo>
                <a:lnTo>
                  <a:pt x="6454" y="2884"/>
                </a:lnTo>
                <a:lnTo>
                  <a:pt x="6454" y="2898"/>
                </a:lnTo>
                <a:lnTo>
                  <a:pt x="6454" y="2902"/>
                </a:lnTo>
                <a:lnTo>
                  <a:pt x="6456" y="2904"/>
                </a:lnTo>
                <a:lnTo>
                  <a:pt x="6460" y="2904"/>
                </a:lnTo>
                <a:lnTo>
                  <a:pt x="6460" y="2906"/>
                </a:lnTo>
                <a:lnTo>
                  <a:pt x="6458" y="2910"/>
                </a:lnTo>
                <a:lnTo>
                  <a:pt x="6456" y="2912"/>
                </a:lnTo>
                <a:lnTo>
                  <a:pt x="6462" y="2914"/>
                </a:lnTo>
                <a:lnTo>
                  <a:pt x="6464" y="2916"/>
                </a:lnTo>
                <a:lnTo>
                  <a:pt x="6462" y="2918"/>
                </a:lnTo>
                <a:lnTo>
                  <a:pt x="6460" y="2922"/>
                </a:lnTo>
                <a:lnTo>
                  <a:pt x="6460" y="2924"/>
                </a:lnTo>
                <a:lnTo>
                  <a:pt x="6464" y="2924"/>
                </a:lnTo>
                <a:lnTo>
                  <a:pt x="6470" y="2930"/>
                </a:lnTo>
                <a:lnTo>
                  <a:pt x="6474" y="2932"/>
                </a:lnTo>
                <a:lnTo>
                  <a:pt x="6474" y="2934"/>
                </a:lnTo>
                <a:lnTo>
                  <a:pt x="6476" y="2934"/>
                </a:lnTo>
                <a:lnTo>
                  <a:pt x="6480" y="2932"/>
                </a:lnTo>
                <a:lnTo>
                  <a:pt x="6480" y="2930"/>
                </a:lnTo>
                <a:lnTo>
                  <a:pt x="6480" y="2926"/>
                </a:lnTo>
                <a:lnTo>
                  <a:pt x="6480" y="2924"/>
                </a:lnTo>
                <a:lnTo>
                  <a:pt x="6484" y="2922"/>
                </a:lnTo>
                <a:lnTo>
                  <a:pt x="6486" y="2918"/>
                </a:lnTo>
                <a:lnTo>
                  <a:pt x="6486" y="2904"/>
                </a:lnTo>
                <a:lnTo>
                  <a:pt x="6488" y="2900"/>
                </a:lnTo>
                <a:lnTo>
                  <a:pt x="6490" y="2896"/>
                </a:lnTo>
                <a:lnTo>
                  <a:pt x="6492" y="2890"/>
                </a:lnTo>
                <a:lnTo>
                  <a:pt x="6492" y="2880"/>
                </a:lnTo>
                <a:lnTo>
                  <a:pt x="6490" y="2870"/>
                </a:lnTo>
                <a:lnTo>
                  <a:pt x="6490" y="2864"/>
                </a:lnTo>
                <a:lnTo>
                  <a:pt x="6488" y="2860"/>
                </a:lnTo>
                <a:lnTo>
                  <a:pt x="6488" y="2858"/>
                </a:lnTo>
                <a:lnTo>
                  <a:pt x="6490" y="2848"/>
                </a:lnTo>
                <a:lnTo>
                  <a:pt x="6488" y="2844"/>
                </a:lnTo>
                <a:lnTo>
                  <a:pt x="6488" y="2842"/>
                </a:lnTo>
                <a:close/>
                <a:moveTo>
                  <a:pt x="6706" y="3110"/>
                </a:moveTo>
                <a:lnTo>
                  <a:pt x="6706" y="3110"/>
                </a:lnTo>
                <a:lnTo>
                  <a:pt x="6702" y="3110"/>
                </a:lnTo>
                <a:lnTo>
                  <a:pt x="6696" y="3112"/>
                </a:lnTo>
                <a:lnTo>
                  <a:pt x="6682" y="3118"/>
                </a:lnTo>
                <a:lnTo>
                  <a:pt x="6674" y="3120"/>
                </a:lnTo>
                <a:lnTo>
                  <a:pt x="6666" y="3120"/>
                </a:lnTo>
                <a:lnTo>
                  <a:pt x="6658" y="3118"/>
                </a:lnTo>
                <a:lnTo>
                  <a:pt x="6652" y="3114"/>
                </a:lnTo>
                <a:lnTo>
                  <a:pt x="6644" y="3108"/>
                </a:lnTo>
                <a:lnTo>
                  <a:pt x="6638" y="3108"/>
                </a:lnTo>
                <a:lnTo>
                  <a:pt x="6634" y="3108"/>
                </a:lnTo>
                <a:lnTo>
                  <a:pt x="6632" y="3112"/>
                </a:lnTo>
                <a:lnTo>
                  <a:pt x="6628" y="3116"/>
                </a:lnTo>
                <a:lnTo>
                  <a:pt x="6626" y="3116"/>
                </a:lnTo>
                <a:lnTo>
                  <a:pt x="6622" y="3112"/>
                </a:lnTo>
                <a:lnTo>
                  <a:pt x="6622" y="3110"/>
                </a:lnTo>
                <a:lnTo>
                  <a:pt x="6620" y="3110"/>
                </a:lnTo>
                <a:lnTo>
                  <a:pt x="6614" y="3112"/>
                </a:lnTo>
                <a:lnTo>
                  <a:pt x="6610" y="3120"/>
                </a:lnTo>
                <a:lnTo>
                  <a:pt x="6610" y="3132"/>
                </a:lnTo>
                <a:lnTo>
                  <a:pt x="6610" y="3136"/>
                </a:lnTo>
                <a:lnTo>
                  <a:pt x="6614" y="3140"/>
                </a:lnTo>
                <a:lnTo>
                  <a:pt x="6628" y="3144"/>
                </a:lnTo>
                <a:lnTo>
                  <a:pt x="6640" y="3150"/>
                </a:lnTo>
                <a:lnTo>
                  <a:pt x="6650" y="3158"/>
                </a:lnTo>
                <a:lnTo>
                  <a:pt x="6660" y="3164"/>
                </a:lnTo>
                <a:lnTo>
                  <a:pt x="6666" y="3166"/>
                </a:lnTo>
                <a:lnTo>
                  <a:pt x="6670" y="3168"/>
                </a:lnTo>
                <a:lnTo>
                  <a:pt x="6678" y="3170"/>
                </a:lnTo>
                <a:lnTo>
                  <a:pt x="6684" y="3176"/>
                </a:lnTo>
                <a:lnTo>
                  <a:pt x="6692" y="3182"/>
                </a:lnTo>
                <a:lnTo>
                  <a:pt x="6702" y="3186"/>
                </a:lnTo>
                <a:lnTo>
                  <a:pt x="6714" y="3192"/>
                </a:lnTo>
                <a:lnTo>
                  <a:pt x="6716" y="3190"/>
                </a:lnTo>
                <a:lnTo>
                  <a:pt x="6716" y="3186"/>
                </a:lnTo>
                <a:lnTo>
                  <a:pt x="6718" y="3178"/>
                </a:lnTo>
                <a:lnTo>
                  <a:pt x="6720" y="3170"/>
                </a:lnTo>
                <a:lnTo>
                  <a:pt x="6720" y="3162"/>
                </a:lnTo>
                <a:lnTo>
                  <a:pt x="6720" y="3158"/>
                </a:lnTo>
                <a:lnTo>
                  <a:pt x="6716" y="3154"/>
                </a:lnTo>
                <a:lnTo>
                  <a:pt x="6714" y="3152"/>
                </a:lnTo>
                <a:lnTo>
                  <a:pt x="6716" y="3146"/>
                </a:lnTo>
                <a:lnTo>
                  <a:pt x="6720" y="3130"/>
                </a:lnTo>
                <a:lnTo>
                  <a:pt x="6736" y="3104"/>
                </a:lnTo>
                <a:lnTo>
                  <a:pt x="6736" y="3102"/>
                </a:lnTo>
                <a:lnTo>
                  <a:pt x="6734" y="3102"/>
                </a:lnTo>
                <a:lnTo>
                  <a:pt x="6728" y="3106"/>
                </a:lnTo>
                <a:lnTo>
                  <a:pt x="6716" y="3110"/>
                </a:lnTo>
                <a:lnTo>
                  <a:pt x="6712" y="3110"/>
                </a:lnTo>
                <a:lnTo>
                  <a:pt x="6706" y="3110"/>
                </a:lnTo>
                <a:close/>
                <a:moveTo>
                  <a:pt x="6434" y="2968"/>
                </a:moveTo>
                <a:lnTo>
                  <a:pt x="6434" y="2968"/>
                </a:lnTo>
                <a:lnTo>
                  <a:pt x="6436" y="2972"/>
                </a:lnTo>
                <a:lnTo>
                  <a:pt x="6438" y="2976"/>
                </a:lnTo>
                <a:lnTo>
                  <a:pt x="6442" y="2982"/>
                </a:lnTo>
                <a:lnTo>
                  <a:pt x="6446" y="2990"/>
                </a:lnTo>
                <a:lnTo>
                  <a:pt x="6446" y="2996"/>
                </a:lnTo>
                <a:lnTo>
                  <a:pt x="6446" y="3004"/>
                </a:lnTo>
                <a:lnTo>
                  <a:pt x="6446" y="3012"/>
                </a:lnTo>
                <a:lnTo>
                  <a:pt x="6448" y="3016"/>
                </a:lnTo>
                <a:lnTo>
                  <a:pt x="6448" y="3020"/>
                </a:lnTo>
                <a:lnTo>
                  <a:pt x="6446" y="3030"/>
                </a:lnTo>
                <a:lnTo>
                  <a:pt x="6446" y="3046"/>
                </a:lnTo>
                <a:lnTo>
                  <a:pt x="6448" y="3058"/>
                </a:lnTo>
                <a:lnTo>
                  <a:pt x="6450" y="3064"/>
                </a:lnTo>
                <a:lnTo>
                  <a:pt x="6454" y="3068"/>
                </a:lnTo>
                <a:lnTo>
                  <a:pt x="6458" y="3070"/>
                </a:lnTo>
                <a:lnTo>
                  <a:pt x="6462" y="3070"/>
                </a:lnTo>
                <a:lnTo>
                  <a:pt x="6466" y="3068"/>
                </a:lnTo>
                <a:lnTo>
                  <a:pt x="6468" y="3066"/>
                </a:lnTo>
                <a:lnTo>
                  <a:pt x="6472" y="3060"/>
                </a:lnTo>
                <a:lnTo>
                  <a:pt x="6474" y="3054"/>
                </a:lnTo>
                <a:lnTo>
                  <a:pt x="6476" y="3054"/>
                </a:lnTo>
                <a:lnTo>
                  <a:pt x="6480" y="3056"/>
                </a:lnTo>
                <a:lnTo>
                  <a:pt x="6488" y="3058"/>
                </a:lnTo>
                <a:lnTo>
                  <a:pt x="6490" y="3056"/>
                </a:lnTo>
                <a:lnTo>
                  <a:pt x="6492" y="3054"/>
                </a:lnTo>
                <a:lnTo>
                  <a:pt x="6496" y="3044"/>
                </a:lnTo>
                <a:lnTo>
                  <a:pt x="6498" y="3024"/>
                </a:lnTo>
                <a:lnTo>
                  <a:pt x="6500" y="3016"/>
                </a:lnTo>
                <a:lnTo>
                  <a:pt x="6500" y="3008"/>
                </a:lnTo>
                <a:lnTo>
                  <a:pt x="6496" y="3000"/>
                </a:lnTo>
                <a:lnTo>
                  <a:pt x="6496" y="2996"/>
                </a:lnTo>
                <a:lnTo>
                  <a:pt x="6498" y="2990"/>
                </a:lnTo>
                <a:lnTo>
                  <a:pt x="6502" y="2984"/>
                </a:lnTo>
                <a:lnTo>
                  <a:pt x="6502" y="2980"/>
                </a:lnTo>
                <a:lnTo>
                  <a:pt x="6502" y="2968"/>
                </a:lnTo>
                <a:lnTo>
                  <a:pt x="6498" y="2958"/>
                </a:lnTo>
                <a:lnTo>
                  <a:pt x="6494" y="2950"/>
                </a:lnTo>
                <a:lnTo>
                  <a:pt x="6488" y="2944"/>
                </a:lnTo>
                <a:lnTo>
                  <a:pt x="6486" y="2942"/>
                </a:lnTo>
                <a:lnTo>
                  <a:pt x="6484" y="2942"/>
                </a:lnTo>
                <a:lnTo>
                  <a:pt x="6480" y="2944"/>
                </a:lnTo>
                <a:lnTo>
                  <a:pt x="6474" y="2946"/>
                </a:lnTo>
                <a:lnTo>
                  <a:pt x="6460" y="2956"/>
                </a:lnTo>
                <a:lnTo>
                  <a:pt x="6454" y="2962"/>
                </a:lnTo>
                <a:lnTo>
                  <a:pt x="6448" y="2962"/>
                </a:lnTo>
                <a:lnTo>
                  <a:pt x="6442" y="2962"/>
                </a:lnTo>
                <a:lnTo>
                  <a:pt x="6440" y="2960"/>
                </a:lnTo>
                <a:lnTo>
                  <a:pt x="6438" y="2958"/>
                </a:lnTo>
                <a:lnTo>
                  <a:pt x="6436" y="2958"/>
                </a:lnTo>
                <a:lnTo>
                  <a:pt x="6434" y="2968"/>
                </a:lnTo>
                <a:close/>
                <a:moveTo>
                  <a:pt x="6714" y="2136"/>
                </a:moveTo>
                <a:lnTo>
                  <a:pt x="6714" y="2136"/>
                </a:lnTo>
                <a:lnTo>
                  <a:pt x="6718" y="2134"/>
                </a:lnTo>
                <a:lnTo>
                  <a:pt x="6718" y="2132"/>
                </a:lnTo>
                <a:lnTo>
                  <a:pt x="6716" y="2128"/>
                </a:lnTo>
                <a:lnTo>
                  <a:pt x="6714" y="2124"/>
                </a:lnTo>
                <a:lnTo>
                  <a:pt x="6706" y="2120"/>
                </a:lnTo>
                <a:lnTo>
                  <a:pt x="6702" y="2118"/>
                </a:lnTo>
                <a:lnTo>
                  <a:pt x="6700" y="2118"/>
                </a:lnTo>
                <a:lnTo>
                  <a:pt x="6698" y="2122"/>
                </a:lnTo>
                <a:lnTo>
                  <a:pt x="6702" y="2130"/>
                </a:lnTo>
                <a:lnTo>
                  <a:pt x="6706" y="2136"/>
                </a:lnTo>
                <a:lnTo>
                  <a:pt x="6710" y="2136"/>
                </a:lnTo>
                <a:lnTo>
                  <a:pt x="6714" y="2136"/>
                </a:lnTo>
                <a:close/>
                <a:moveTo>
                  <a:pt x="6546" y="1994"/>
                </a:moveTo>
                <a:lnTo>
                  <a:pt x="6546" y="1994"/>
                </a:lnTo>
                <a:lnTo>
                  <a:pt x="6546" y="1996"/>
                </a:lnTo>
                <a:lnTo>
                  <a:pt x="6548" y="1996"/>
                </a:lnTo>
                <a:lnTo>
                  <a:pt x="6556" y="1992"/>
                </a:lnTo>
                <a:lnTo>
                  <a:pt x="6556" y="1990"/>
                </a:lnTo>
                <a:lnTo>
                  <a:pt x="6552" y="1990"/>
                </a:lnTo>
                <a:lnTo>
                  <a:pt x="6548" y="1992"/>
                </a:lnTo>
                <a:lnTo>
                  <a:pt x="6546" y="1994"/>
                </a:lnTo>
                <a:close/>
                <a:moveTo>
                  <a:pt x="6520" y="2132"/>
                </a:moveTo>
                <a:lnTo>
                  <a:pt x="6520" y="2132"/>
                </a:lnTo>
                <a:lnTo>
                  <a:pt x="6530" y="2134"/>
                </a:lnTo>
                <a:lnTo>
                  <a:pt x="6536" y="2132"/>
                </a:lnTo>
                <a:lnTo>
                  <a:pt x="6542" y="2128"/>
                </a:lnTo>
                <a:lnTo>
                  <a:pt x="6542" y="2126"/>
                </a:lnTo>
                <a:lnTo>
                  <a:pt x="6544" y="2124"/>
                </a:lnTo>
                <a:lnTo>
                  <a:pt x="6542" y="2118"/>
                </a:lnTo>
                <a:lnTo>
                  <a:pt x="6540" y="2112"/>
                </a:lnTo>
                <a:lnTo>
                  <a:pt x="6540" y="2108"/>
                </a:lnTo>
                <a:lnTo>
                  <a:pt x="6540" y="2104"/>
                </a:lnTo>
                <a:lnTo>
                  <a:pt x="6538" y="2102"/>
                </a:lnTo>
                <a:lnTo>
                  <a:pt x="6534" y="2100"/>
                </a:lnTo>
                <a:lnTo>
                  <a:pt x="6534" y="2102"/>
                </a:lnTo>
                <a:lnTo>
                  <a:pt x="6534" y="2104"/>
                </a:lnTo>
                <a:lnTo>
                  <a:pt x="6532" y="2104"/>
                </a:lnTo>
                <a:lnTo>
                  <a:pt x="6524" y="2100"/>
                </a:lnTo>
                <a:lnTo>
                  <a:pt x="6520" y="2100"/>
                </a:lnTo>
                <a:lnTo>
                  <a:pt x="6514" y="2102"/>
                </a:lnTo>
                <a:lnTo>
                  <a:pt x="6508" y="2104"/>
                </a:lnTo>
                <a:lnTo>
                  <a:pt x="6504" y="2104"/>
                </a:lnTo>
                <a:lnTo>
                  <a:pt x="6500" y="2104"/>
                </a:lnTo>
                <a:lnTo>
                  <a:pt x="6498" y="2104"/>
                </a:lnTo>
                <a:lnTo>
                  <a:pt x="6498" y="2108"/>
                </a:lnTo>
                <a:lnTo>
                  <a:pt x="6500" y="2110"/>
                </a:lnTo>
                <a:lnTo>
                  <a:pt x="6504" y="2114"/>
                </a:lnTo>
                <a:lnTo>
                  <a:pt x="6508" y="2122"/>
                </a:lnTo>
                <a:lnTo>
                  <a:pt x="6510" y="2126"/>
                </a:lnTo>
                <a:lnTo>
                  <a:pt x="6512" y="2124"/>
                </a:lnTo>
                <a:lnTo>
                  <a:pt x="6514" y="2126"/>
                </a:lnTo>
                <a:lnTo>
                  <a:pt x="6516" y="2126"/>
                </a:lnTo>
                <a:lnTo>
                  <a:pt x="6514" y="2128"/>
                </a:lnTo>
                <a:lnTo>
                  <a:pt x="6516" y="2130"/>
                </a:lnTo>
                <a:lnTo>
                  <a:pt x="6520" y="2132"/>
                </a:lnTo>
                <a:close/>
                <a:moveTo>
                  <a:pt x="6534" y="2078"/>
                </a:moveTo>
                <a:lnTo>
                  <a:pt x="6534" y="2078"/>
                </a:lnTo>
                <a:lnTo>
                  <a:pt x="6532" y="2078"/>
                </a:lnTo>
                <a:lnTo>
                  <a:pt x="6532" y="2080"/>
                </a:lnTo>
                <a:lnTo>
                  <a:pt x="6532" y="2086"/>
                </a:lnTo>
                <a:lnTo>
                  <a:pt x="6534" y="2090"/>
                </a:lnTo>
                <a:lnTo>
                  <a:pt x="6534" y="2088"/>
                </a:lnTo>
                <a:lnTo>
                  <a:pt x="6536" y="2086"/>
                </a:lnTo>
                <a:lnTo>
                  <a:pt x="6536" y="2082"/>
                </a:lnTo>
                <a:lnTo>
                  <a:pt x="6534" y="2078"/>
                </a:lnTo>
                <a:close/>
                <a:moveTo>
                  <a:pt x="6544" y="2134"/>
                </a:moveTo>
                <a:lnTo>
                  <a:pt x="6544" y="2134"/>
                </a:lnTo>
                <a:lnTo>
                  <a:pt x="6544" y="2132"/>
                </a:lnTo>
                <a:lnTo>
                  <a:pt x="6544" y="2130"/>
                </a:lnTo>
                <a:lnTo>
                  <a:pt x="6542" y="2132"/>
                </a:lnTo>
                <a:lnTo>
                  <a:pt x="6540" y="2134"/>
                </a:lnTo>
                <a:lnTo>
                  <a:pt x="6534" y="2144"/>
                </a:lnTo>
                <a:lnTo>
                  <a:pt x="6532" y="2148"/>
                </a:lnTo>
                <a:lnTo>
                  <a:pt x="6532" y="2152"/>
                </a:lnTo>
                <a:lnTo>
                  <a:pt x="6534" y="2154"/>
                </a:lnTo>
                <a:lnTo>
                  <a:pt x="6536" y="2154"/>
                </a:lnTo>
                <a:lnTo>
                  <a:pt x="6538" y="2148"/>
                </a:lnTo>
                <a:lnTo>
                  <a:pt x="6544" y="2134"/>
                </a:lnTo>
                <a:close/>
                <a:moveTo>
                  <a:pt x="6582" y="2150"/>
                </a:moveTo>
                <a:lnTo>
                  <a:pt x="6582" y="2150"/>
                </a:lnTo>
                <a:lnTo>
                  <a:pt x="6578" y="2144"/>
                </a:lnTo>
                <a:lnTo>
                  <a:pt x="6576" y="2142"/>
                </a:lnTo>
                <a:lnTo>
                  <a:pt x="6576" y="2144"/>
                </a:lnTo>
                <a:lnTo>
                  <a:pt x="6574" y="2146"/>
                </a:lnTo>
                <a:lnTo>
                  <a:pt x="6572" y="2146"/>
                </a:lnTo>
                <a:lnTo>
                  <a:pt x="6562" y="2140"/>
                </a:lnTo>
                <a:lnTo>
                  <a:pt x="6556" y="2138"/>
                </a:lnTo>
                <a:lnTo>
                  <a:pt x="6552" y="2140"/>
                </a:lnTo>
                <a:lnTo>
                  <a:pt x="6552" y="2144"/>
                </a:lnTo>
                <a:lnTo>
                  <a:pt x="6552" y="2148"/>
                </a:lnTo>
                <a:lnTo>
                  <a:pt x="6554" y="2152"/>
                </a:lnTo>
                <a:lnTo>
                  <a:pt x="6560" y="2156"/>
                </a:lnTo>
                <a:lnTo>
                  <a:pt x="6570" y="2158"/>
                </a:lnTo>
                <a:lnTo>
                  <a:pt x="6578" y="2158"/>
                </a:lnTo>
                <a:lnTo>
                  <a:pt x="6582" y="2158"/>
                </a:lnTo>
                <a:lnTo>
                  <a:pt x="6584" y="2156"/>
                </a:lnTo>
                <a:lnTo>
                  <a:pt x="6582" y="2150"/>
                </a:lnTo>
                <a:close/>
                <a:moveTo>
                  <a:pt x="6566" y="2088"/>
                </a:moveTo>
                <a:lnTo>
                  <a:pt x="6566" y="2088"/>
                </a:lnTo>
                <a:lnTo>
                  <a:pt x="6560" y="2090"/>
                </a:lnTo>
                <a:lnTo>
                  <a:pt x="6554" y="2090"/>
                </a:lnTo>
                <a:lnTo>
                  <a:pt x="6550" y="2090"/>
                </a:lnTo>
                <a:lnTo>
                  <a:pt x="6546" y="2090"/>
                </a:lnTo>
                <a:lnTo>
                  <a:pt x="6544" y="2092"/>
                </a:lnTo>
                <a:lnTo>
                  <a:pt x="6546" y="2094"/>
                </a:lnTo>
                <a:lnTo>
                  <a:pt x="6550" y="2096"/>
                </a:lnTo>
                <a:lnTo>
                  <a:pt x="6554" y="2100"/>
                </a:lnTo>
                <a:lnTo>
                  <a:pt x="6556" y="2100"/>
                </a:lnTo>
                <a:lnTo>
                  <a:pt x="6554" y="2102"/>
                </a:lnTo>
                <a:lnTo>
                  <a:pt x="6554" y="2106"/>
                </a:lnTo>
                <a:lnTo>
                  <a:pt x="6556" y="2108"/>
                </a:lnTo>
                <a:lnTo>
                  <a:pt x="6558" y="2110"/>
                </a:lnTo>
                <a:lnTo>
                  <a:pt x="6556" y="2114"/>
                </a:lnTo>
                <a:lnTo>
                  <a:pt x="6554" y="2116"/>
                </a:lnTo>
                <a:lnTo>
                  <a:pt x="6556" y="2116"/>
                </a:lnTo>
                <a:lnTo>
                  <a:pt x="6558" y="2118"/>
                </a:lnTo>
                <a:lnTo>
                  <a:pt x="6560" y="2122"/>
                </a:lnTo>
                <a:lnTo>
                  <a:pt x="6560" y="2124"/>
                </a:lnTo>
                <a:lnTo>
                  <a:pt x="6564" y="2124"/>
                </a:lnTo>
                <a:lnTo>
                  <a:pt x="6566" y="2124"/>
                </a:lnTo>
                <a:lnTo>
                  <a:pt x="6570" y="2124"/>
                </a:lnTo>
                <a:lnTo>
                  <a:pt x="6574" y="2124"/>
                </a:lnTo>
                <a:lnTo>
                  <a:pt x="6576" y="2124"/>
                </a:lnTo>
                <a:lnTo>
                  <a:pt x="6578" y="2124"/>
                </a:lnTo>
                <a:lnTo>
                  <a:pt x="6580" y="2128"/>
                </a:lnTo>
                <a:lnTo>
                  <a:pt x="6580" y="2130"/>
                </a:lnTo>
                <a:lnTo>
                  <a:pt x="6578" y="2132"/>
                </a:lnTo>
                <a:lnTo>
                  <a:pt x="6576" y="2132"/>
                </a:lnTo>
                <a:lnTo>
                  <a:pt x="6574" y="2132"/>
                </a:lnTo>
                <a:lnTo>
                  <a:pt x="6576" y="2134"/>
                </a:lnTo>
                <a:lnTo>
                  <a:pt x="6580" y="2136"/>
                </a:lnTo>
                <a:lnTo>
                  <a:pt x="6582" y="2138"/>
                </a:lnTo>
                <a:lnTo>
                  <a:pt x="6582" y="2140"/>
                </a:lnTo>
                <a:lnTo>
                  <a:pt x="6580" y="2140"/>
                </a:lnTo>
                <a:lnTo>
                  <a:pt x="6580" y="2144"/>
                </a:lnTo>
                <a:lnTo>
                  <a:pt x="6586" y="2150"/>
                </a:lnTo>
                <a:lnTo>
                  <a:pt x="6588" y="2154"/>
                </a:lnTo>
                <a:lnTo>
                  <a:pt x="6588" y="2158"/>
                </a:lnTo>
                <a:lnTo>
                  <a:pt x="6588" y="2160"/>
                </a:lnTo>
                <a:lnTo>
                  <a:pt x="6590" y="2164"/>
                </a:lnTo>
                <a:lnTo>
                  <a:pt x="6592" y="2164"/>
                </a:lnTo>
                <a:lnTo>
                  <a:pt x="6592" y="2160"/>
                </a:lnTo>
                <a:lnTo>
                  <a:pt x="6592" y="2156"/>
                </a:lnTo>
                <a:lnTo>
                  <a:pt x="6594" y="2150"/>
                </a:lnTo>
                <a:lnTo>
                  <a:pt x="6596" y="2148"/>
                </a:lnTo>
                <a:lnTo>
                  <a:pt x="6598" y="2146"/>
                </a:lnTo>
                <a:lnTo>
                  <a:pt x="6592" y="2142"/>
                </a:lnTo>
                <a:lnTo>
                  <a:pt x="6586" y="2140"/>
                </a:lnTo>
                <a:lnTo>
                  <a:pt x="6588" y="2138"/>
                </a:lnTo>
                <a:lnTo>
                  <a:pt x="6590" y="2138"/>
                </a:lnTo>
                <a:lnTo>
                  <a:pt x="6594" y="2138"/>
                </a:lnTo>
                <a:lnTo>
                  <a:pt x="6596" y="2136"/>
                </a:lnTo>
                <a:lnTo>
                  <a:pt x="6596" y="2134"/>
                </a:lnTo>
                <a:lnTo>
                  <a:pt x="6596" y="2130"/>
                </a:lnTo>
                <a:lnTo>
                  <a:pt x="6596" y="2126"/>
                </a:lnTo>
                <a:lnTo>
                  <a:pt x="6596" y="2124"/>
                </a:lnTo>
                <a:lnTo>
                  <a:pt x="6604" y="2122"/>
                </a:lnTo>
                <a:lnTo>
                  <a:pt x="6608" y="2120"/>
                </a:lnTo>
                <a:lnTo>
                  <a:pt x="6610" y="2118"/>
                </a:lnTo>
                <a:lnTo>
                  <a:pt x="6608" y="2114"/>
                </a:lnTo>
                <a:lnTo>
                  <a:pt x="6602" y="2112"/>
                </a:lnTo>
                <a:lnTo>
                  <a:pt x="6598" y="2108"/>
                </a:lnTo>
                <a:lnTo>
                  <a:pt x="6598" y="2104"/>
                </a:lnTo>
                <a:lnTo>
                  <a:pt x="6602" y="2102"/>
                </a:lnTo>
                <a:lnTo>
                  <a:pt x="6608" y="2100"/>
                </a:lnTo>
                <a:lnTo>
                  <a:pt x="6610" y="2098"/>
                </a:lnTo>
                <a:lnTo>
                  <a:pt x="6612" y="2096"/>
                </a:lnTo>
                <a:lnTo>
                  <a:pt x="6614" y="2088"/>
                </a:lnTo>
                <a:lnTo>
                  <a:pt x="6614" y="2080"/>
                </a:lnTo>
                <a:lnTo>
                  <a:pt x="6614" y="2074"/>
                </a:lnTo>
                <a:lnTo>
                  <a:pt x="6616" y="2072"/>
                </a:lnTo>
                <a:lnTo>
                  <a:pt x="6614" y="2070"/>
                </a:lnTo>
                <a:lnTo>
                  <a:pt x="6604" y="2066"/>
                </a:lnTo>
                <a:lnTo>
                  <a:pt x="6598" y="2066"/>
                </a:lnTo>
                <a:lnTo>
                  <a:pt x="6592" y="2070"/>
                </a:lnTo>
                <a:lnTo>
                  <a:pt x="6588" y="2074"/>
                </a:lnTo>
                <a:lnTo>
                  <a:pt x="6588" y="2078"/>
                </a:lnTo>
                <a:lnTo>
                  <a:pt x="6588" y="2080"/>
                </a:lnTo>
                <a:lnTo>
                  <a:pt x="6588" y="2082"/>
                </a:lnTo>
                <a:lnTo>
                  <a:pt x="6586" y="2090"/>
                </a:lnTo>
                <a:lnTo>
                  <a:pt x="6584" y="2094"/>
                </a:lnTo>
                <a:lnTo>
                  <a:pt x="6582" y="2094"/>
                </a:lnTo>
                <a:lnTo>
                  <a:pt x="6580" y="2092"/>
                </a:lnTo>
                <a:lnTo>
                  <a:pt x="6580" y="2088"/>
                </a:lnTo>
                <a:lnTo>
                  <a:pt x="6582" y="2078"/>
                </a:lnTo>
                <a:lnTo>
                  <a:pt x="6580" y="2076"/>
                </a:lnTo>
                <a:lnTo>
                  <a:pt x="6578" y="2078"/>
                </a:lnTo>
                <a:lnTo>
                  <a:pt x="6574" y="2078"/>
                </a:lnTo>
                <a:lnTo>
                  <a:pt x="6568" y="2076"/>
                </a:lnTo>
                <a:lnTo>
                  <a:pt x="6564" y="2074"/>
                </a:lnTo>
                <a:lnTo>
                  <a:pt x="6562" y="2074"/>
                </a:lnTo>
                <a:lnTo>
                  <a:pt x="6560" y="2076"/>
                </a:lnTo>
                <a:lnTo>
                  <a:pt x="6562" y="2076"/>
                </a:lnTo>
                <a:lnTo>
                  <a:pt x="6566" y="2078"/>
                </a:lnTo>
                <a:lnTo>
                  <a:pt x="6570" y="2082"/>
                </a:lnTo>
                <a:lnTo>
                  <a:pt x="6568" y="2084"/>
                </a:lnTo>
                <a:lnTo>
                  <a:pt x="6566" y="2088"/>
                </a:lnTo>
                <a:close/>
                <a:moveTo>
                  <a:pt x="6598" y="2138"/>
                </a:moveTo>
                <a:lnTo>
                  <a:pt x="6598" y="2138"/>
                </a:lnTo>
                <a:lnTo>
                  <a:pt x="6596" y="2142"/>
                </a:lnTo>
                <a:lnTo>
                  <a:pt x="6598" y="2142"/>
                </a:lnTo>
                <a:lnTo>
                  <a:pt x="6604" y="2142"/>
                </a:lnTo>
                <a:lnTo>
                  <a:pt x="6610" y="2138"/>
                </a:lnTo>
                <a:lnTo>
                  <a:pt x="6610" y="2136"/>
                </a:lnTo>
                <a:lnTo>
                  <a:pt x="6610" y="2134"/>
                </a:lnTo>
                <a:lnTo>
                  <a:pt x="6606" y="2134"/>
                </a:lnTo>
                <a:lnTo>
                  <a:pt x="6602" y="2134"/>
                </a:lnTo>
                <a:lnTo>
                  <a:pt x="6598" y="2138"/>
                </a:lnTo>
                <a:close/>
                <a:moveTo>
                  <a:pt x="6552" y="2166"/>
                </a:moveTo>
                <a:lnTo>
                  <a:pt x="6552" y="2166"/>
                </a:lnTo>
                <a:lnTo>
                  <a:pt x="6552" y="2168"/>
                </a:lnTo>
                <a:lnTo>
                  <a:pt x="6556" y="2172"/>
                </a:lnTo>
                <a:lnTo>
                  <a:pt x="6560" y="2172"/>
                </a:lnTo>
                <a:lnTo>
                  <a:pt x="6564" y="2172"/>
                </a:lnTo>
                <a:lnTo>
                  <a:pt x="6562" y="2168"/>
                </a:lnTo>
                <a:lnTo>
                  <a:pt x="6560" y="2166"/>
                </a:lnTo>
                <a:lnTo>
                  <a:pt x="6556" y="2164"/>
                </a:lnTo>
                <a:lnTo>
                  <a:pt x="6552" y="2166"/>
                </a:lnTo>
                <a:close/>
                <a:moveTo>
                  <a:pt x="6636" y="2164"/>
                </a:moveTo>
                <a:lnTo>
                  <a:pt x="6636" y="2164"/>
                </a:lnTo>
                <a:lnTo>
                  <a:pt x="6636" y="2166"/>
                </a:lnTo>
                <a:lnTo>
                  <a:pt x="6638" y="2168"/>
                </a:lnTo>
                <a:lnTo>
                  <a:pt x="6640" y="2172"/>
                </a:lnTo>
                <a:lnTo>
                  <a:pt x="6638" y="2174"/>
                </a:lnTo>
                <a:lnTo>
                  <a:pt x="6636" y="2176"/>
                </a:lnTo>
                <a:lnTo>
                  <a:pt x="6638" y="2178"/>
                </a:lnTo>
                <a:lnTo>
                  <a:pt x="6644" y="2182"/>
                </a:lnTo>
                <a:lnTo>
                  <a:pt x="6646" y="2184"/>
                </a:lnTo>
                <a:lnTo>
                  <a:pt x="6648" y="2184"/>
                </a:lnTo>
                <a:lnTo>
                  <a:pt x="6648" y="2182"/>
                </a:lnTo>
                <a:lnTo>
                  <a:pt x="6648" y="2180"/>
                </a:lnTo>
                <a:lnTo>
                  <a:pt x="6650" y="2176"/>
                </a:lnTo>
                <a:lnTo>
                  <a:pt x="6652" y="2176"/>
                </a:lnTo>
                <a:lnTo>
                  <a:pt x="6656" y="2178"/>
                </a:lnTo>
                <a:lnTo>
                  <a:pt x="6660" y="2180"/>
                </a:lnTo>
                <a:lnTo>
                  <a:pt x="6662" y="2180"/>
                </a:lnTo>
                <a:lnTo>
                  <a:pt x="6660" y="2178"/>
                </a:lnTo>
                <a:lnTo>
                  <a:pt x="6658" y="2174"/>
                </a:lnTo>
                <a:lnTo>
                  <a:pt x="6656" y="2174"/>
                </a:lnTo>
                <a:lnTo>
                  <a:pt x="6656" y="2172"/>
                </a:lnTo>
                <a:lnTo>
                  <a:pt x="6658" y="2168"/>
                </a:lnTo>
                <a:lnTo>
                  <a:pt x="6658" y="2164"/>
                </a:lnTo>
                <a:lnTo>
                  <a:pt x="6658" y="2162"/>
                </a:lnTo>
                <a:lnTo>
                  <a:pt x="6654" y="2162"/>
                </a:lnTo>
                <a:lnTo>
                  <a:pt x="6650" y="2160"/>
                </a:lnTo>
                <a:lnTo>
                  <a:pt x="6648" y="2156"/>
                </a:lnTo>
                <a:lnTo>
                  <a:pt x="6644" y="2156"/>
                </a:lnTo>
                <a:lnTo>
                  <a:pt x="6640" y="2158"/>
                </a:lnTo>
                <a:lnTo>
                  <a:pt x="6640" y="2160"/>
                </a:lnTo>
                <a:lnTo>
                  <a:pt x="6642" y="2162"/>
                </a:lnTo>
                <a:lnTo>
                  <a:pt x="6648" y="2164"/>
                </a:lnTo>
                <a:lnTo>
                  <a:pt x="6650" y="2166"/>
                </a:lnTo>
                <a:lnTo>
                  <a:pt x="6650" y="2168"/>
                </a:lnTo>
                <a:lnTo>
                  <a:pt x="6646" y="2166"/>
                </a:lnTo>
                <a:lnTo>
                  <a:pt x="6636" y="2164"/>
                </a:lnTo>
                <a:close/>
                <a:moveTo>
                  <a:pt x="6990" y="1916"/>
                </a:moveTo>
                <a:lnTo>
                  <a:pt x="6990" y="1916"/>
                </a:lnTo>
                <a:lnTo>
                  <a:pt x="6988" y="1916"/>
                </a:lnTo>
                <a:lnTo>
                  <a:pt x="6988" y="1918"/>
                </a:lnTo>
                <a:lnTo>
                  <a:pt x="6990" y="1920"/>
                </a:lnTo>
                <a:lnTo>
                  <a:pt x="6992" y="1924"/>
                </a:lnTo>
                <a:lnTo>
                  <a:pt x="6992" y="1926"/>
                </a:lnTo>
                <a:lnTo>
                  <a:pt x="6988" y="1928"/>
                </a:lnTo>
                <a:lnTo>
                  <a:pt x="6986" y="1930"/>
                </a:lnTo>
                <a:lnTo>
                  <a:pt x="6988" y="1932"/>
                </a:lnTo>
                <a:lnTo>
                  <a:pt x="6994" y="1936"/>
                </a:lnTo>
                <a:lnTo>
                  <a:pt x="7000" y="1938"/>
                </a:lnTo>
                <a:lnTo>
                  <a:pt x="7000" y="1942"/>
                </a:lnTo>
                <a:lnTo>
                  <a:pt x="6996" y="1946"/>
                </a:lnTo>
                <a:lnTo>
                  <a:pt x="6994" y="1948"/>
                </a:lnTo>
                <a:lnTo>
                  <a:pt x="6992" y="1950"/>
                </a:lnTo>
                <a:lnTo>
                  <a:pt x="6994" y="1952"/>
                </a:lnTo>
                <a:lnTo>
                  <a:pt x="6998" y="1952"/>
                </a:lnTo>
                <a:lnTo>
                  <a:pt x="7000" y="1950"/>
                </a:lnTo>
                <a:lnTo>
                  <a:pt x="7002" y="1946"/>
                </a:lnTo>
                <a:lnTo>
                  <a:pt x="7006" y="1938"/>
                </a:lnTo>
                <a:lnTo>
                  <a:pt x="7010" y="1934"/>
                </a:lnTo>
                <a:lnTo>
                  <a:pt x="7012" y="1934"/>
                </a:lnTo>
                <a:lnTo>
                  <a:pt x="7014" y="1934"/>
                </a:lnTo>
                <a:lnTo>
                  <a:pt x="7018" y="1934"/>
                </a:lnTo>
                <a:lnTo>
                  <a:pt x="7024" y="1932"/>
                </a:lnTo>
                <a:lnTo>
                  <a:pt x="7032" y="1928"/>
                </a:lnTo>
                <a:lnTo>
                  <a:pt x="7038" y="1922"/>
                </a:lnTo>
                <a:lnTo>
                  <a:pt x="7040" y="1920"/>
                </a:lnTo>
                <a:lnTo>
                  <a:pt x="7042" y="1920"/>
                </a:lnTo>
                <a:lnTo>
                  <a:pt x="7044" y="1920"/>
                </a:lnTo>
                <a:lnTo>
                  <a:pt x="7046" y="1920"/>
                </a:lnTo>
                <a:lnTo>
                  <a:pt x="7048" y="1920"/>
                </a:lnTo>
                <a:lnTo>
                  <a:pt x="7048" y="1918"/>
                </a:lnTo>
                <a:lnTo>
                  <a:pt x="7038" y="1914"/>
                </a:lnTo>
                <a:lnTo>
                  <a:pt x="7032" y="1910"/>
                </a:lnTo>
                <a:lnTo>
                  <a:pt x="7026" y="1910"/>
                </a:lnTo>
                <a:lnTo>
                  <a:pt x="7022" y="1910"/>
                </a:lnTo>
                <a:lnTo>
                  <a:pt x="7018" y="1910"/>
                </a:lnTo>
                <a:lnTo>
                  <a:pt x="7016" y="1908"/>
                </a:lnTo>
                <a:lnTo>
                  <a:pt x="7010" y="1908"/>
                </a:lnTo>
                <a:lnTo>
                  <a:pt x="7004" y="1912"/>
                </a:lnTo>
                <a:lnTo>
                  <a:pt x="7000" y="1918"/>
                </a:lnTo>
                <a:lnTo>
                  <a:pt x="6998" y="1920"/>
                </a:lnTo>
                <a:lnTo>
                  <a:pt x="6996" y="1918"/>
                </a:lnTo>
                <a:lnTo>
                  <a:pt x="6992" y="1916"/>
                </a:lnTo>
                <a:lnTo>
                  <a:pt x="6990" y="1916"/>
                </a:lnTo>
                <a:close/>
                <a:moveTo>
                  <a:pt x="7006" y="1892"/>
                </a:moveTo>
                <a:lnTo>
                  <a:pt x="7006" y="1892"/>
                </a:lnTo>
                <a:lnTo>
                  <a:pt x="7008" y="1892"/>
                </a:lnTo>
                <a:lnTo>
                  <a:pt x="7010" y="1894"/>
                </a:lnTo>
                <a:lnTo>
                  <a:pt x="7012" y="1898"/>
                </a:lnTo>
                <a:lnTo>
                  <a:pt x="7012" y="1902"/>
                </a:lnTo>
                <a:lnTo>
                  <a:pt x="7014" y="1904"/>
                </a:lnTo>
                <a:lnTo>
                  <a:pt x="7016" y="1904"/>
                </a:lnTo>
                <a:lnTo>
                  <a:pt x="7020" y="1904"/>
                </a:lnTo>
                <a:lnTo>
                  <a:pt x="7022" y="1902"/>
                </a:lnTo>
                <a:lnTo>
                  <a:pt x="7024" y="1898"/>
                </a:lnTo>
                <a:lnTo>
                  <a:pt x="7026" y="1898"/>
                </a:lnTo>
                <a:lnTo>
                  <a:pt x="7028" y="1898"/>
                </a:lnTo>
                <a:lnTo>
                  <a:pt x="7030" y="1898"/>
                </a:lnTo>
                <a:lnTo>
                  <a:pt x="7030" y="1896"/>
                </a:lnTo>
                <a:lnTo>
                  <a:pt x="7032" y="1896"/>
                </a:lnTo>
                <a:lnTo>
                  <a:pt x="7034" y="1896"/>
                </a:lnTo>
                <a:lnTo>
                  <a:pt x="7036" y="1894"/>
                </a:lnTo>
                <a:lnTo>
                  <a:pt x="7034" y="1892"/>
                </a:lnTo>
                <a:lnTo>
                  <a:pt x="7030" y="1888"/>
                </a:lnTo>
                <a:lnTo>
                  <a:pt x="7022" y="1880"/>
                </a:lnTo>
                <a:lnTo>
                  <a:pt x="7018" y="1880"/>
                </a:lnTo>
                <a:lnTo>
                  <a:pt x="7016" y="1882"/>
                </a:lnTo>
                <a:lnTo>
                  <a:pt x="7010" y="1886"/>
                </a:lnTo>
                <a:lnTo>
                  <a:pt x="7006" y="1886"/>
                </a:lnTo>
                <a:lnTo>
                  <a:pt x="7000" y="1886"/>
                </a:lnTo>
                <a:lnTo>
                  <a:pt x="6996" y="1888"/>
                </a:lnTo>
                <a:lnTo>
                  <a:pt x="6994" y="1890"/>
                </a:lnTo>
                <a:lnTo>
                  <a:pt x="6996" y="1890"/>
                </a:lnTo>
                <a:lnTo>
                  <a:pt x="7006" y="1892"/>
                </a:lnTo>
                <a:close/>
                <a:moveTo>
                  <a:pt x="7048" y="1914"/>
                </a:moveTo>
                <a:lnTo>
                  <a:pt x="7048" y="1914"/>
                </a:lnTo>
                <a:lnTo>
                  <a:pt x="7048" y="1910"/>
                </a:lnTo>
                <a:lnTo>
                  <a:pt x="7044" y="1906"/>
                </a:lnTo>
                <a:lnTo>
                  <a:pt x="7042" y="1904"/>
                </a:lnTo>
                <a:lnTo>
                  <a:pt x="7038" y="1906"/>
                </a:lnTo>
                <a:lnTo>
                  <a:pt x="7038" y="1910"/>
                </a:lnTo>
                <a:lnTo>
                  <a:pt x="7042" y="1914"/>
                </a:lnTo>
                <a:lnTo>
                  <a:pt x="7046" y="1914"/>
                </a:lnTo>
                <a:lnTo>
                  <a:pt x="7048" y="1914"/>
                </a:lnTo>
                <a:close/>
                <a:moveTo>
                  <a:pt x="7050" y="1884"/>
                </a:moveTo>
                <a:lnTo>
                  <a:pt x="7050" y="1884"/>
                </a:lnTo>
                <a:lnTo>
                  <a:pt x="7048" y="1884"/>
                </a:lnTo>
                <a:lnTo>
                  <a:pt x="7044" y="1882"/>
                </a:lnTo>
                <a:lnTo>
                  <a:pt x="7040" y="1882"/>
                </a:lnTo>
                <a:lnTo>
                  <a:pt x="7042" y="1886"/>
                </a:lnTo>
                <a:lnTo>
                  <a:pt x="7044" y="1886"/>
                </a:lnTo>
                <a:lnTo>
                  <a:pt x="7048" y="1886"/>
                </a:lnTo>
                <a:lnTo>
                  <a:pt x="7050" y="1884"/>
                </a:lnTo>
                <a:close/>
                <a:moveTo>
                  <a:pt x="6872" y="1954"/>
                </a:moveTo>
                <a:lnTo>
                  <a:pt x="6872" y="1954"/>
                </a:lnTo>
                <a:lnTo>
                  <a:pt x="6864" y="1958"/>
                </a:lnTo>
                <a:lnTo>
                  <a:pt x="6860" y="1956"/>
                </a:lnTo>
                <a:lnTo>
                  <a:pt x="6858" y="1956"/>
                </a:lnTo>
                <a:lnTo>
                  <a:pt x="6850" y="1962"/>
                </a:lnTo>
                <a:lnTo>
                  <a:pt x="6840" y="1974"/>
                </a:lnTo>
                <a:lnTo>
                  <a:pt x="6836" y="1984"/>
                </a:lnTo>
                <a:lnTo>
                  <a:pt x="6836" y="1992"/>
                </a:lnTo>
                <a:lnTo>
                  <a:pt x="6838" y="2000"/>
                </a:lnTo>
                <a:lnTo>
                  <a:pt x="6840" y="2004"/>
                </a:lnTo>
                <a:lnTo>
                  <a:pt x="6840" y="2006"/>
                </a:lnTo>
                <a:lnTo>
                  <a:pt x="6838" y="2014"/>
                </a:lnTo>
                <a:lnTo>
                  <a:pt x="6838" y="2018"/>
                </a:lnTo>
                <a:lnTo>
                  <a:pt x="6840" y="2018"/>
                </a:lnTo>
                <a:lnTo>
                  <a:pt x="6842" y="2016"/>
                </a:lnTo>
                <a:lnTo>
                  <a:pt x="6846" y="2014"/>
                </a:lnTo>
                <a:lnTo>
                  <a:pt x="6850" y="2008"/>
                </a:lnTo>
                <a:lnTo>
                  <a:pt x="6856" y="2000"/>
                </a:lnTo>
                <a:lnTo>
                  <a:pt x="6864" y="1992"/>
                </a:lnTo>
                <a:lnTo>
                  <a:pt x="6866" y="1986"/>
                </a:lnTo>
                <a:lnTo>
                  <a:pt x="6868" y="1984"/>
                </a:lnTo>
                <a:lnTo>
                  <a:pt x="6866" y="1978"/>
                </a:lnTo>
                <a:lnTo>
                  <a:pt x="6864" y="1976"/>
                </a:lnTo>
                <a:lnTo>
                  <a:pt x="6864" y="1972"/>
                </a:lnTo>
                <a:lnTo>
                  <a:pt x="6866" y="1968"/>
                </a:lnTo>
                <a:lnTo>
                  <a:pt x="6870" y="1964"/>
                </a:lnTo>
                <a:lnTo>
                  <a:pt x="6878" y="1954"/>
                </a:lnTo>
                <a:lnTo>
                  <a:pt x="6882" y="1950"/>
                </a:lnTo>
                <a:lnTo>
                  <a:pt x="6882" y="1948"/>
                </a:lnTo>
                <a:lnTo>
                  <a:pt x="6880" y="1948"/>
                </a:lnTo>
                <a:lnTo>
                  <a:pt x="6872" y="1954"/>
                </a:lnTo>
                <a:close/>
                <a:moveTo>
                  <a:pt x="6794" y="1990"/>
                </a:moveTo>
                <a:lnTo>
                  <a:pt x="6794" y="1990"/>
                </a:lnTo>
                <a:lnTo>
                  <a:pt x="6790" y="1990"/>
                </a:lnTo>
                <a:lnTo>
                  <a:pt x="6788" y="1992"/>
                </a:lnTo>
                <a:lnTo>
                  <a:pt x="6786" y="2000"/>
                </a:lnTo>
                <a:lnTo>
                  <a:pt x="6784" y="2010"/>
                </a:lnTo>
                <a:lnTo>
                  <a:pt x="6780" y="2018"/>
                </a:lnTo>
                <a:lnTo>
                  <a:pt x="6774" y="2026"/>
                </a:lnTo>
                <a:lnTo>
                  <a:pt x="6770" y="2038"/>
                </a:lnTo>
                <a:lnTo>
                  <a:pt x="6768" y="2052"/>
                </a:lnTo>
                <a:lnTo>
                  <a:pt x="6768" y="2056"/>
                </a:lnTo>
                <a:lnTo>
                  <a:pt x="6770" y="2060"/>
                </a:lnTo>
                <a:lnTo>
                  <a:pt x="6776" y="2050"/>
                </a:lnTo>
                <a:lnTo>
                  <a:pt x="6786" y="2026"/>
                </a:lnTo>
                <a:lnTo>
                  <a:pt x="6792" y="2002"/>
                </a:lnTo>
                <a:lnTo>
                  <a:pt x="6794" y="1992"/>
                </a:lnTo>
                <a:lnTo>
                  <a:pt x="6794" y="1990"/>
                </a:lnTo>
                <a:close/>
                <a:moveTo>
                  <a:pt x="6856" y="1798"/>
                </a:moveTo>
                <a:lnTo>
                  <a:pt x="6856" y="1798"/>
                </a:lnTo>
                <a:lnTo>
                  <a:pt x="6856" y="1796"/>
                </a:lnTo>
                <a:lnTo>
                  <a:pt x="6854" y="1790"/>
                </a:lnTo>
                <a:lnTo>
                  <a:pt x="6852" y="1786"/>
                </a:lnTo>
                <a:lnTo>
                  <a:pt x="6848" y="1786"/>
                </a:lnTo>
                <a:lnTo>
                  <a:pt x="6848" y="1788"/>
                </a:lnTo>
                <a:lnTo>
                  <a:pt x="6848" y="1792"/>
                </a:lnTo>
                <a:lnTo>
                  <a:pt x="6852" y="1796"/>
                </a:lnTo>
                <a:lnTo>
                  <a:pt x="6856" y="1798"/>
                </a:lnTo>
                <a:close/>
                <a:moveTo>
                  <a:pt x="7008" y="1802"/>
                </a:moveTo>
                <a:lnTo>
                  <a:pt x="7008" y="1802"/>
                </a:lnTo>
                <a:lnTo>
                  <a:pt x="7006" y="1800"/>
                </a:lnTo>
                <a:lnTo>
                  <a:pt x="7002" y="1798"/>
                </a:lnTo>
                <a:lnTo>
                  <a:pt x="6998" y="1798"/>
                </a:lnTo>
                <a:lnTo>
                  <a:pt x="6996" y="1800"/>
                </a:lnTo>
                <a:lnTo>
                  <a:pt x="6998" y="1802"/>
                </a:lnTo>
                <a:lnTo>
                  <a:pt x="7002" y="1804"/>
                </a:lnTo>
                <a:lnTo>
                  <a:pt x="7006" y="1804"/>
                </a:lnTo>
                <a:lnTo>
                  <a:pt x="7008" y="1802"/>
                </a:lnTo>
                <a:close/>
                <a:moveTo>
                  <a:pt x="6986" y="1790"/>
                </a:moveTo>
                <a:lnTo>
                  <a:pt x="6986" y="1790"/>
                </a:lnTo>
                <a:lnTo>
                  <a:pt x="6984" y="1792"/>
                </a:lnTo>
                <a:lnTo>
                  <a:pt x="6984" y="1796"/>
                </a:lnTo>
                <a:lnTo>
                  <a:pt x="6986" y="1798"/>
                </a:lnTo>
                <a:lnTo>
                  <a:pt x="6990" y="1800"/>
                </a:lnTo>
                <a:lnTo>
                  <a:pt x="6992" y="1798"/>
                </a:lnTo>
                <a:lnTo>
                  <a:pt x="6992" y="1796"/>
                </a:lnTo>
                <a:lnTo>
                  <a:pt x="6990" y="1792"/>
                </a:lnTo>
                <a:lnTo>
                  <a:pt x="6986" y="1790"/>
                </a:lnTo>
                <a:close/>
                <a:moveTo>
                  <a:pt x="6980" y="1810"/>
                </a:moveTo>
                <a:lnTo>
                  <a:pt x="6980" y="1810"/>
                </a:lnTo>
                <a:lnTo>
                  <a:pt x="6978" y="1808"/>
                </a:lnTo>
                <a:lnTo>
                  <a:pt x="6976" y="1808"/>
                </a:lnTo>
                <a:lnTo>
                  <a:pt x="6974" y="1812"/>
                </a:lnTo>
                <a:lnTo>
                  <a:pt x="6976" y="1814"/>
                </a:lnTo>
                <a:lnTo>
                  <a:pt x="6978" y="1814"/>
                </a:lnTo>
                <a:lnTo>
                  <a:pt x="6980" y="1812"/>
                </a:lnTo>
                <a:lnTo>
                  <a:pt x="6980" y="1810"/>
                </a:lnTo>
                <a:close/>
                <a:moveTo>
                  <a:pt x="6992" y="1810"/>
                </a:moveTo>
                <a:lnTo>
                  <a:pt x="6992" y="1810"/>
                </a:lnTo>
                <a:lnTo>
                  <a:pt x="6992" y="1812"/>
                </a:lnTo>
                <a:lnTo>
                  <a:pt x="6994" y="1810"/>
                </a:lnTo>
                <a:lnTo>
                  <a:pt x="6996" y="1810"/>
                </a:lnTo>
                <a:lnTo>
                  <a:pt x="6996" y="1808"/>
                </a:lnTo>
                <a:lnTo>
                  <a:pt x="6994" y="1808"/>
                </a:lnTo>
                <a:lnTo>
                  <a:pt x="6992" y="1808"/>
                </a:lnTo>
                <a:lnTo>
                  <a:pt x="6992" y="1810"/>
                </a:lnTo>
                <a:close/>
                <a:moveTo>
                  <a:pt x="6982" y="1810"/>
                </a:moveTo>
                <a:lnTo>
                  <a:pt x="6982" y="1810"/>
                </a:lnTo>
                <a:lnTo>
                  <a:pt x="6984" y="1810"/>
                </a:lnTo>
                <a:lnTo>
                  <a:pt x="6986" y="1810"/>
                </a:lnTo>
                <a:lnTo>
                  <a:pt x="6988" y="1810"/>
                </a:lnTo>
                <a:lnTo>
                  <a:pt x="6988" y="1808"/>
                </a:lnTo>
                <a:lnTo>
                  <a:pt x="6986" y="1806"/>
                </a:lnTo>
                <a:lnTo>
                  <a:pt x="6984" y="1806"/>
                </a:lnTo>
                <a:lnTo>
                  <a:pt x="6982" y="1810"/>
                </a:lnTo>
                <a:close/>
                <a:moveTo>
                  <a:pt x="6916" y="1814"/>
                </a:moveTo>
                <a:lnTo>
                  <a:pt x="6916" y="1814"/>
                </a:lnTo>
                <a:lnTo>
                  <a:pt x="6916" y="1816"/>
                </a:lnTo>
                <a:lnTo>
                  <a:pt x="6918" y="1820"/>
                </a:lnTo>
                <a:lnTo>
                  <a:pt x="6920" y="1820"/>
                </a:lnTo>
                <a:lnTo>
                  <a:pt x="6922" y="1820"/>
                </a:lnTo>
                <a:lnTo>
                  <a:pt x="6922" y="1818"/>
                </a:lnTo>
                <a:lnTo>
                  <a:pt x="6920" y="1816"/>
                </a:lnTo>
                <a:lnTo>
                  <a:pt x="6918" y="1814"/>
                </a:lnTo>
                <a:lnTo>
                  <a:pt x="6916" y="1814"/>
                </a:lnTo>
                <a:close/>
                <a:moveTo>
                  <a:pt x="6902" y="1802"/>
                </a:moveTo>
                <a:lnTo>
                  <a:pt x="6902" y="1802"/>
                </a:lnTo>
                <a:lnTo>
                  <a:pt x="6898" y="1804"/>
                </a:lnTo>
                <a:lnTo>
                  <a:pt x="6894" y="1806"/>
                </a:lnTo>
                <a:lnTo>
                  <a:pt x="6894" y="1808"/>
                </a:lnTo>
                <a:lnTo>
                  <a:pt x="6894" y="1812"/>
                </a:lnTo>
                <a:lnTo>
                  <a:pt x="6896" y="1810"/>
                </a:lnTo>
                <a:lnTo>
                  <a:pt x="6898" y="1810"/>
                </a:lnTo>
                <a:lnTo>
                  <a:pt x="6902" y="1812"/>
                </a:lnTo>
                <a:lnTo>
                  <a:pt x="6904" y="1814"/>
                </a:lnTo>
                <a:lnTo>
                  <a:pt x="6906" y="1816"/>
                </a:lnTo>
                <a:lnTo>
                  <a:pt x="6910" y="1816"/>
                </a:lnTo>
                <a:lnTo>
                  <a:pt x="6914" y="1814"/>
                </a:lnTo>
                <a:lnTo>
                  <a:pt x="6914" y="1812"/>
                </a:lnTo>
                <a:lnTo>
                  <a:pt x="6914" y="1810"/>
                </a:lnTo>
                <a:lnTo>
                  <a:pt x="6914" y="1808"/>
                </a:lnTo>
                <a:lnTo>
                  <a:pt x="6914" y="1806"/>
                </a:lnTo>
                <a:lnTo>
                  <a:pt x="6916" y="1806"/>
                </a:lnTo>
                <a:lnTo>
                  <a:pt x="6918" y="1808"/>
                </a:lnTo>
                <a:lnTo>
                  <a:pt x="6920" y="1808"/>
                </a:lnTo>
                <a:lnTo>
                  <a:pt x="6924" y="1804"/>
                </a:lnTo>
                <a:lnTo>
                  <a:pt x="6926" y="1802"/>
                </a:lnTo>
                <a:lnTo>
                  <a:pt x="6924" y="1800"/>
                </a:lnTo>
                <a:lnTo>
                  <a:pt x="6910" y="1794"/>
                </a:lnTo>
                <a:lnTo>
                  <a:pt x="6904" y="1794"/>
                </a:lnTo>
                <a:lnTo>
                  <a:pt x="6906" y="1796"/>
                </a:lnTo>
                <a:lnTo>
                  <a:pt x="6908" y="1800"/>
                </a:lnTo>
                <a:lnTo>
                  <a:pt x="6908" y="1802"/>
                </a:lnTo>
                <a:lnTo>
                  <a:pt x="6908" y="1804"/>
                </a:lnTo>
                <a:lnTo>
                  <a:pt x="6906" y="1806"/>
                </a:lnTo>
                <a:lnTo>
                  <a:pt x="6904" y="1804"/>
                </a:lnTo>
                <a:lnTo>
                  <a:pt x="6904" y="1802"/>
                </a:lnTo>
                <a:lnTo>
                  <a:pt x="6902" y="1802"/>
                </a:lnTo>
                <a:close/>
                <a:moveTo>
                  <a:pt x="7118" y="1484"/>
                </a:moveTo>
                <a:lnTo>
                  <a:pt x="7118" y="1484"/>
                </a:lnTo>
                <a:lnTo>
                  <a:pt x="7120" y="1484"/>
                </a:lnTo>
                <a:lnTo>
                  <a:pt x="7118" y="1482"/>
                </a:lnTo>
                <a:lnTo>
                  <a:pt x="7108" y="1480"/>
                </a:lnTo>
                <a:lnTo>
                  <a:pt x="7104" y="1480"/>
                </a:lnTo>
                <a:lnTo>
                  <a:pt x="7102" y="1480"/>
                </a:lnTo>
                <a:lnTo>
                  <a:pt x="7100" y="1484"/>
                </a:lnTo>
                <a:lnTo>
                  <a:pt x="7100" y="1488"/>
                </a:lnTo>
                <a:lnTo>
                  <a:pt x="7104" y="1490"/>
                </a:lnTo>
                <a:lnTo>
                  <a:pt x="7108" y="1488"/>
                </a:lnTo>
                <a:lnTo>
                  <a:pt x="7110" y="1488"/>
                </a:lnTo>
                <a:lnTo>
                  <a:pt x="7114" y="1486"/>
                </a:lnTo>
                <a:lnTo>
                  <a:pt x="7118" y="1484"/>
                </a:lnTo>
                <a:close/>
                <a:moveTo>
                  <a:pt x="6972" y="1606"/>
                </a:moveTo>
                <a:lnTo>
                  <a:pt x="6972" y="1606"/>
                </a:lnTo>
                <a:lnTo>
                  <a:pt x="6972" y="1604"/>
                </a:lnTo>
                <a:lnTo>
                  <a:pt x="6970" y="1604"/>
                </a:lnTo>
                <a:lnTo>
                  <a:pt x="6964" y="1604"/>
                </a:lnTo>
                <a:lnTo>
                  <a:pt x="6962" y="1604"/>
                </a:lnTo>
                <a:lnTo>
                  <a:pt x="6960" y="1606"/>
                </a:lnTo>
                <a:lnTo>
                  <a:pt x="6960" y="1608"/>
                </a:lnTo>
                <a:lnTo>
                  <a:pt x="6964" y="1610"/>
                </a:lnTo>
                <a:lnTo>
                  <a:pt x="6966" y="1612"/>
                </a:lnTo>
                <a:lnTo>
                  <a:pt x="6968" y="1612"/>
                </a:lnTo>
                <a:lnTo>
                  <a:pt x="6972" y="1606"/>
                </a:lnTo>
                <a:close/>
                <a:moveTo>
                  <a:pt x="6758" y="1246"/>
                </a:moveTo>
                <a:lnTo>
                  <a:pt x="6758" y="1246"/>
                </a:lnTo>
                <a:lnTo>
                  <a:pt x="6758" y="1248"/>
                </a:lnTo>
                <a:lnTo>
                  <a:pt x="6762" y="1248"/>
                </a:lnTo>
                <a:lnTo>
                  <a:pt x="6766" y="1246"/>
                </a:lnTo>
                <a:lnTo>
                  <a:pt x="6770" y="1244"/>
                </a:lnTo>
                <a:lnTo>
                  <a:pt x="6768" y="1242"/>
                </a:lnTo>
                <a:lnTo>
                  <a:pt x="6766" y="1240"/>
                </a:lnTo>
                <a:lnTo>
                  <a:pt x="6760" y="1242"/>
                </a:lnTo>
                <a:lnTo>
                  <a:pt x="6758" y="1246"/>
                </a:lnTo>
                <a:close/>
                <a:moveTo>
                  <a:pt x="6586" y="426"/>
                </a:moveTo>
                <a:lnTo>
                  <a:pt x="6586" y="426"/>
                </a:lnTo>
                <a:lnTo>
                  <a:pt x="6586" y="432"/>
                </a:lnTo>
                <a:lnTo>
                  <a:pt x="6588" y="438"/>
                </a:lnTo>
                <a:lnTo>
                  <a:pt x="6590" y="440"/>
                </a:lnTo>
                <a:lnTo>
                  <a:pt x="6594" y="444"/>
                </a:lnTo>
                <a:lnTo>
                  <a:pt x="6596" y="444"/>
                </a:lnTo>
                <a:lnTo>
                  <a:pt x="6596" y="446"/>
                </a:lnTo>
                <a:lnTo>
                  <a:pt x="6584" y="446"/>
                </a:lnTo>
                <a:lnTo>
                  <a:pt x="6570" y="448"/>
                </a:lnTo>
                <a:lnTo>
                  <a:pt x="6568" y="450"/>
                </a:lnTo>
                <a:lnTo>
                  <a:pt x="6570" y="452"/>
                </a:lnTo>
                <a:lnTo>
                  <a:pt x="6582" y="464"/>
                </a:lnTo>
                <a:lnTo>
                  <a:pt x="6608" y="488"/>
                </a:lnTo>
                <a:lnTo>
                  <a:pt x="6622" y="502"/>
                </a:lnTo>
                <a:lnTo>
                  <a:pt x="6634" y="508"/>
                </a:lnTo>
                <a:lnTo>
                  <a:pt x="6644" y="512"/>
                </a:lnTo>
                <a:lnTo>
                  <a:pt x="6654" y="510"/>
                </a:lnTo>
                <a:lnTo>
                  <a:pt x="6664" y="506"/>
                </a:lnTo>
                <a:lnTo>
                  <a:pt x="6676" y="498"/>
                </a:lnTo>
                <a:lnTo>
                  <a:pt x="6702" y="480"/>
                </a:lnTo>
                <a:lnTo>
                  <a:pt x="6722" y="470"/>
                </a:lnTo>
                <a:lnTo>
                  <a:pt x="6724" y="470"/>
                </a:lnTo>
                <a:lnTo>
                  <a:pt x="6726" y="472"/>
                </a:lnTo>
                <a:lnTo>
                  <a:pt x="6728" y="474"/>
                </a:lnTo>
                <a:lnTo>
                  <a:pt x="6732" y="478"/>
                </a:lnTo>
                <a:lnTo>
                  <a:pt x="6740" y="482"/>
                </a:lnTo>
                <a:lnTo>
                  <a:pt x="6756" y="484"/>
                </a:lnTo>
                <a:lnTo>
                  <a:pt x="6772" y="484"/>
                </a:lnTo>
                <a:lnTo>
                  <a:pt x="6780" y="486"/>
                </a:lnTo>
                <a:lnTo>
                  <a:pt x="6780" y="488"/>
                </a:lnTo>
                <a:lnTo>
                  <a:pt x="6778" y="490"/>
                </a:lnTo>
                <a:lnTo>
                  <a:pt x="6772" y="494"/>
                </a:lnTo>
                <a:lnTo>
                  <a:pt x="6742" y="504"/>
                </a:lnTo>
                <a:lnTo>
                  <a:pt x="6698" y="516"/>
                </a:lnTo>
                <a:lnTo>
                  <a:pt x="6678" y="522"/>
                </a:lnTo>
                <a:lnTo>
                  <a:pt x="6664" y="528"/>
                </a:lnTo>
                <a:lnTo>
                  <a:pt x="6656" y="534"/>
                </a:lnTo>
                <a:lnTo>
                  <a:pt x="6654" y="536"/>
                </a:lnTo>
                <a:lnTo>
                  <a:pt x="6656" y="538"/>
                </a:lnTo>
                <a:lnTo>
                  <a:pt x="6660" y="540"/>
                </a:lnTo>
                <a:lnTo>
                  <a:pt x="6674" y="542"/>
                </a:lnTo>
                <a:lnTo>
                  <a:pt x="6692" y="540"/>
                </a:lnTo>
                <a:lnTo>
                  <a:pt x="6718" y="538"/>
                </a:lnTo>
                <a:lnTo>
                  <a:pt x="6742" y="536"/>
                </a:lnTo>
                <a:lnTo>
                  <a:pt x="6756" y="538"/>
                </a:lnTo>
                <a:lnTo>
                  <a:pt x="6758" y="538"/>
                </a:lnTo>
                <a:lnTo>
                  <a:pt x="6760" y="540"/>
                </a:lnTo>
                <a:lnTo>
                  <a:pt x="6756" y="544"/>
                </a:lnTo>
                <a:lnTo>
                  <a:pt x="6748" y="550"/>
                </a:lnTo>
                <a:lnTo>
                  <a:pt x="6734" y="554"/>
                </a:lnTo>
                <a:lnTo>
                  <a:pt x="6720" y="558"/>
                </a:lnTo>
                <a:lnTo>
                  <a:pt x="6704" y="562"/>
                </a:lnTo>
                <a:lnTo>
                  <a:pt x="6678" y="568"/>
                </a:lnTo>
                <a:lnTo>
                  <a:pt x="6672" y="570"/>
                </a:lnTo>
                <a:lnTo>
                  <a:pt x="6668" y="574"/>
                </a:lnTo>
                <a:lnTo>
                  <a:pt x="6670" y="576"/>
                </a:lnTo>
                <a:lnTo>
                  <a:pt x="6676" y="580"/>
                </a:lnTo>
                <a:lnTo>
                  <a:pt x="6698" y="592"/>
                </a:lnTo>
                <a:lnTo>
                  <a:pt x="6712" y="596"/>
                </a:lnTo>
                <a:lnTo>
                  <a:pt x="6720" y="602"/>
                </a:lnTo>
                <a:lnTo>
                  <a:pt x="6732" y="614"/>
                </a:lnTo>
                <a:lnTo>
                  <a:pt x="6738" y="620"/>
                </a:lnTo>
                <a:lnTo>
                  <a:pt x="6744" y="624"/>
                </a:lnTo>
                <a:lnTo>
                  <a:pt x="6756" y="630"/>
                </a:lnTo>
                <a:lnTo>
                  <a:pt x="6774" y="636"/>
                </a:lnTo>
                <a:lnTo>
                  <a:pt x="6782" y="636"/>
                </a:lnTo>
                <a:lnTo>
                  <a:pt x="6790" y="636"/>
                </a:lnTo>
                <a:lnTo>
                  <a:pt x="6794" y="636"/>
                </a:lnTo>
                <a:lnTo>
                  <a:pt x="6798" y="632"/>
                </a:lnTo>
                <a:lnTo>
                  <a:pt x="6800" y="628"/>
                </a:lnTo>
                <a:lnTo>
                  <a:pt x="6802" y="624"/>
                </a:lnTo>
                <a:lnTo>
                  <a:pt x="6804" y="612"/>
                </a:lnTo>
                <a:lnTo>
                  <a:pt x="6804" y="598"/>
                </a:lnTo>
                <a:lnTo>
                  <a:pt x="6808" y="586"/>
                </a:lnTo>
                <a:lnTo>
                  <a:pt x="6812" y="580"/>
                </a:lnTo>
                <a:lnTo>
                  <a:pt x="6816" y="574"/>
                </a:lnTo>
                <a:lnTo>
                  <a:pt x="6822" y="570"/>
                </a:lnTo>
                <a:lnTo>
                  <a:pt x="6830" y="566"/>
                </a:lnTo>
                <a:lnTo>
                  <a:pt x="6844" y="560"/>
                </a:lnTo>
                <a:lnTo>
                  <a:pt x="6850" y="554"/>
                </a:lnTo>
                <a:lnTo>
                  <a:pt x="6850" y="548"/>
                </a:lnTo>
                <a:lnTo>
                  <a:pt x="6848" y="542"/>
                </a:lnTo>
                <a:lnTo>
                  <a:pt x="6846" y="536"/>
                </a:lnTo>
                <a:lnTo>
                  <a:pt x="6846" y="530"/>
                </a:lnTo>
                <a:lnTo>
                  <a:pt x="6848" y="528"/>
                </a:lnTo>
                <a:lnTo>
                  <a:pt x="6850" y="526"/>
                </a:lnTo>
                <a:lnTo>
                  <a:pt x="6860" y="522"/>
                </a:lnTo>
                <a:lnTo>
                  <a:pt x="6866" y="520"/>
                </a:lnTo>
                <a:lnTo>
                  <a:pt x="6872" y="516"/>
                </a:lnTo>
                <a:lnTo>
                  <a:pt x="6874" y="514"/>
                </a:lnTo>
                <a:lnTo>
                  <a:pt x="6876" y="510"/>
                </a:lnTo>
                <a:lnTo>
                  <a:pt x="6878" y="502"/>
                </a:lnTo>
                <a:lnTo>
                  <a:pt x="6878" y="494"/>
                </a:lnTo>
                <a:lnTo>
                  <a:pt x="6880" y="488"/>
                </a:lnTo>
                <a:lnTo>
                  <a:pt x="6882" y="484"/>
                </a:lnTo>
                <a:lnTo>
                  <a:pt x="6886" y="482"/>
                </a:lnTo>
                <a:lnTo>
                  <a:pt x="6890" y="478"/>
                </a:lnTo>
                <a:lnTo>
                  <a:pt x="6898" y="476"/>
                </a:lnTo>
                <a:lnTo>
                  <a:pt x="6918" y="474"/>
                </a:lnTo>
                <a:lnTo>
                  <a:pt x="6956" y="468"/>
                </a:lnTo>
                <a:lnTo>
                  <a:pt x="6968" y="466"/>
                </a:lnTo>
                <a:lnTo>
                  <a:pt x="6974" y="464"/>
                </a:lnTo>
                <a:lnTo>
                  <a:pt x="6974" y="462"/>
                </a:lnTo>
                <a:lnTo>
                  <a:pt x="6974" y="460"/>
                </a:lnTo>
                <a:lnTo>
                  <a:pt x="6970" y="456"/>
                </a:lnTo>
                <a:lnTo>
                  <a:pt x="6958" y="452"/>
                </a:lnTo>
                <a:lnTo>
                  <a:pt x="6944" y="448"/>
                </a:lnTo>
                <a:lnTo>
                  <a:pt x="6928" y="444"/>
                </a:lnTo>
                <a:lnTo>
                  <a:pt x="6920" y="440"/>
                </a:lnTo>
                <a:lnTo>
                  <a:pt x="6910" y="434"/>
                </a:lnTo>
                <a:lnTo>
                  <a:pt x="6908" y="432"/>
                </a:lnTo>
                <a:lnTo>
                  <a:pt x="6904" y="432"/>
                </a:lnTo>
                <a:lnTo>
                  <a:pt x="6886" y="430"/>
                </a:lnTo>
                <a:lnTo>
                  <a:pt x="6876" y="430"/>
                </a:lnTo>
                <a:lnTo>
                  <a:pt x="6870" y="428"/>
                </a:lnTo>
                <a:lnTo>
                  <a:pt x="6868" y="424"/>
                </a:lnTo>
                <a:lnTo>
                  <a:pt x="6868" y="418"/>
                </a:lnTo>
                <a:lnTo>
                  <a:pt x="6868" y="414"/>
                </a:lnTo>
                <a:lnTo>
                  <a:pt x="6866" y="406"/>
                </a:lnTo>
                <a:lnTo>
                  <a:pt x="6862" y="400"/>
                </a:lnTo>
                <a:lnTo>
                  <a:pt x="6856" y="394"/>
                </a:lnTo>
                <a:lnTo>
                  <a:pt x="6846" y="392"/>
                </a:lnTo>
                <a:lnTo>
                  <a:pt x="6840" y="394"/>
                </a:lnTo>
                <a:lnTo>
                  <a:pt x="6836" y="398"/>
                </a:lnTo>
                <a:lnTo>
                  <a:pt x="6832" y="404"/>
                </a:lnTo>
                <a:lnTo>
                  <a:pt x="6830" y="414"/>
                </a:lnTo>
                <a:lnTo>
                  <a:pt x="6828" y="414"/>
                </a:lnTo>
                <a:lnTo>
                  <a:pt x="6826" y="410"/>
                </a:lnTo>
                <a:lnTo>
                  <a:pt x="6824" y="402"/>
                </a:lnTo>
                <a:lnTo>
                  <a:pt x="6824" y="396"/>
                </a:lnTo>
                <a:lnTo>
                  <a:pt x="6826" y="390"/>
                </a:lnTo>
                <a:lnTo>
                  <a:pt x="6830" y="388"/>
                </a:lnTo>
                <a:lnTo>
                  <a:pt x="6834" y="382"/>
                </a:lnTo>
                <a:lnTo>
                  <a:pt x="6836" y="382"/>
                </a:lnTo>
                <a:lnTo>
                  <a:pt x="6836" y="380"/>
                </a:lnTo>
                <a:lnTo>
                  <a:pt x="6816" y="370"/>
                </a:lnTo>
                <a:lnTo>
                  <a:pt x="6808" y="368"/>
                </a:lnTo>
                <a:lnTo>
                  <a:pt x="6792" y="368"/>
                </a:lnTo>
                <a:lnTo>
                  <a:pt x="6784" y="368"/>
                </a:lnTo>
                <a:lnTo>
                  <a:pt x="6778" y="366"/>
                </a:lnTo>
                <a:lnTo>
                  <a:pt x="6768" y="360"/>
                </a:lnTo>
                <a:lnTo>
                  <a:pt x="6766" y="358"/>
                </a:lnTo>
                <a:lnTo>
                  <a:pt x="6760" y="356"/>
                </a:lnTo>
                <a:lnTo>
                  <a:pt x="6754" y="358"/>
                </a:lnTo>
                <a:lnTo>
                  <a:pt x="6746" y="362"/>
                </a:lnTo>
                <a:lnTo>
                  <a:pt x="6742" y="366"/>
                </a:lnTo>
                <a:lnTo>
                  <a:pt x="6740" y="370"/>
                </a:lnTo>
                <a:lnTo>
                  <a:pt x="6740" y="376"/>
                </a:lnTo>
                <a:lnTo>
                  <a:pt x="6740" y="382"/>
                </a:lnTo>
                <a:lnTo>
                  <a:pt x="6746" y="396"/>
                </a:lnTo>
                <a:lnTo>
                  <a:pt x="6752" y="412"/>
                </a:lnTo>
                <a:lnTo>
                  <a:pt x="6768" y="438"/>
                </a:lnTo>
                <a:lnTo>
                  <a:pt x="6770" y="446"/>
                </a:lnTo>
                <a:lnTo>
                  <a:pt x="6770" y="448"/>
                </a:lnTo>
                <a:lnTo>
                  <a:pt x="6768" y="450"/>
                </a:lnTo>
                <a:lnTo>
                  <a:pt x="6764" y="450"/>
                </a:lnTo>
                <a:lnTo>
                  <a:pt x="6760" y="446"/>
                </a:lnTo>
                <a:lnTo>
                  <a:pt x="6752" y="438"/>
                </a:lnTo>
                <a:lnTo>
                  <a:pt x="6732" y="412"/>
                </a:lnTo>
                <a:lnTo>
                  <a:pt x="6720" y="400"/>
                </a:lnTo>
                <a:lnTo>
                  <a:pt x="6710" y="388"/>
                </a:lnTo>
                <a:lnTo>
                  <a:pt x="6704" y="386"/>
                </a:lnTo>
                <a:lnTo>
                  <a:pt x="6698" y="382"/>
                </a:lnTo>
                <a:lnTo>
                  <a:pt x="6694" y="382"/>
                </a:lnTo>
                <a:lnTo>
                  <a:pt x="6688" y="382"/>
                </a:lnTo>
                <a:lnTo>
                  <a:pt x="6684" y="384"/>
                </a:lnTo>
                <a:lnTo>
                  <a:pt x="6680" y="388"/>
                </a:lnTo>
                <a:lnTo>
                  <a:pt x="6674" y="396"/>
                </a:lnTo>
                <a:lnTo>
                  <a:pt x="6672" y="406"/>
                </a:lnTo>
                <a:lnTo>
                  <a:pt x="6670" y="414"/>
                </a:lnTo>
                <a:lnTo>
                  <a:pt x="6670" y="424"/>
                </a:lnTo>
                <a:lnTo>
                  <a:pt x="6668" y="424"/>
                </a:lnTo>
                <a:lnTo>
                  <a:pt x="6666" y="416"/>
                </a:lnTo>
                <a:lnTo>
                  <a:pt x="6660" y="408"/>
                </a:lnTo>
                <a:lnTo>
                  <a:pt x="6652" y="402"/>
                </a:lnTo>
                <a:lnTo>
                  <a:pt x="6644" y="398"/>
                </a:lnTo>
                <a:lnTo>
                  <a:pt x="6638" y="396"/>
                </a:lnTo>
                <a:lnTo>
                  <a:pt x="6634" y="394"/>
                </a:lnTo>
                <a:lnTo>
                  <a:pt x="6634" y="392"/>
                </a:lnTo>
                <a:lnTo>
                  <a:pt x="6646" y="390"/>
                </a:lnTo>
                <a:lnTo>
                  <a:pt x="6656" y="386"/>
                </a:lnTo>
                <a:lnTo>
                  <a:pt x="6664" y="384"/>
                </a:lnTo>
                <a:lnTo>
                  <a:pt x="6668" y="380"/>
                </a:lnTo>
                <a:lnTo>
                  <a:pt x="6668" y="376"/>
                </a:lnTo>
                <a:lnTo>
                  <a:pt x="6668" y="374"/>
                </a:lnTo>
                <a:lnTo>
                  <a:pt x="6662" y="374"/>
                </a:lnTo>
                <a:lnTo>
                  <a:pt x="6654" y="374"/>
                </a:lnTo>
                <a:lnTo>
                  <a:pt x="6642" y="376"/>
                </a:lnTo>
                <a:lnTo>
                  <a:pt x="6630" y="380"/>
                </a:lnTo>
                <a:lnTo>
                  <a:pt x="6622" y="380"/>
                </a:lnTo>
                <a:lnTo>
                  <a:pt x="6618" y="378"/>
                </a:lnTo>
                <a:lnTo>
                  <a:pt x="6614" y="376"/>
                </a:lnTo>
                <a:lnTo>
                  <a:pt x="6612" y="374"/>
                </a:lnTo>
                <a:lnTo>
                  <a:pt x="6610" y="374"/>
                </a:lnTo>
                <a:lnTo>
                  <a:pt x="6606" y="374"/>
                </a:lnTo>
                <a:lnTo>
                  <a:pt x="6600" y="378"/>
                </a:lnTo>
                <a:lnTo>
                  <a:pt x="6594" y="382"/>
                </a:lnTo>
                <a:lnTo>
                  <a:pt x="6590" y="382"/>
                </a:lnTo>
                <a:lnTo>
                  <a:pt x="6586" y="380"/>
                </a:lnTo>
                <a:lnTo>
                  <a:pt x="6584" y="378"/>
                </a:lnTo>
                <a:lnTo>
                  <a:pt x="6580" y="376"/>
                </a:lnTo>
                <a:lnTo>
                  <a:pt x="6576" y="374"/>
                </a:lnTo>
                <a:lnTo>
                  <a:pt x="6568" y="376"/>
                </a:lnTo>
                <a:lnTo>
                  <a:pt x="6558" y="382"/>
                </a:lnTo>
                <a:lnTo>
                  <a:pt x="6548" y="388"/>
                </a:lnTo>
                <a:lnTo>
                  <a:pt x="6542" y="394"/>
                </a:lnTo>
                <a:lnTo>
                  <a:pt x="6538" y="400"/>
                </a:lnTo>
                <a:lnTo>
                  <a:pt x="6538" y="404"/>
                </a:lnTo>
                <a:lnTo>
                  <a:pt x="6542" y="410"/>
                </a:lnTo>
                <a:lnTo>
                  <a:pt x="6546" y="416"/>
                </a:lnTo>
                <a:lnTo>
                  <a:pt x="6556" y="428"/>
                </a:lnTo>
                <a:lnTo>
                  <a:pt x="6562" y="434"/>
                </a:lnTo>
                <a:lnTo>
                  <a:pt x="6568" y="434"/>
                </a:lnTo>
                <a:lnTo>
                  <a:pt x="6574" y="432"/>
                </a:lnTo>
                <a:lnTo>
                  <a:pt x="6580" y="428"/>
                </a:lnTo>
                <a:lnTo>
                  <a:pt x="6586" y="420"/>
                </a:lnTo>
                <a:lnTo>
                  <a:pt x="6588" y="420"/>
                </a:lnTo>
                <a:lnTo>
                  <a:pt x="6586" y="426"/>
                </a:lnTo>
                <a:close/>
                <a:moveTo>
                  <a:pt x="6576" y="498"/>
                </a:moveTo>
                <a:lnTo>
                  <a:pt x="6576" y="498"/>
                </a:lnTo>
                <a:lnTo>
                  <a:pt x="6590" y="504"/>
                </a:lnTo>
                <a:lnTo>
                  <a:pt x="6596" y="506"/>
                </a:lnTo>
                <a:lnTo>
                  <a:pt x="6598" y="504"/>
                </a:lnTo>
                <a:lnTo>
                  <a:pt x="6596" y="498"/>
                </a:lnTo>
                <a:lnTo>
                  <a:pt x="6590" y="492"/>
                </a:lnTo>
                <a:lnTo>
                  <a:pt x="6584" y="486"/>
                </a:lnTo>
                <a:lnTo>
                  <a:pt x="6578" y="482"/>
                </a:lnTo>
                <a:lnTo>
                  <a:pt x="6572" y="480"/>
                </a:lnTo>
                <a:lnTo>
                  <a:pt x="6566" y="478"/>
                </a:lnTo>
                <a:lnTo>
                  <a:pt x="6562" y="474"/>
                </a:lnTo>
                <a:lnTo>
                  <a:pt x="6554" y="462"/>
                </a:lnTo>
                <a:lnTo>
                  <a:pt x="6550" y="456"/>
                </a:lnTo>
                <a:lnTo>
                  <a:pt x="6546" y="452"/>
                </a:lnTo>
                <a:lnTo>
                  <a:pt x="6540" y="448"/>
                </a:lnTo>
                <a:lnTo>
                  <a:pt x="6534" y="450"/>
                </a:lnTo>
                <a:lnTo>
                  <a:pt x="6530" y="454"/>
                </a:lnTo>
                <a:lnTo>
                  <a:pt x="6532" y="458"/>
                </a:lnTo>
                <a:lnTo>
                  <a:pt x="6544" y="480"/>
                </a:lnTo>
                <a:lnTo>
                  <a:pt x="6550" y="490"/>
                </a:lnTo>
                <a:lnTo>
                  <a:pt x="6552" y="492"/>
                </a:lnTo>
                <a:lnTo>
                  <a:pt x="6554" y="490"/>
                </a:lnTo>
                <a:lnTo>
                  <a:pt x="6556" y="490"/>
                </a:lnTo>
                <a:lnTo>
                  <a:pt x="6560" y="490"/>
                </a:lnTo>
                <a:lnTo>
                  <a:pt x="6568" y="492"/>
                </a:lnTo>
                <a:lnTo>
                  <a:pt x="6576" y="498"/>
                </a:lnTo>
                <a:close/>
                <a:moveTo>
                  <a:pt x="6840" y="358"/>
                </a:moveTo>
                <a:lnTo>
                  <a:pt x="6840" y="358"/>
                </a:lnTo>
                <a:lnTo>
                  <a:pt x="6848" y="362"/>
                </a:lnTo>
                <a:lnTo>
                  <a:pt x="6850" y="364"/>
                </a:lnTo>
                <a:lnTo>
                  <a:pt x="6848" y="366"/>
                </a:lnTo>
                <a:lnTo>
                  <a:pt x="6846" y="366"/>
                </a:lnTo>
                <a:lnTo>
                  <a:pt x="6844" y="368"/>
                </a:lnTo>
                <a:lnTo>
                  <a:pt x="6846" y="370"/>
                </a:lnTo>
                <a:lnTo>
                  <a:pt x="6850" y="374"/>
                </a:lnTo>
                <a:lnTo>
                  <a:pt x="6860" y="380"/>
                </a:lnTo>
                <a:lnTo>
                  <a:pt x="6870" y="384"/>
                </a:lnTo>
                <a:lnTo>
                  <a:pt x="6880" y="386"/>
                </a:lnTo>
                <a:lnTo>
                  <a:pt x="6888" y="386"/>
                </a:lnTo>
                <a:lnTo>
                  <a:pt x="6898" y="384"/>
                </a:lnTo>
                <a:lnTo>
                  <a:pt x="6922" y="380"/>
                </a:lnTo>
                <a:lnTo>
                  <a:pt x="6936" y="378"/>
                </a:lnTo>
                <a:lnTo>
                  <a:pt x="6954" y="376"/>
                </a:lnTo>
                <a:lnTo>
                  <a:pt x="6980" y="376"/>
                </a:lnTo>
                <a:lnTo>
                  <a:pt x="6982" y="378"/>
                </a:lnTo>
                <a:lnTo>
                  <a:pt x="6980" y="380"/>
                </a:lnTo>
                <a:lnTo>
                  <a:pt x="6958" y="384"/>
                </a:lnTo>
                <a:lnTo>
                  <a:pt x="6920" y="392"/>
                </a:lnTo>
                <a:lnTo>
                  <a:pt x="6904" y="396"/>
                </a:lnTo>
                <a:lnTo>
                  <a:pt x="6900" y="398"/>
                </a:lnTo>
                <a:lnTo>
                  <a:pt x="6900" y="400"/>
                </a:lnTo>
                <a:lnTo>
                  <a:pt x="6902" y="402"/>
                </a:lnTo>
                <a:lnTo>
                  <a:pt x="6904" y="402"/>
                </a:lnTo>
                <a:lnTo>
                  <a:pt x="6916" y="406"/>
                </a:lnTo>
                <a:lnTo>
                  <a:pt x="6954" y="410"/>
                </a:lnTo>
                <a:lnTo>
                  <a:pt x="6992" y="412"/>
                </a:lnTo>
                <a:lnTo>
                  <a:pt x="7008" y="414"/>
                </a:lnTo>
                <a:lnTo>
                  <a:pt x="7022" y="418"/>
                </a:lnTo>
                <a:lnTo>
                  <a:pt x="7044" y="428"/>
                </a:lnTo>
                <a:lnTo>
                  <a:pt x="7054" y="430"/>
                </a:lnTo>
                <a:lnTo>
                  <a:pt x="7064" y="432"/>
                </a:lnTo>
                <a:lnTo>
                  <a:pt x="7074" y="430"/>
                </a:lnTo>
                <a:lnTo>
                  <a:pt x="7086" y="424"/>
                </a:lnTo>
                <a:lnTo>
                  <a:pt x="7096" y="416"/>
                </a:lnTo>
                <a:lnTo>
                  <a:pt x="7104" y="412"/>
                </a:lnTo>
                <a:lnTo>
                  <a:pt x="7108" y="412"/>
                </a:lnTo>
                <a:lnTo>
                  <a:pt x="7114" y="412"/>
                </a:lnTo>
                <a:lnTo>
                  <a:pt x="7124" y="416"/>
                </a:lnTo>
                <a:lnTo>
                  <a:pt x="7130" y="416"/>
                </a:lnTo>
                <a:lnTo>
                  <a:pt x="7140" y="414"/>
                </a:lnTo>
                <a:lnTo>
                  <a:pt x="7148" y="410"/>
                </a:lnTo>
                <a:lnTo>
                  <a:pt x="7152" y="406"/>
                </a:lnTo>
                <a:lnTo>
                  <a:pt x="7154" y="402"/>
                </a:lnTo>
                <a:lnTo>
                  <a:pt x="7154" y="398"/>
                </a:lnTo>
                <a:lnTo>
                  <a:pt x="7156" y="394"/>
                </a:lnTo>
                <a:lnTo>
                  <a:pt x="7160" y="388"/>
                </a:lnTo>
                <a:lnTo>
                  <a:pt x="7172" y="382"/>
                </a:lnTo>
                <a:lnTo>
                  <a:pt x="7190" y="376"/>
                </a:lnTo>
                <a:lnTo>
                  <a:pt x="7202" y="370"/>
                </a:lnTo>
                <a:lnTo>
                  <a:pt x="7206" y="366"/>
                </a:lnTo>
                <a:lnTo>
                  <a:pt x="7206" y="360"/>
                </a:lnTo>
                <a:lnTo>
                  <a:pt x="7202" y="356"/>
                </a:lnTo>
                <a:lnTo>
                  <a:pt x="7194" y="350"/>
                </a:lnTo>
                <a:lnTo>
                  <a:pt x="7186" y="348"/>
                </a:lnTo>
                <a:lnTo>
                  <a:pt x="7178" y="346"/>
                </a:lnTo>
                <a:lnTo>
                  <a:pt x="7168" y="346"/>
                </a:lnTo>
                <a:lnTo>
                  <a:pt x="7152" y="346"/>
                </a:lnTo>
                <a:lnTo>
                  <a:pt x="7136" y="342"/>
                </a:lnTo>
                <a:lnTo>
                  <a:pt x="7116" y="336"/>
                </a:lnTo>
                <a:lnTo>
                  <a:pt x="7090" y="330"/>
                </a:lnTo>
                <a:lnTo>
                  <a:pt x="7080" y="330"/>
                </a:lnTo>
                <a:lnTo>
                  <a:pt x="7072" y="330"/>
                </a:lnTo>
                <a:lnTo>
                  <a:pt x="7068" y="334"/>
                </a:lnTo>
                <a:lnTo>
                  <a:pt x="7066" y="338"/>
                </a:lnTo>
                <a:lnTo>
                  <a:pt x="7062" y="344"/>
                </a:lnTo>
                <a:lnTo>
                  <a:pt x="7058" y="346"/>
                </a:lnTo>
                <a:lnTo>
                  <a:pt x="7050" y="346"/>
                </a:lnTo>
                <a:lnTo>
                  <a:pt x="7044" y="344"/>
                </a:lnTo>
                <a:lnTo>
                  <a:pt x="7042" y="342"/>
                </a:lnTo>
                <a:lnTo>
                  <a:pt x="7042" y="338"/>
                </a:lnTo>
                <a:lnTo>
                  <a:pt x="7044" y="334"/>
                </a:lnTo>
                <a:lnTo>
                  <a:pt x="7046" y="326"/>
                </a:lnTo>
                <a:lnTo>
                  <a:pt x="7046" y="324"/>
                </a:lnTo>
                <a:lnTo>
                  <a:pt x="7044" y="320"/>
                </a:lnTo>
                <a:lnTo>
                  <a:pt x="7034" y="318"/>
                </a:lnTo>
                <a:lnTo>
                  <a:pt x="7028" y="318"/>
                </a:lnTo>
                <a:lnTo>
                  <a:pt x="7024" y="318"/>
                </a:lnTo>
                <a:lnTo>
                  <a:pt x="7020" y="322"/>
                </a:lnTo>
                <a:lnTo>
                  <a:pt x="7016" y="326"/>
                </a:lnTo>
                <a:lnTo>
                  <a:pt x="7012" y="332"/>
                </a:lnTo>
                <a:lnTo>
                  <a:pt x="7012" y="340"/>
                </a:lnTo>
                <a:lnTo>
                  <a:pt x="7010" y="354"/>
                </a:lnTo>
                <a:lnTo>
                  <a:pt x="7008" y="356"/>
                </a:lnTo>
                <a:lnTo>
                  <a:pt x="7006" y="358"/>
                </a:lnTo>
                <a:lnTo>
                  <a:pt x="7002" y="356"/>
                </a:lnTo>
                <a:lnTo>
                  <a:pt x="6998" y="354"/>
                </a:lnTo>
                <a:lnTo>
                  <a:pt x="6990" y="342"/>
                </a:lnTo>
                <a:lnTo>
                  <a:pt x="6984" y="336"/>
                </a:lnTo>
                <a:lnTo>
                  <a:pt x="6980" y="334"/>
                </a:lnTo>
                <a:lnTo>
                  <a:pt x="6976" y="334"/>
                </a:lnTo>
                <a:lnTo>
                  <a:pt x="6970" y="336"/>
                </a:lnTo>
                <a:lnTo>
                  <a:pt x="6964" y="336"/>
                </a:lnTo>
                <a:lnTo>
                  <a:pt x="6952" y="336"/>
                </a:lnTo>
                <a:lnTo>
                  <a:pt x="6938" y="332"/>
                </a:lnTo>
                <a:lnTo>
                  <a:pt x="6918" y="326"/>
                </a:lnTo>
                <a:lnTo>
                  <a:pt x="6900" y="320"/>
                </a:lnTo>
                <a:lnTo>
                  <a:pt x="6894" y="318"/>
                </a:lnTo>
                <a:lnTo>
                  <a:pt x="6892" y="320"/>
                </a:lnTo>
                <a:lnTo>
                  <a:pt x="6892" y="322"/>
                </a:lnTo>
                <a:lnTo>
                  <a:pt x="6896" y="328"/>
                </a:lnTo>
                <a:lnTo>
                  <a:pt x="6900" y="334"/>
                </a:lnTo>
                <a:lnTo>
                  <a:pt x="6902" y="338"/>
                </a:lnTo>
                <a:lnTo>
                  <a:pt x="6900" y="340"/>
                </a:lnTo>
                <a:lnTo>
                  <a:pt x="6898" y="338"/>
                </a:lnTo>
                <a:lnTo>
                  <a:pt x="6884" y="334"/>
                </a:lnTo>
                <a:lnTo>
                  <a:pt x="6872" y="328"/>
                </a:lnTo>
                <a:lnTo>
                  <a:pt x="6868" y="328"/>
                </a:lnTo>
                <a:lnTo>
                  <a:pt x="6868" y="332"/>
                </a:lnTo>
                <a:lnTo>
                  <a:pt x="6872" y="336"/>
                </a:lnTo>
                <a:lnTo>
                  <a:pt x="6876" y="342"/>
                </a:lnTo>
                <a:lnTo>
                  <a:pt x="6878" y="346"/>
                </a:lnTo>
                <a:lnTo>
                  <a:pt x="6878" y="348"/>
                </a:lnTo>
                <a:lnTo>
                  <a:pt x="6876" y="348"/>
                </a:lnTo>
                <a:lnTo>
                  <a:pt x="6864" y="346"/>
                </a:lnTo>
                <a:lnTo>
                  <a:pt x="6850" y="342"/>
                </a:lnTo>
                <a:lnTo>
                  <a:pt x="6840" y="342"/>
                </a:lnTo>
                <a:lnTo>
                  <a:pt x="6832" y="342"/>
                </a:lnTo>
                <a:lnTo>
                  <a:pt x="6828" y="344"/>
                </a:lnTo>
                <a:lnTo>
                  <a:pt x="6826" y="346"/>
                </a:lnTo>
                <a:lnTo>
                  <a:pt x="6828" y="350"/>
                </a:lnTo>
                <a:lnTo>
                  <a:pt x="6832" y="354"/>
                </a:lnTo>
                <a:lnTo>
                  <a:pt x="6840" y="358"/>
                </a:lnTo>
                <a:close/>
                <a:moveTo>
                  <a:pt x="7084" y="1064"/>
                </a:moveTo>
                <a:lnTo>
                  <a:pt x="7084" y="1064"/>
                </a:lnTo>
                <a:lnTo>
                  <a:pt x="7080" y="1062"/>
                </a:lnTo>
                <a:lnTo>
                  <a:pt x="7076" y="1062"/>
                </a:lnTo>
                <a:lnTo>
                  <a:pt x="7074" y="1062"/>
                </a:lnTo>
                <a:lnTo>
                  <a:pt x="7074" y="1064"/>
                </a:lnTo>
                <a:lnTo>
                  <a:pt x="7078" y="1066"/>
                </a:lnTo>
                <a:lnTo>
                  <a:pt x="7082" y="1068"/>
                </a:lnTo>
                <a:lnTo>
                  <a:pt x="7086" y="1066"/>
                </a:lnTo>
                <a:lnTo>
                  <a:pt x="7084" y="1064"/>
                </a:lnTo>
                <a:close/>
                <a:moveTo>
                  <a:pt x="6940" y="1148"/>
                </a:moveTo>
                <a:lnTo>
                  <a:pt x="6940" y="1148"/>
                </a:lnTo>
                <a:lnTo>
                  <a:pt x="6944" y="1144"/>
                </a:lnTo>
                <a:lnTo>
                  <a:pt x="6946" y="1140"/>
                </a:lnTo>
                <a:lnTo>
                  <a:pt x="6944" y="1138"/>
                </a:lnTo>
                <a:lnTo>
                  <a:pt x="6942" y="1138"/>
                </a:lnTo>
                <a:lnTo>
                  <a:pt x="6940" y="1142"/>
                </a:lnTo>
                <a:lnTo>
                  <a:pt x="6938" y="1146"/>
                </a:lnTo>
                <a:lnTo>
                  <a:pt x="6938" y="1148"/>
                </a:lnTo>
                <a:lnTo>
                  <a:pt x="6940" y="1148"/>
                </a:lnTo>
                <a:close/>
                <a:moveTo>
                  <a:pt x="6956" y="1136"/>
                </a:moveTo>
                <a:lnTo>
                  <a:pt x="6956" y="1136"/>
                </a:lnTo>
                <a:lnTo>
                  <a:pt x="6958" y="1136"/>
                </a:lnTo>
                <a:lnTo>
                  <a:pt x="6958" y="1134"/>
                </a:lnTo>
                <a:lnTo>
                  <a:pt x="6954" y="1132"/>
                </a:lnTo>
                <a:lnTo>
                  <a:pt x="6952" y="1130"/>
                </a:lnTo>
                <a:lnTo>
                  <a:pt x="6948" y="1132"/>
                </a:lnTo>
                <a:lnTo>
                  <a:pt x="6948" y="1134"/>
                </a:lnTo>
                <a:lnTo>
                  <a:pt x="6950" y="1136"/>
                </a:lnTo>
                <a:lnTo>
                  <a:pt x="6956" y="1136"/>
                </a:lnTo>
                <a:close/>
                <a:moveTo>
                  <a:pt x="6912" y="1136"/>
                </a:moveTo>
                <a:lnTo>
                  <a:pt x="6912" y="1136"/>
                </a:lnTo>
                <a:lnTo>
                  <a:pt x="6910" y="1134"/>
                </a:lnTo>
                <a:lnTo>
                  <a:pt x="6906" y="1136"/>
                </a:lnTo>
                <a:lnTo>
                  <a:pt x="6902" y="1138"/>
                </a:lnTo>
                <a:lnTo>
                  <a:pt x="6898" y="1142"/>
                </a:lnTo>
                <a:lnTo>
                  <a:pt x="6898" y="1144"/>
                </a:lnTo>
                <a:lnTo>
                  <a:pt x="6900" y="1144"/>
                </a:lnTo>
                <a:lnTo>
                  <a:pt x="6904" y="1142"/>
                </a:lnTo>
                <a:lnTo>
                  <a:pt x="6908" y="1138"/>
                </a:lnTo>
                <a:lnTo>
                  <a:pt x="6912" y="1136"/>
                </a:lnTo>
                <a:close/>
                <a:moveTo>
                  <a:pt x="6886" y="1114"/>
                </a:moveTo>
                <a:lnTo>
                  <a:pt x="6886" y="1114"/>
                </a:lnTo>
                <a:lnTo>
                  <a:pt x="6882" y="1116"/>
                </a:lnTo>
                <a:lnTo>
                  <a:pt x="6880" y="1118"/>
                </a:lnTo>
                <a:lnTo>
                  <a:pt x="6878" y="1122"/>
                </a:lnTo>
                <a:lnTo>
                  <a:pt x="6878" y="1124"/>
                </a:lnTo>
                <a:lnTo>
                  <a:pt x="6880" y="1124"/>
                </a:lnTo>
                <a:lnTo>
                  <a:pt x="6884" y="1122"/>
                </a:lnTo>
                <a:lnTo>
                  <a:pt x="6886" y="1120"/>
                </a:lnTo>
                <a:lnTo>
                  <a:pt x="6886" y="1118"/>
                </a:lnTo>
                <a:lnTo>
                  <a:pt x="6886" y="1114"/>
                </a:lnTo>
                <a:close/>
                <a:moveTo>
                  <a:pt x="6874" y="1126"/>
                </a:moveTo>
                <a:lnTo>
                  <a:pt x="6874" y="1126"/>
                </a:lnTo>
                <a:lnTo>
                  <a:pt x="6872" y="1124"/>
                </a:lnTo>
                <a:lnTo>
                  <a:pt x="6870" y="1126"/>
                </a:lnTo>
                <a:lnTo>
                  <a:pt x="6868" y="1126"/>
                </a:lnTo>
                <a:lnTo>
                  <a:pt x="6866" y="1126"/>
                </a:lnTo>
                <a:lnTo>
                  <a:pt x="6864" y="1126"/>
                </a:lnTo>
                <a:lnTo>
                  <a:pt x="6862" y="1128"/>
                </a:lnTo>
                <a:lnTo>
                  <a:pt x="6862" y="1130"/>
                </a:lnTo>
                <a:lnTo>
                  <a:pt x="6862" y="1132"/>
                </a:lnTo>
                <a:lnTo>
                  <a:pt x="6864" y="1132"/>
                </a:lnTo>
                <a:lnTo>
                  <a:pt x="6868" y="1130"/>
                </a:lnTo>
                <a:lnTo>
                  <a:pt x="6872" y="1128"/>
                </a:lnTo>
                <a:lnTo>
                  <a:pt x="6874" y="1126"/>
                </a:lnTo>
                <a:close/>
                <a:moveTo>
                  <a:pt x="6800" y="1216"/>
                </a:moveTo>
                <a:lnTo>
                  <a:pt x="6800" y="1216"/>
                </a:lnTo>
                <a:lnTo>
                  <a:pt x="6804" y="1216"/>
                </a:lnTo>
                <a:lnTo>
                  <a:pt x="6808" y="1216"/>
                </a:lnTo>
                <a:lnTo>
                  <a:pt x="6810" y="1214"/>
                </a:lnTo>
                <a:lnTo>
                  <a:pt x="6808" y="1212"/>
                </a:lnTo>
                <a:lnTo>
                  <a:pt x="6804" y="1210"/>
                </a:lnTo>
                <a:lnTo>
                  <a:pt x="6802" y="1212"/>
                </a:lnTo>
                <a:lnTo>
                  <a:pt x="6800" y="1214"/>
                </a:lnTo>
                <a:lnTo>
                  <a:pt x="6800" y="1216"/>
                </a:lnTo>
                <a:close/>
                <a:moveTo>
                  <a:pt x="6786" y="1222"/>
                </a:moveTo>
                <a:lnTo>
                  <a:pt x="6786" y="1222"/>
                </a:lnTo>
                <a:lnTo>
                  <a:pt x="6786" y="1224"/>
                </a:lnTo>
                <a:lnTo>
                  <a:pt x="6788" y="1226"/>
                </a:lnTo>
                <a:lnTo>
                  <a:pt x="6796" y="1224"/>
                </a:lnTo>
                <a:lnTo>
                  <a:pt x="6798" y="1224"/>
                </a:lnTo>
                <a:lnTo>
                  <a:pt x="6798" y="1222"/>
                </a:lnTo>
                <a:lnTo>
                  <a:pt x="6796" y="1220"/>
                </a:lnTo>
                <a:lnTo>
                  <a:pt x="6790" y="1218"/>
                </a:lnTo>
                <a:lnTo>
                  <a:pt x="6788" y="1220"/>
                </a:lnTo>
                <a:lnTo>
                  <a:pt x="6786" y="1222"/>
                </a:lnTo>
                <a:close/>
                <a:moveTo>
                  <a:pt x="6714" y="1284"/>
                </a:moveTo>
                <a:lnTo>
                  <a:pt x="6714" y="1284"/>
                </a:lnTo>
                <a:lnTo>
                  <a:pt x="6718" y="1282"/>
                </a:lnTo>
                <a:lnTo>
                  <a:pt x="6714" y="1278"/>
                </a:lnTo>
                <a:lnTo>
                  <a:pt x="6712" y="1278"/>
                </a:lnTo>
                <a:lnTo>
                  <a:pt x="6710" y="1280"/>
                </a:lnTo>
                <a:lnTo>
                  <a:pt x="6710" y="1282"/>
                </a:lnTo>
                <a:lnTo>
                  <a:pt x="6714" y="1284"/>
                </a:lnTo>
                <a:close/>
                <a:moveTo>
                  <a:pt x="6764" y="1208"/>
                </a:moveTo>
                <a:lnTo>
                  <a:pt x="6764" y="1208"/>
                </a:lnTo>
                <a:lnTo>
                  <a:pt x="6764" y="1210"/>
                </a:lnTo>
                <a:lnTo>
                  <a:pt x="6768" y="1212"/>
                </a:lnTo>
                <a:lnTo>
                  <a:pt x="6772" y="1214"/>
                </a:lnTo>
                <a:lnTo>
                  <a:pt x="6776" y="1212"/>
                </a:lnTo>
                <a:lnTo>
                  <a:pt x="6776" y="1210"/>
                </a:lnTo>
                <a:lnTo>
                  <a:pt x="6772" y="1208"/>
                </a:lnTo>
                <a:lnTo>
                  <a:pt x="6768" y="1208"/>
                </a:lnTo>
                <a:lnTo>
                  <a:pt x="6764" y="1208"/>
                </a:lnTo>
                <a:close/>
                <a:moveTo>
                  <a:pt x="6900" y="1126"/>
                </a:moveTo>
                <a:lnTo>
                  <a:pt x="6900" y="1126"/>
                </a:lnTo>
                <a:lnTo>
                  <a:pt x="6900" y="1124"/>
                </a:lnTo>
                <a:lnTo>
                  <a:pt x="6896" y="1122"/>
                </a:lnTo>
                <a:lnTo>
                  <a:pt x="6894" y="1120"/>
                </a:lnTo>
                <a:lnTo>
                  <a:pt x="6890" y="1122"/>
                </a:lnTo>
                <a:lnTo>
                  <a:pt x="6890" y="1124"/>
                </a:lnTo>
                <a:lnTo>
                  <a:pt x="6894" y="1126"/>
                </a:lnTo>
                <a:lnTo>
                  <a:pt x="6898" y="1126"/>
                </a:lnTo>
                <a:lnTo>
                  <a:pt x="6900" y="1126"/>
                </a:lnTo>
                <a:close/>
                <a:moveTo>
                  <a:pt x="6680" y="1258"/>
                </a:moveTo>
                <a:lnTo>
                  <a:pt x="6680" y="1258"/>
                </a:lnTo>
                <a:lnTo>
                  <a:pt x="6680" y="1256"/>
                </a:lnTo>
                <a:lnTo>
                  <a:pt x="6678" y="1254"/>
                </a:lnTo>
                <a:lnTo>
                  <a:pt x="6676" y="1254"/>
                </a:lnTo>
                <a:lnTo>
                  <a:pt x="6674" y="1256"/>
                </a:lnTo>
                <a:lnTo>
                  <a:pt x="6674" y="1258"/>
                </a:lnTo>
                <a:lnTo>
                  <a:pt x="6676" y="1260"/>
                </a:lnTo>
                <a:lnTo>
                  <a:pt x="6678" y="1260"/>
                </a:lnTo>
                <a:lnTo>
                  <a:pt x="6680" y="1258"/>
                </a:lnTo>
                <a:close/>
                <a:moveTo>
                  <a:pt x="7072" y="1080"/>
                </a:moveTo>
                <a:lnTo>
                  <a:pt x="7072" y="1080"/>
                </a:lnTo>
                <a:lnTo>
                  <a:pt x="7068" y="1080"/>
                </a:lnTo>
                <a:lnTo>
                  <a:pt x="7066" y="1080"/>
                </a:lnTo>
                <a:lnTo>
                  <a:pt x="7064" y="1084"/>
                </a:lnTo>
                <a:lnTo>
                  <a:pt x="7064" y="1086"/>
                </a:lnTo>
                <a:lnTo>
                  <a:pt x="7068" y="1094"/>
                </a:lnTo>
                <a:lnTo>
                  <a:pt x="7070" y="1096"/>
                </a:lnTo>
                <a:lnTo>
                  <a:pt x="7072" y="1096"/>
                </a:lnTo>
                <a:lnTo>
                  <a:pt x="7078" y="1094"/>
                </a:lnTo>
                <a:lnTo>
                  <a:pt x="7080" y="1088"/>
                </a:lnTo>
                <a:lnTo>
                  <a:pt x="7080" y="1086"/>
                </a:lnTo>
                <a:lnTo>
                  <a:pt x="7080" y="1084"/>
                </a:lnTo>
                <a:lnTo>
                  <a:pt x="7078" y="1082"/>
                </a:lnTo>
                <a:lnTo>
                  <a:pt x="7072" y="1080"/>
                </a:lnTo>
                <a:close/>
                <a:moveTo>
                  <a:pt x="7054" y="1108"/>
                </a:moveTo>
                <a:lnTo>
                  <a:pt x="7054" y="1108"/>
                </a:lnTo>
                <a:lnTo>
                  <a:pt x="7062" y="1098"/>
                </a:lnTo>
                <a:lnTo>
                  <a:pt x="7064" y="1094"/>
                </a:lnTo>
                <a:lnTo>
                  <a:pt x="7064" y="1092"/>
                </a:lnTo>
                <a:lnTo>
                  <a:pt x="7060" y="1090"/>
                </a:lnTo>
                <a:lnTo>
                  <a:pt x="7056" y="1086"/>
                </a:lnTo>
                <a:lnTo>
                  <a:pt x="7056" y="1088"/>
                </a:lnTo>
                <a:lnTo>
                  <a:pt x="7054" y="1090"/>
                </a:lnTo>
                <a:lnTo>
                  <a:pt x="7048" y="1094"/>
                </a:lnTo>
                <a:lnTo>
                  <a:pt x="7038" y="1098"/>
                </a:lnTo>
                <a:lnTo>
                  <a:pt x="7034" y="1100"/>
                </a:lnTo>
                <a:lnTo>
                  <a:pt x="7034" y="1102"/>
                </a:lnTo>
                <a:lnTo>
                  <a:pt x="7034" y="1106"/>
                </a:lnTo>
                <a:lnTo>
                  <a:pt x="7040" y="1110"/>
                </a:lnTo>
                <a:lnTo>
                  <a:pt x="7048" y="1112"/>
                </a:lnTo>
                <a:lnTo>
                  <a:pt x="7050" y="1112"/>
                </a:lnTo>
                <a:lnTo>
                  <a:pt x="7054" y="1108"/>
                </a:lnTo>
                <a:close/>
                <a:moveTo>
                  <a:pt x="7036" y="1110"/>
                </a:moveTo>
                <a:lnTo>
                  <a:pt x="7036" y="1110"/>
                </a:lnTo>
                <a:lnTo>
                  <a:pt x="7032" y="1108"/>
                </a:lnTo>
                <a:lnTo>
                  <a:pt x="7028" y="1106"/>
                </a:lnTo>
                <a:lnTo>
                  <a:pt x="7022" y="1106"/>
                </a:lnTo>
                <a:lnTo>
                  <a:pt x="7014" y="1108"/>
                </a:lnTo>
                <a:lnTo>
                  <a:pt x="7012" y="1110"/>
                </a:lnTo>
                <a:lnTo>
                  <a:pt x="7014" y="1112"/>
                </a:lnTo>
                <a:lnTo>
                  <a:pt x="7024" y="1114"/>
                </a:lnTo>
                <a:lnTo>
                  <a:pt x="7034" y="1114"/>
                </a:lnTo>
                <a:lnTo>
                  <a:pt x="7036" y="1112"/>
                </a:lnTo>
                <a:lnTo>
                  <a:pt x="7036" y="1110"/>
                </a:lnTo>
                <a:close/>
                <a:moveTo>
                  <a:pt x="7010" y="1098"/>
                </a:moveTo>
                <a:lnTo>
                  <a:pt x="7010" y="1098"/>
                </a:lnTo>
                <a:lnTo>
                  <a:pt x="7014" y="1096"/>
                </a:lnTo>
                <a:lnTo>
                  <a:pt x="7018" y="1094"/>
                </a:lnTo>
                <a:lnTo>
                  <a:pt x="7022" y="1092"/>
                </a:lnTo>
                <a:lnTo>
                  <a:pt x="7026" y="1094"/>
                </a:lnTo>
                <a:lnTo>
                  <a:pt x="7030" y="1094"/>
                </a:lnTo>
                <a:lnTo>
                  <a:pt x="7034" y="1094"/>
                </a:lnTo>
                <a:lnTo>
                  <a:pt x="7048" y="1082"/>
                </a:lnTo>
                <a:lnTo>
                  <a:pt x="7056" y="1076"/>
                </a:lnTo>
                <a:lnTo>
                  <a:pt x="7056" y="1074"/>
                </a:lnTo>
                <a:lnTo>
                  <a:pt x="7052" y="1072"/>
                </a:lnTo>
                <a:lnTo>
                  <a:pt x="7046" y="1074"/>
                </a:lnTo>
                <a:lnTo>
                  <a:pt x="7042" y="1076"/>
                </a:lnTo>
                <a:lnTo>
                  <a:pt x="7042" y="1078"/>
                </a:lnTo>
                <a:lnTo>
                  <a:pt x="7040" y="1080"/>
                </a:lnTo>
                <a:lnTo>
                  <a:pt x="7034" y="1080"/>
                </a:lnTo>
                <a:lnTo>
                  <a:pt x="7032" y="1080"/>
                </a:lnTo>
                <a:lnTo>
                  <a:pt x="7030" y="1080"/>
                </a:lnTo>
                <a:lnTo>
                  <a:pt x="7028" y="1084"/>
                </a:lnTo>
                <a:lnTo>
                  <a:pt x="7026" y="1086"/>
                </a:lnTo>
                <a:lnTo>
                  <a:pt x="7024" y="1086"/>
                </a:lnTo>
                <a:lnTo>
                  <a:pt x="7022" y="1084"/>
                </a:lnTo>
                <a:lnTo>
                  <a:pt x="7018" y="1084"/>
                </a:lnTo>
                <a:lnTo>
                  <a:pt x="7002" y="1088"/>
                </a:lnTo>
                <a:lnTo>
                  <a:pt x="6998" y="1090"/>
                </a:lnTo>
                <a:lnTo>
                  <a:pt x="7002" y="1092"/>
                </a:lnTo>
                <a:lnTo>
                  <a:pt x="7006" y="1094"/>
                </a:lnTo>
                <a:lnTo>
                  <a:pt x="7004" y="1096"/>
                </a:lnTo>
                <a:lnTo>
                  <a:pt x="7004" y="1098"/>
                </a:lnTo>
                <a:lnTo>
                  <a:pt x="7010" y="1098"/>
                </a:lnTo>
                <a:close/>
                <a:moveTo>
                  <a:pt x="6948" y="1122"/>
                </a:moveTo>
                <a:lnTo>
                  <a:pt x="6948" y="1122"/>
                </a:lnTo>
                <a:lnTo>
                  <a:pt x="6948" y="1118"/>
                </a:lnTo>
                <a:lnTo>
                  <a:pt x="6946" y="1116"/>
                </a:lnTo>
                <a:lnTo>
                  <a:pt x="6942" y="1116"/>
                </a:lnTo>
                <a:lnTo>
                  <a:pt x="6936" y="1118"/>
                </a:lnTo>
                <a:lnTo>
                  <a:pt x="6932" y="1122"/>
                </a:lnTo>
                <a:lnTo>
                  <a:pt x="6932" y="1126"/>
                </a:lnTo>
                <a:lnTo>
                  <a:pt x="6934" y="1128"/>
                </a:lnTo>
                <a:lnTo>
                  <a:pt x="6940" y="1130"/>
                </a:lnTo>
                <a:lnTo>
                  <a:pt x="6944" y="1130"/>
                </a:lnTo>
                <a:lnTo>
                  <a:pt x="6946" y="1130"/>
                </a:lnTo>
                <a:lnTo>
                  <a:pt x="6948" y="1122"/>
                </a:lnTo>
                <a:close/>
                <a:moveTo>
                  <a:pt x="6920" y="1126"/>
                </a:moveTo>
                <a:lnTo>
                  <a:pt x="6920" y="1126"/>
                </a:lnTo>
                <a:lnTo>
                  <a:pt x="6922" y="1124"/>
                </a:lnTo>
                <a:lnTo>
                  <a:pt x="6922" y="1122"/>
                </a:lnTo>
                <a:lnTo>
                  <a:pt x="6912" y="1118"/>
                </a:lnTo>
                <a:lnTo>
                  <a:pt x="6908" y="1116"/>
                </a:lnTo>
                <a:lnTo>
                  <a:pt x="6904" y="1114"/>
                </a:lnTo>
                <a:lnTo>
                  <a:pt x="6900" y="1112"/>
                </a:lnTo>
                <a:lnTo>
                  <a:pt x="6900" y="1114"/>
                </a:lnTo>
                <a:lnTo>
                  <a:pt x="6900" y="1120"/>
                </a:lnTo>
                <a:lnTo>
                  <a:pt x="6906" y="1124"/>
                </a:lnTo>
                <a:lnTo>
                  <a:pt x="6912" y="1126"/>
                </a:lnTo>
                <a:lnTo>
                  <a:pt x="6920" y="1126"/>
                </a:lnTo>
                <a:close/>
                <a:moveTo>
                  <a:pt x="6898" y="1140"/>
                </a:moveTo>
                <a:lnTo>
                  <a:pt x="6898" y="1140"/>
                </a:lnTo>
                <a:lnTo>
                  <a:pt x="6904" y="1134"/>
                </a:lnTo>
                <a:lnTo>
                  <a:pt x="6902" y="1132"/>
                </a:lnTo>
                <a:lnTo>
                  <a:pt x="6900" y="1130"/>
                </a:lnTo>
                <a:lnTo>
                  <a:pt x="6896" y="1130"/>
                </a:lnTo>
                <a:lnTo>
                  <a:pt x="6892" y="1130"/>
                </a:lnTo>
                <a:lnTo>
                  <a:pt x="6890" y="1130"/>
                </a:lnTo>
                <a:lnTo>
                  <a:pt x="6886" y="1128"/>
                </a:lnTo>
                <a:lnTo>
                  <a:pt x="6884" y="1128"/>
                </a:lnTo>
                <a:lnTo>
                  <a:pt x="6882" y="1128"/>
                </a:lnTo>
                <a:lnTo>
                  <a:pt x="6880" y="1130"/>
                </a:lnTo>
                <a:lnTo>
                  <a:pt x="6876" y="1130"/>
                </a:lnTo>
                <a:lnTo>
                  <a:pt x="6874" y="1130"/>
                </a:lnTo>
                <a:lnTo>
                  <a:pt x="6872" y="1132"/>
                </a:lnTo>
                <a:lnTo>
                  <a:pt x="6872" y="1134"/>
                </a:lnTo>
                <a:lnTo>
                  <a:pt x="6868" y="1136"/>
                </a:lnTo>
                <a:lnTo>
                  <a:pt x="6866" y="1140"/>
                </a:lnTo>
                <a:lnTo>
                  <a:pt x="6870" y="1140"/>
                </a:lnTo>
                <a:lnTo>
                  <a:pt x="6874" y="1142"/>
                </a:lnTo>
                <a:lnTo>
                  <a:pt x="6880" y="1146"/>
                </a:lnTo>
                <a:lnTo>
                  <a:pt x="6884" y="1148"/>
                </a:lnTo>
                <a:lnTo>
                  <a:pt x="6888" y="1146"/>
                </a:lnTo>
                <a:lnTo>
                  <a:pt x="6898" y="1140"/>
                </a:lnTo>
                <a:close/>
                <a:moveTo>
                  <a:pt x="6854" y="1166"/>
                </a:moveTo>
                <a:lnTo>
                  <a:pt x="6854" y="1166"/>
                </a:lnTo>
                <a:lnTo>
                  <a:pt x="6860" y="1166"/>
                </a:lnTo>
                <a:lnTo>
                  <a:pt x="6864" y="1164"/>
                </a:lnTo>
                <a:lnTo>
                  <a:pt x="6866" y="1162"/>
                </a:lnTo>
                <a:lnTo>
                  <a:pt x="6868" y="1158"/>
                </a:lnTo>
                <a:lnTo>
                  <a:pt x="6874" y="1154"/>
                </a:lnTo>
                <a:lnTo>
                  <a:pt x="6876" y="1152"/>
                </a:lnTo>
                <a:lnTo>
                  <a:pt x="6876" y="1150"/>
                </a:lnTo>
                <a:lnTo>
                  <a:pt x="6876" y="1148"/>
                </a:lnTo>
                <a:lnTo>
                  <a:pt x="6872" y="1144"/>
                </a:lnTo>
                <a:lnTo>
                  <a:pt x="6866" y="1142"/>
                </a:lnTo>
                <a:lnTo>
                  <a:pt x="6864" y="1144"/>
                </a:lnTo>
                <a:lnTo>
                  <a:pt x="6864" y="1146"/>
                </a:lnTo>
                <a:lnTo>
                  <a:pt x="6862" y="1146"/>
                </a:lnTo>
                <a:lnTo>
                  <a:pt x="6858" y="1148"/>
                </a:lnTo>
                <a:lnTo>
                  <a:pt x="6856" y="1148"/>
                </a:lnTo>
                <a:lnTo>
                  <a:pt x="6856" y="1150"/>
                </a:lnTo>
                <a:lnTo>
                  <a:pt x="6854" y="1150"/>
                </a:lnTo>
                <a:lnTo>
                  <a:pt x="6852" y="1148"/>
                </a:lnTo>
                <a:lnTo>
                  <a:pt x="6848" y="1150"/>
                </a:lnTo>
                <a:lnTo>
                  <a:pt x="6846" y="1152"/>
                </a:lnTo>
                <a:lnTo>
                  <a:pt x="6846" y="1156"/>
                </a:lnTo>
                <a:lnTo>
                  <a:pt x="6844" y="1160"/>
                </a:lnTo>
                <a:lnTo>
                  <a:pt x="6840" y="1160"/>
                </a:lnTo>
                <a:lnTo>
                  <a:pt x="6838" y="1160"/>
                </a:lnTo>
                <a:lnTo>
                  <a:pt x="6836" y="1162"/>
                </a:lnTo>
                <a:lnTo>
                  <a:pt x="6836" y="1164"/>
                </a:lnTo>
                <a:lnTo>
                  <a:pt x="6838" y="1166"/>
                </a:lnTo>
                <a:lnTo>
                  <a:pt x="6854" y="1166"/>
                </a:lnTo>
                <a:close/>
                <a:moveTo>
                  <a:pt x="6834" y="1168"/>
                </a:moveTo>
                <a:lnTo>
                  <a:pt x="6834" y="1168"/>
                </a:lnTo>
                <a:lnTo>
                  <a:pt x="6832" y="1168"/>
                </a:lnTo>
                <a:lnTo>
                  <a:pt x="6832" y="1166"/>
                </a:lnTo>
                <a:lnTo>
                  <a:pt x="6830" y="1164"/>
                </a:lnTo>
                <a:lnTo>
                  <a:pt x="6828" y="1164"/>
                </a:lnTo>
                <a:lnTo>
                  <a:pt x="6826" y="1166"/>
                </a:lnTo>
                <a:lnTo>
                  <a:pt x="6824" y="1164"/>
                </a:lnTo>
                <a:lnTo>
                  <a:pt x="6822" y="1162"/>
                </a:lnTo>
                <a:lnTo>
                  <a:pt x="6822" y="1164"/>
                </a:lnTo>
                <a:lnTo>
                  <a:pt x="6820" y="1166"/>
                </a:lnTo>
                <a:lnTo>
                  <a:pt x="6818" y="1164"/>
                </a:lnTo>
                <a:lnTo>
                  <a:pt x="6814" y="1164"/>
                </a:lnTo>
                <a:lnTo>
                  <a:pt x="6814" y="1166"/>
                </a:lnTo>
                <a:lnTo>
                  <a:pt x="6814" y="1168"/>
                </a:lnTo>
                <a:lnTo>
                  <a:pt x="6812" y="1168"/>
                </a:lnTo>
                <a:lnTo>
                  <a:pt x="6810" y="1168"/>
                </a:lnTo>
                <a:lnTo>
                  <a:pt x="6804" y="1168"/>
                </a:lnTo>
                <a:lnTo>
                  <a:pt x="6804" y="1170"/>
                </a:lnTo>
                <a:lnTo>
                  <a:pt x="6806" y="1172"/>
                </a:lnTo>
                <a:lnTo>
                  <a:pt x="6808" y="1174"/>
                </a:lnTo>
                <a:lnTo>
                  <a:pt x="6808" y="1176"/>
                </a:lnTo>
                <a:lnTo>
                  <a:pt x="6804" y="1176"/>
                </a:lnTo>
                <a:lnTo>
                  <a:pt x="6798" y="1178"/>
                </a:lnTo>
                <a:lnTo>
                  <a:pt x="6794" y="1178"/>
                </a:lnTo>
                <a:lnTo>
                  <a:pt x="6792" y="1180"/>
                </a:lnTo>
                <a:lnTo>
                  <a:pt x="6794" y="1180"/>
                </a:lnTo>
                <a:lnTo>
                  <a:pt x="6796" y="1182"/>
                </a:lnTo>
                <a:lnTo>
                  <a:pt x="6794" y="1182"/>
                </a:lnTo>
                <a:lnTo>
                  <a:pt x="6792" y="1184"/>
                </a:lnTo>
                <a:lnTo>
                  <a:pt x="6792" y="1186"/>
                </a:lnTo>
                <a:lnTo>
                  <a:pt x="6794" y="1188"/>
                </a:lnTo>
                <a:lnTo>
                  <a:pt x="6792" y="1188"/>
                </a:lnTo>
                <a:lnTo>
                  <a:pt x="6792" y="1192"/>
                </a:lnTo>
                <a:lnTo>
                  <a:pt x="6792" y="1194"/>
                </a:lnTo>
                <a:lnTo>
                  <a:pt x="6790" y="1198"/>
                </a:lnTo>
                <a:lnTo>
                  <a:pt x="6788" y="1200"/>
                </a:lnTo>
                <a:lnTo>
                  <a:pt x="6792" y="1200"/>
                </a:lnTo>
                <a:lnTo>
                  <a:pt x="6798" y="1200"/>
                </a:lnTo>
                <a:lnTo>
                  <a:pt x="6798" y="1202"/>
                </a:lnTo>
                <a:lnTo>
                  <a:pt x="6798" y="1204"/>
                </a:lnTo>
                <a:lnTo>
                  <a:pt x="6800" y="1204"/>
                </a:lnTo>
                <a:lnTo>
                  <a:pt x="6804" y="1202"/>
                </a:lnTo>
                <a:lnTo>
                  <a:pt x="6808" y="1198"/>
                </a:lnTo>
                <a:lnTo>
                  <a:pt x="6810" y="1194"/>
                </a:lnTo>
                <a:lnTo>
                  <a:pt x="6814" y="1192"/>
                </a:lnTo>
                <a:lnTo>
                  <a:pt x="6816" y="1192"/>
                </a:lnTo>
                <a:lnTo>
                  <a:pt x="6816" y="1194"/>
                </a:lnTo>
                <a:lnTo>
                  <a:pt x="6818" y="1196"/>
                </a:lnTo>
                <a:lnTo>
                  <a:pt x="6826" y="1196"/>
                </a:lnTo>
                <a:lnTo>
                  <a:pt x="6832" y="1194"/>
                </a:lnTo>
                <a:lnTo>
                  <a:pt x="6832" y="1192"/>
                </a:lnTo>
                <a:lnTo>
                  <a:pt x="6830" y="1188"/>
                </a:lnTo>
                <a:lnTo>
                  <a:pt x="6830" y="1184"/>
                </a:lnTo>
                <a:lnTo>
                  <a:pt x="6832" y="1180"/>
                </a:lnTo>
                <a:lnTo>
                  <a:pt x="6834" y="1178"/>
                </a:lnTo>
                <a:lnTo>
                  <a:pt x="6834" y="1176"/>
                </a:lnTo>
                <a:lnTo>
                  <a:pt x="6836" y="1170"/>
                </a:lnTo>
                <a:lnTo>
                  <a:pt x="6836" y="1168"/>
                </a:lnTo>
                <a:lnTo>
                  <a:pt x="6834" y="1168"/>
                </a:lnTo>
                <a:close/>
                <a:moveTo>
                  <a:pt x="6690" y="1264"/>
                </a:moveTo>
                <a:lnTo>
                  <a:pt x="6690" y="1264"/>
                </a:lnTo>
                <a:lnTo>
                  <a:pt x="6700" y="1260"/>
                </a:lnTo>
                <a:lnTo>
                  <a:pt x="6712" y="1252"/>
                </a:lnTo>
                <a:lnTo>
                  <a:pt x="6716" y="1248"/>
                </a:lnTo>
                <a:lnTo>
                  <a:pt x="6710" y="1248"/>
                </a:lnTo>
                <a:lnTo>
                  <a:pt x="6702" y="1248"/>
                </a:lnTo>
                <a:lnTo>
                  <a:pt x="6692" y="1250"/>
                </a:lnTo>
                <a:lnTo>
                  <a:pt x="6690" y="1252"/>
                </a:lnTo>
                <a:lnTo>
                  <a:pt x="6690" y="1254"/>
                </a:lnTo>
                <a:lnTo>
                  <a:pt x="6686" y="1256"/>
                </a:lnTo>
                <a:lnTo>
                  <a:pt x="6684" y="1256"/>
                </a:lnTo>
                <a:lnTo>
                  <a:pt x="6684" y="1258"/>
                </a:lnTo>
                <a:lnTo>
                  <a:pt x="6684" y="1260"/>
                </a:lnTo>
                <a:lnTo>
                  <a:pt x="6682" y="1262"/>
                </a:lnTo>
                <a:lnTo>
                  <a:pt x="6680" y="1264"/>
                </a:lnTo>
                <a:lnTo>
                  <a:pt x="6680" y="1266"/>
                </a:lnTo>
                <a:lnTo>
                  <a:pt x="6684" y="1266"/>
                </a:lnTo>
                <a:lnTo>
                  <a:pt x="6690" y="1264"/>
                </a:lnTo>
                <a:close/>
                <a:moveTo>
                  <a:pt x="6712" y="1218"/>
                </a:moveTo>
                <a:lnTo>
                  <a:pt x="6712" y="1218"/>
                </a:lnTo>
                <a:lnTo>
                  <a:pt x="6708" y="1218"/>
                </a:lnTo>
                <a:lnTo>
                  <a:pt x="6706" y="1220"/>
                </a:lnTo>
                <a:lnTo>
                  <a:pt x="6706" y="1222"/>
                </a:lnTo>
                <a:lnTo>
                  <a:pt x="6704" y="1222"/>
                </a:lnTo>
                <a:lnTo>
                  <a:pt x="6700" y="1222"/>
                </a:lnTo>
                <a:lnTo>
                  <a:pt x="6698" y="1220"/>
                </a:lnTo>
                <a:lnTo>
                  <a:pt x="6698" y="1218"/>
                </a:lnTo>
                <a:lnTo>
                  <a:pt x="6696" y="1220"/>
                </a:lnTo>
                <a:lnTo>
                  <a:pt x="6694" y="1220"/>
                </a:lnTo>
                <a:lnTo>
                  <a:pt x="6692" y="1222"/>
                </a:lnTo>
                <a:lnTo>
                  <a:pt x="6690" y="1222"/>
                </a:lnTo>
                <a:lnTo>
                  <a:pt x="6690" y="1224"/>
                </a:lnTo>
                <a:lnTo>
                  <a:pt x="6688" y="1226"/>
                </a:lnTo>
                <a:lnTo>
                  <a:pt x="6686" y="1228"/>
                </a:lnTo>
                <a:lnTo>
                  <a:pt x="6686" y="1230"/>
                </a:lnTo>
                <a:lnTo>
                  <a:pt x="6688" y="1234"/>
                </a:lnTo>
                <a:lnTo>
                  <a:pt x="6694" y="1236"/>
                </a:lnTo>
                <a:lnTo>
                  <a:pt x="6696" y="1234"/>
                </a:lnTo>
                <a:lnTo>
                  <a:pt x="6700" y="1230"/>
                </a:lnTo>
                <a:lnTo>
                  <a:pt x="6710" y="1228"/>
                </a:lnTo>
                <a:lnTo>
                  <a:pt x="6716" y="1228"/>
                </a:lnTo>
                <a:lnTo>
                  <a:pt x="6710" y="1230"/>
                </a:lnTo>
                <a:lnTo>
                  <a:pt x="6704" y="1234"/>
                </a:lnTo>
                <a:lnTo>
                  <a:pt x="6704" y="1236"/>
                </a:lnTo>
                <a:lnTo>
                  <a:pt x="6714" y="1236"/>
                </a:lnTo>
                <a:lnTo>
                  <a:pt x="6724" y="1232"/>
                </a:lnTo>
                <a:lnTo>
                  <a:pt x="6726" y="1232"/>
                </a:lnTo>
                <a:lnTo>
                  <a:pt x="6726" y="1230"/>
                </a:lnTo>
                <a:lnTo>
                  <a:pt x="6726" y="1226"/>
                </a:lnTo>
                <a:lnTo>
                  <a:pt x="6724" y="1224"/>
                </a:lnTo>
                <a:lnTo>
                  <a:pt x="6724" y="1222"/>
                </a:lnTo>
                <a:lnTo>
                  <a:pt x="6726" y="1220"/>
                </a:lnTo>
                <a:lnTo>
                  <a:pt x="6726" y="1218"/>
                </a:lnTo>
                <a:lnTo>
                  <a:pt x="6724" y="1212"/>
                </a:lnTo>
                <a:lnTo>
                  <a:pt x="6718" y="1208"/>
                </a:lnTo>
                <a:lnTo>
                  <a:pt x="6716" y="1206"/>
                </a:lnTo>
                <a:lnTo>
                  <a:pt x="6714" y="1206"/>
                </a:lnTo>
                <a:lnTo>
                  <a:pt x="6712" y="1208"/>
                </a:lnTo>
                <a:lnTo>
                  <a:pt x="6712" y="1210"/>
                </a:lnTo>
                <a:lnTo>
                  <a:pt x="6714" y="1214"/>
                </a:lnTo>
                <a:lnTo>
                  <a:pt x="6716" y="1216"/>
                </a:lnTo>
                <a:lnTo>
                  <a:pt x="6712" y="1218"/>
                </a:lnTo>
                <a:close/>
                <a:moveTo>
                  <a:pt x="6740" y="1208"/>
                </a:moveTo>
                <a:lnTo>
                  <a:pt x="6740" y="1208"/>
                </a:lnTo>
                <a:lnTo>
                  <a:pt x="6744" y="1206"/>
                </a:lnTo>
                <a:lnTo>
                  <a:pt x="6746" y="1204"/>
                </a:lnTo>
                <a:lnTo>
                  <a:pt x="6752" y="1196"/>
                </a:lnTo>
                <a:lnTo>
                  <a:pt x="6756" y="1190"/>
                </a:lnTo>
                <a:lnTo>
                  <a:pt x="6758" y="1186"/>
                </a:lnTo>
                <a:lnTo>
                  <a:pt x="6756" y="1184"/>
                </a:lnTo>
                <a:lnTo>
                  <a:pt x="6750" y="1186"/>
                </a:lnTo>
                <a:lnTo>
                  <a:pt x="6740" y="1194"/>
                </a:lnTo>
                <a:lnTo>
                  <a:pt x="6734" y="1200"/>
                </a:lnTo>
                <a:lnTo>
                  <a:pt x="6730" y="1206"/>
                </a:lnTo>
                <a:lnTo>
                  <a:pt x="6728" y="1212"/>
                </a:lnTo>
                <a:lnTo>
                  <a:pt x="6728" y="1214"/>
                </a:lnTo>
                <a:lnTo>
                  <a:pt x="6730" y="1216"/>
                </a:lnTo>
                <a:lnTo>
                  <a:pt x="6732" y="1214"/>
                </a:lnTo>
                <a:lnTo>
                  <a:pt x="6734" y="1212"/>
                </a:lnTo>
                <a:lnTo>
                  <a:pt x="6736" y="1208"/>
                </a:lnTo>
                <a:lnTo>
                  <a:pt x="6740" y="1208"/>
                </a:lnTo>
                <a:close/>
                <a:moveTo>
                  <a:pt x="6766" y="1216"/>
                </a:moveTo>
                <a:lnTo>
                  <a:pt x="6766" y="1216"/>
                </a:lnTo>
                <a:lnTo>
                  <a:pt x="6762" y="1214"/>
                </a:lnTo>
                <a:lnTo>
                  <a:pt x="6758" y="1216"/>
                </a:lnTo>
                <a:lnTo>
                  <a:pt x="6756" y="1220"/>
                </a:lnTo>
                <a:lnTo>
                  <a:pt x="6756" y="1222"/>
                </a:lnTo>
                <a:lnTo>
                  <a:pt x="6756" y="1226"/>
                </a:lnTo>
                <a:lnTo>
                  <a:pt x="6750" y="1232"/>
                </a:lnTo>
                <a:lnTo>
                  <a:pt x="6746" y="1234"/>
                </a:lnTo>
                <a:lnTo>
                  <a:pt x="6748" y="1230"/>
                </a:lnTo>
                <a:lnTo>
                  <a:pt x="6750" y="1226"/>
                </a:lnTo>
                <a:lnTo>
                  <a:pt x="6746" y="1224"/>
                </a:lnTo>
                <a:lnTo>
                  <a:pt x="6744" y="1224"/>
                </a:lnTo>
                <a:lnTo>
                  <a:pt x="6746" y="1220"/>
                </a:lnTo>
                <a:lnTo>
                  <a:pt x="6750" y="1214"/>
                </a:lnTo>
                <a:lnTo>
                  <a:pt x="6750" y="1212"/>
                </a:lnTo>
                <a:lnTo>
                  <a:pt x="6748" y="1210"/>
                </a:lnTo>
                <a:lnTo>
                  <a:pt x="6742" y="1210"/>
                </a:lnTo>
                <a:lnTo>
                  <a:pt x="6738" y="1214"/>
                </a:lnTo>
                <a:lnTo>
                  <a:pt x="6734" y="1218"/>
                </a:lnTo>
                <a:lnTo>
                  <a:pt x="6730" y="1224"/>
                </a:lnTo>
                <a:lnTo>
                  <a:pt x="6730" y="1228"/>
                </a:lnTo>
                <a:lnTo>
                  <a:pt x="6732" y="1232"/>
                </a:lnTo>
                <a:lnTo>
                  <a:pt x="6730" y="1236"/>
                </a:lnTo>
                <a:lnTo>
                  <a:pt x="6726" y="1238"/>
                </a:lnTo>
                <a:lnTo>
                  <a:pt x="6722" y="1240"/>
                </a:lnTo>
                <a:lnTo>
                  <a:pt x="6720" y="1242"/>
                </a:lnTo>
                <a:lnTo>
                  <a:pt x="6720" y="1246"/>
                </a:lnTo>
                <a:lnTo>
                  <a:pt x="6716" y="1254"/>
                </a:lnTo>
                <a:lnTo>
                  <a:pt x="6714" y="1260"/>
                </a:lnTo>
                <a:lnTo>
                  <a:pt x="6718" y="1258"/>
                </a:lnTo>
                <a:lnTo>
                  <a:pt x="6726" y="1256"/>
                </a:lnTo>
                <a:lnTo>
                  <a:pt x="6728" y="1256"/>
                </a:lnTo>
                <a:lnTo>
                  <a:pt x="6732" y="1256"/>
                </a:lnTo>
                <a:lnTo>
                  <a:pt x="6734" y="1258"/>
                </a:lnTo>
                <a:lnTo>
                  <a:pt x="6736" y="1258"/>
                </a:lnTo>
                <a:lnTo>
                  <a:pt x="6738" y="1254"/>
                </a:lnTo>
                <a:lnTo>
                  <a:pt x="6742" y="1250"/>
                </a:lnTo>
                <a:lnTo>
                  <a:pt x="6744" y="1250"/>
                </a:lnTo>
                <a:lnTo>
                  <a:pt x="6746" y="1252"/>
                </a:lnTo>
                <a:lnTo>
                  <a:pt x="6748" y="1252"/>
                </a:lnTo>
                <a:lnTo>
                  <a:pt x="6752" y="1248"/>
                </a:lnTo>
                <a:lnTo>
                  <a:pt x="6754" y="1244"/>
                </a:lnTo>
                <a:lnTo>
                  <a:pt x="6756" y="1240"/>
                </a:lnTo>
                <a:lnTo>
                  <a:pt x="6760" y="1238"/>
                </a:lnTo>
                <a:lnTo>
                  <a:pt x="6768" y="1236"/>
                </a:lnTo>
                <a:lnTo>
                  <a:pt x="6772" y="1236"/>
                </a:lnTo>
                <a:lnTo>
                  <a:pt x="6774" y="1234"/>
                </a:lnTo>
                <a:lnTo>
                  <a:pt x="6774" y="1230"/>
                </a:lnTo>
                <a:lnTo>
                  <a:pt x="6774" y="1228"/>
                </a:lnTo>
                <a:lnTo>
                  <a:pt x="6770" y="1220"/>
                </a:lnTo>
                <a:lnTo>
                  <a:pt x="6766" y="1216"/>
                </a:lnTo>
                <a:close/>
                <a:moveTo>
                  <a:pt x="6654" y="1274"/>
                </a:moveTo>
                <a:lnTo>
                  <a:pt x="6654" y="1274"/>
                </a:lnTo>
                <a:lnTo>
                  <a:pt x="6656" y="1272"/>
                </a:lnTo>
                <a:lnTo>
                  <a:pt x="6658" y="1272"/>
                </a:lnTo>
                <a:lnTo>
                  <a:pt x="6660" y="1272"/>
                </a:lnTo>
                <a:lnTo>
                  <a:pt x="6664" y="1272"/>
                </a:lnTo>
                <a:lnTo>
                  <a:pt x="6666" y="1270"/>
                </a:lnTo>
                <a:lnTo>
                  <a:pt x="6668" y="1266"/>
                </a:lnTo>
                <a:lnTo>
                  <a:pt x="6672" y="1264"/>
                </a:lnTo>
                <a:lnTo>
                  <a:pt x="6676" y="1262"/>
                </a:lnTo>
                <a:lnTo>
                  <a:pt x="6674" y="1262"/>
                </a:lnTo>
                <a:lnTo>
                  <a:pt x="6664" y="1260"/>
                </a:lnTo>
                <a:lnTo>
                  <a:pt x="6660" y="1258"/>
                </a:lnTo>
                <a:lnTo>
                  <a:pt x="6656" y="1258"/>
                </a:lnTo>
                <a:lnTo>
                  <a:pt x="6654" y="1262"/>
                </a:lnTo>
                <a:lnTo>
                  <a:pt x="6650" y="1266"/>
                </a:lnTo>
                <a:lnTo>
                  <a:pt x="6652" y="1268"/>
                </a:lnTo>
                <a:lnTo>
                  <a:pt x="6650" y="1272"/>
                </a:lnTo>
                <a:lnTo>
                  <a:pt x="6650" y="1274"/>
                </a:lnTo>
                <a:lnTo>
                  <a:pt x="6652" y="1276"/>
                </a:lnTo>
                <a:lnTo>
                  <a:pt x="6654" y="1274"/>
                </a:lnTo>
                <a:close/>
                <a:moveTo>
                  <a:pt x="6642" y="1270"/>
                </a:moveTo>
                <a:lnTo>
                  <a:pt x="6642" y="1270"/>
                </a:lnTo>
                <a:lnTo>
                  <a:pt x="6642" y="1272"/>
                </a:lnTo>
                <a:lnTo>
                  <a:pt x="6640" y="1274"/>
                </a:lnTo>
                <a:lnTo>
                  <a:pt x="6638" y="1274"/>
                </a:lnTo>
                <a:lnTo>
                  <a:pt x="6638" y="1278"/>
                </a:lnTo>
                <a:lnTo>
                  <a:pt x="6640" y="1280"/>
                </a:lnTo>
                <a:lnTo>
                  <a:pt x="6642" y="1280"/>
                </a:lnTo>
                <a:lnTo>
                  <a:pt x="6646" y="1274"/>
                </a:lnTo>
                <a:lnTo>
                  <a:pt x="6648" y="1270"/>
                </a:lnTo>
                <a:lnTo>
                  <a:pt x="6646" y="1268"/>
                </a:lnTo>
                <a:lnTo>
                  <a:pt x="6644" y="1268"/>
                </a:lnTo>
                <a:lnTo>
                  <a:pt x="6642" y="1270"/>
                </a:lnTo>
                <a:close/>
                <a:moveTo>
                  <a:pt x="6634" y="1276"/>
                </a:moveTo>
                <a:lnTo>
                  <a:pt x="6634" y="1276"/>
                </a:lnTo>
                <a:lnTo>
                  <a:pt x="6634" y="1272"/>
                </a:lnTo>
                <a:lnTo>
                  <a:pt x="6632" y="1272"/>
                </a:lnTo>
                <a:lnTo>
                  <a:pt x="6626" y="1282"/>
                </a:lnTo>
                <a:lnTo>
                  <a:pt x="6624" y="1290"/>
                </a:lnTo>
                <a:lnTo>
                  <a:pt x="6630" y="1288"/>
                </a:lnTo>
                <a:lnTo>
                  <a:pt x="6634" y="1284"/>
                </a:lnTo>
                <a:lnTo>
                  <a:pt x="6634" y="1282"/>
                </a:lnTo>
                <a:lnTo>
                  <a:pt x="6634" y="1276"/>
                </a:lnTo>
                <a:close/>
                <a:moveTo>
                  <a:pt x="6742" y="1278"/>
                </a:moveTo>
                <a:lnTo>
                  <a:pt x="6742" y="1278"/>
                </a:lnTo>
                <a:lnTo>
                  <a:pt x="6736" y="1278"/>
                </a:lnTo>
                <a:lnTo>
                  <a:pt x="6732" y="1278"/>
                </a:lnTo>
                <a:lnTo>
                  <a:pt x="6730" y="1280"/>
                </a:lnTo>
                <a:lnTo>
                  <a:pt x="6732" y="1282"/>
                </a:lnTo>
                <a:lnTo>
                  <a:pt x="6738" y="1280"/>
                </a:lnTo>
                <a:lnTo>
                  <a:pt x="6742" y="1280"/>
                </a:lnTo>
                <a:lnTo>
                  <a:pt x="6742" y="1278"/>
                </a:lnTo>
                <a:close/>
                <a:moveTo>
                  <a:pt x="6610" y="1406"/>
                </a:moveTo>
                <a:lnTo>
                  <a:pt x="6610" y="1406"/>
                </a:lnTo>
                <a:lnTo>
                  <a:pt x="6608" y="1410"/>
                </a:lnTo>
                <a:lnTo>
                  <a:pt x="6606" y="1414"/>
                </a:lnTo>
                <a:lnTo>
                  <a:pt x="6604" y="1416"/>
                </a:lnTo>
                <a:lnTo>
                  <a:pt x="6606" y="1416"/>
                </a:lnTo>
                <a:lnTo>
                  <a:pt x="6612" y="1414"/>
                </a:lnTo>
                <a:lnTo>
                  <a:pt x="6614" y="1412"/>
                </a:lnTo>
                <a:lnTo>
                  <a:pt x="6616" y="1408"/>
                </a:lnTo>
                <a:lnTo>
                  <a:pt x="6616" y="1404"/>
                </a:lnTo>
                <a:lnTo>
                  <a:pt x="6614" y="1404"/>
                </a:lnTo>
                <a:lnTo>
                  <a:pt x="6610" y="1404"/>
                </a:lnTo>
                <a:lnTo>
                  <a:pt x="6610" y="1406"/>
                </a:lnTo>
                <a:close/>
                <a:moveTo>
                  <a:pt x="6608" y="1424"/>
                </a:moveTo>
                <a:lnTo>
                  <a:pt x="6608" y="1424"/>
                </a:lnTo>
                <a:lnTo>
                  <a:pt x="6608" y="1426"/>
                </a:lnTo>
                <a:lnTo>
                  <a:pt x="6610" y="1426"/>
                </a:lnTo>
                <a:lnTo>
                  <a:pt x="6618" y="1422"/>
                </a:lnTo>
                <a:lnTo>
                  <a:pt x="6624" y="1418"/>
                </a:lnTo>
                <a:lnTo>
                  <a:pt x="6620" y="1418"/>
                </a:lnTo>
                <a:lnTo>
                  <a:pt x="6612" y="1418"/>
                </a:lnTo>
                <a:lnTo>
                  <a:pt x="6610" y="1420"/>
                </a:lnTo>
                <a:lnTo>
                  <a:pt x="6608" y="1424"/>
                </a:lnTo>
                <a:close/>
                <a:moveTo>
                  <a:pt x="6606" y="1454"/>
                </a:moveTo>
                <a:lnTo>
                  <a:pt x="6606" y="1454"/>
                </a:lnTo>
                <a:lnTo>
                  <a:pt x="6602" y="1450"/>
                </a:lnTo>
                <a:lnTo>
                  <a:pt x="6600" y="1450"/>
                </a:lnTo>
                <a:lnTo>
                  <a:pt x="6600" y="1454"/>
                </a:lnTo>
                <a:lnTo>
                  <a:pt x="6600" y="1456"/>
                </a:lnTo>
                <a:lnTo>
                  <a:pt x="6598" y="1458"/>
                </a:lnTo>
                <a:lnTo>
                  <a:pt x="6596" y="1460"/>
                </a:lnTo>
                <a:lnTo>
                  <a:pt x="6596" y="1462"/>
                </a:lnTo>
                <a:lnTo>
                  <a:pt x="6594" y="1466"/>
                </a:lnTo>
                <a:lnTo>
                  <a:pt x="6592" y="1470"/>
                </a:lnTo>
                <a:lnTo>
                  <a:pt x="6592" y="1472"/>
                </a:lnTo>
                <a:lnTo>
                  <a:pt x="6594" y="1472"/>
                </a:lnTo>
                <a:lnTo>
                  <a:pt x="6598" y="1470"/>
                </a:lnTo>
                <a:lnTo>
                  <a:pt x="6598" y="1468"/>
                </a:lnTo>
                <a:lnTo>
                  <a:pt x="6600" y="1464"/>
                </a:lnTo>
                <a:lnTo>
                  <a:pt x="6602" y="1462"/>
                </a:lnTo>
                <a:lnTo>
                  <a:pt x="6608" y="1460"/>
                </a:lnTo>
                <a:lnTo>
                  <a:pt x="6608" y="1458"/>
                </a:lnTo>
                <a:lnTo>
                  <a:pt x="6606" y="1454"/>
                </a:lnTo>
                <a:close/>
                <a:moveTo>
                  <a:pt x="6590" y="1440"/>
                </a:moveTo>
                <a:lnTo>
                  <a:pt x="6590" y="1440"/>
                </a:lnTo>
                <a:lnTo>
                  <a:pt x="6588" y="1438"/>
                </a:lnTo>
                <a:lnTo>
                  <a:pt x="6584" y="1438"/>
                </a:lnTo>
                <a:lnTo>
                  <a:pt x="6580" y="1440"/>
                </a:lnTo>
                <a:lnTo>
                  <a:pt x="6580" y="1444"/>
                </a:lnTo>
                <a:lnTo>
                  <a:pt x="6582" y="1446"/>
                </a:lnTo>
                <a:lnTo>
                  <a:pt x="6586" y="1444"/>
                </a:lnTo>
                <a:lnTo>
                  <a:pt x="6590" y="1442"/>
                </a:lnTo>
                <a:lnTo>
                  <a:pt x="6590" y="1440"/>
                </a:lnTo>
                <a:close/>
                <a:moveTo>
                  <a:pt x="6602" y="1480"/>
                </a:moveTo>
                <a:lnTo>
                  <a:pt x="6602" y="1480"/>
                </a:lnTo>
                <a:lnTo>
                  <a:pt x="6604" y="1476"/>
                </a:lnTo>
                <a:lnTo>
                  <a:pt x="6602" y="1474"/>
                </a:lnTo>
                <a:lnTo>
                  <a:pt x="6598" y="1474"/>
                </a:lnTo>
                <a:lnTo>
                  <a:pt x="6596" y="1474"/>
                </a:lnTo>
                <a:lnTo>
                  <a:pt x="6594" y="1476"/>
                </a:lnTo>
                <a:lnTo>
                  <a:pt x="6590" y="1480"/>
                </a:lnTo>
                <a:lnTo>
                  <a:pt x="6592" y="1482"/>
                </a:lnTo>
                <a:lnTo>
                  <a:pt x="6596" y="1480"/>
                </a:lnTo>
                <a:lnTo>
                  <a:pt x="6602" y="1480"/>
                </a:lnTo>
                <a:close/>
                <a:moveTo>
                  <a:pt x="6572" y="1482"/>
                </a:moveTo>
                <a:lnTo>
                  <a:pt x="6572" y="1482"/>
                </a:lnTo>
                <a:lnTo>
                  <a:pt x="6574" y="1484"/>
                </a:lnTo>
                <a:lnTo>
                  <a:pt x="6582" y="1480"/>
                </a:lnTo>
                <a:lnTo>
                  <a:pt x="6584" y="1480"/>
                </a:lnTo>
                <a:lnTo>
                  <a:pt x="6582" y="1478"/>
                </a:lnTo>
                <a:lnTo>
                  <a:pt x="6576" y="1478"/>
                </a:lnTo>
                <a:lnTo>
                  <a:pt x="6572" y="1482"/>
                </a:lnTo>
                <a:close/>
                <a:moveTo>
                  <a:pt x="6564" y="1522"/>
                </a:moveTo>
                <a:lnTo>
                  <a:pt x="6564" y="1522"/>
                </a:lnTo>
                <a:lnTo>
                  <a:pt x="6566" y="1522"/>
                </a:lnTo>
                <a:lnTo>
                  <a:pt x="6568" y="1520"/>
                </a:lnTo>
                <a:lnTo>
                  <a:pt x="6566" y="1518"/>
                </a:lnTo>
                <a:lnTo>
                  <a:pt x="6564" y="1518"/>
                </a:lnTo>
                <a:lnTo>
                  <a:pt x="6562" y="1516"/>
                </a:lnTo>
                <a:lnTo>
                  <a:pt x="6560" y="1514"/>
                </a:lnTo>
                <a:lnTo>
                  <a:pt x="6558" y="1514"/>
                </a:lnTo>
                <a:lnTo>
                  <a:pt x="6556" y="1514"/>
                </a:lnTo>
                <a:lnTo>
                  <a:pt x="6556" y="1516"/>
                </a:lnTo>
                <a:lnTo>
                  <a:pt x="6556" y="1520"/>
                </a:lnTo>
                <a:lnTo>
                  <a:pt x="6560" y="1520"/>
                </a:lnTo>
                <a:lnTo>
                  <a:pt x="6564" y="1522"/>
                </a:lnTo>
                <a:close/>
                <a:moveTo>
                  <a:pt x="6564" y="1514"/>
                </a:moveTo>
                <a:lnTo>
                  <a:pt x="6564" y="1514"/>
                </a:lnTo>
                <a:lnTo>
                  <a:pt x="6566" y="1512"/>
                </a:lnTo>
                <a:lnTo>
                  <a:pt x="6564" y="1510"/>
                </a:lnTo>
                <a:lnTo>
                  <a:pt x="6560" y="1508"/>
                </a:lnTo>
                <a:lnTo>
                  <a:pt x="6558" y="1508"/>
                </a:lnTo>
                <a:lnTo>
                  <a:pt x="6560" y="1510"/>
                </a:lnTo>
                <a:lnTo>
                  <a:pt x="6562" y="1512"/>
                </a:lnTo>
                <a:lnTo>
                  <a:pt x="6564" y="1514"/>
                </a:lnTo>
                <a:close/>
                <a:moveTo>
                  <a:pt x="6550" y="1510"/>
                </a:moveTo>
                <a:lnTo>
                  <a:pt x="6550" y="1510"/>
                </a:lnTo>
                <a:lnTo>
                  <a:pt x="6550" y="1512"/>
                </a:lnTo>
                <a:lnTo>
                  <a:pt x="6552" y="1512"/>
                </a:lnTo>
                <a:lnTo>
                  <a:pt x="6556" y="1512"/>
                </a:lnTo>
                <a:lnTo>
                  <a:pt x="6556" y="1510"/>
                </a:lnTo>
                <a:lnTo>
                  <a:pt x="6554" y="1508"/>
                </a:lnTo>
                <a:lnTo>
                  <a:pt x="6552" y="1508"/>
                </a:lnTo>
                <a:lnTo>
                  <a:pt x="6550" y="1510"/>
                </a:lnTo>
                <a:close/>
                <a:moveTo>
                  <a:pt x="6620" y="1402"/>
                </a:moveTo>
                <a:lnTo>
                  <a:pt x="6620" y="1402"/>
                </a:lnTo>
                <a:lnTo>
                  <a:pt x="6622" y="1404"/>
                </a:lnTo>
                <a:lnTo>
                  <a:pt x="6626" y="1402"/>
                </a:lnTo>
                <a:lnTo>
                  <a:pt x="6626" y="1400"/>
                </a:lnTo>
                <a:lnTo>
                  <a:pt x="6626" y="1398"/>
                </a:lnTo>
                <a:lnTo>
                  <a:pt x="6624" y="1398"/>
                </a:lnTo>
                <a:lnTo>
                  <a:pt x="6620" y="1398"/>
                </a:lnTo>
                <a:lnTo>
                  <a:pt x="6620" y="1400"/>
                </a:lnTo>
                <a:lnTo>
                  <a:pt x="6620" y="1402"/>
                </a:lnTo>
                <a:close/>
                <a:moveTo>
                  <a:pt x="6436" y="1594"/>
                </a:moveTo>
                <a:lnTo>
                  <a:pt x="6436" y="1594"/>
                </a:lnTo>
                <a:lnTo>
                  <a:pt x="6434" y="1592"/>
                </a:lnTo>
                <a:lnTo>
                  <a:pt x="6428" y="1592"/>
                </a:lnTo>
                <a:lnTo>
                  <a:pt x="6422" y="1594"/>
                </a:lnTo>
                <a:lnTo>
                  <a:pt x="6420" y="1594"/>
                </a:lnTo>
                <a:lnTo>
                  <a:pt x="6420" y="1596"/>
                </a:lnTo>
                <a:lnTo>
                  <a:pt x="6426" y="1598"/>
                </a:lnTo>
                <a:lnTo>
                  <a:pt x="6432" y="1598"/>
                </a:lnTo>
                <a:lnTo>
                  <a:pt x="6436" y="1596"/>
                </a:lnTo>
                <a:lnTo>
                  <a:pt x="6436" y="1594"/>
                </a:lnTo>
                <a:close/>
                <a:moveTo>
                  <a:pt x="6460" y="1576"/>
                </a:moveTo>
                <a:lnTo>
                  <a:pt x="6460" y="1576"/>
                </a:lnTo>
                <a:lnTo>
                  <a:pt x="6464" y="1574"/>
                </a:lnTo>
                <a:lnTo>
                  <a:pt x="6464" y="1570"/>
                </a:lnTo>
                <a:lnTo>
                  <a:pt x="6462" y="1568"/>
                </a:lnTo>
                <a:lnTo>
                  <a:pt x="6460" y="1568"/>
                </a:lnTo>
                <a:lnTo>
                  <a:pt x="6456" y="1572"/>
                </a:lnTo>
                <a:lnTo>
                  <a:pt x="6450" y="1572"/>
                </a:lnTo>
                <a:lnTo>
                  <a:pt x="6444" y="1574"/>
                </a:lnTo>
                <a:lnTo>
                  <a:pt x="6442" y="1576"/>
                </a:lnTo>
                <a:lnTo>
                  <a:pt x="6442" y="1578"/>
                </a:lnTo>
                <a:lnTo>
                  <a:pt x="6448" y="1578"/>
                </a:lnTo>
                <a:lnTo>
                  <a:pt x="6460" y="1576"/>
                </a:lnTo>
                <a:close/>
                <a:moveTo>
                  <a:pt x="6456" y="1592"/>
                </a:moveTo>
                <a:lnTo>
                  <a:pt x="6456" y="1592"/>
                </a:lnTo>
                <a:lnTo>
                  <a:pt x="6468" y="1588"/>
                </a:lnTo>
                <a:lnTo>
                  <a:pt x="6474" y="1586"/>
                </a:lnTo>
                <a:lnTo>
                  <a:pt x="6476" y="1586"/>
                </a:lnTo>
                <a:lnTo>
                  <a:pt x="6476" y="1582"/>
                </a:lnTo>
                <a:lnTo>
                  <a:pt x="6472" y="1582"/>
                </a:lnTo>
                <a:lnTo>
                  <a:pt x="6470" y="1582"/>
                </a:lnTo>
                <a:lnTo>
                  <a:pt x="6470" y="1580"/>
                </a:lnTo>
                <a:lnTo>
                  <a:pt x="6470" y="1578"/>
                </a:lnTo>
                <a:lnTo>
                  <a:pt x="6468" y="1578"/>
                </a:lnTo>
                <a:lnTo>
                  <a:pt x="6464" y="1580"/>
                </a:lnTo>
                <a:lnTo>
                  <a:pt x="6452" y="1584"/>
                </a:lnTo>
                <a:lnTo>
                  <a:pt x="6444" y="1586"/>
                </a:lnTo>
                <a:lnTo>
                  <a:pt x="6442" y="1588"/>
                </a:lnTo>
                <a:lnTo>
                  <a:pt x="6442" y="1592"/>
                </a:lnTo>
                <a:lnTo>
                  <a:pt x="6446" y="1594"/>
                </a:lnTo>
                <a:lnTo>
                  <a:pt x="6456" y="1592"/>
                </a:lnTo>
                <a:close/>
                <a:moveTo>
                  <a:pt x="6428" y="1610"/>
                </a:moveTo>
                <a:lnTo>
                  <a:pt x="6428" y="1610"/>
                </a:lnTo>
                <a:lnTo>
                  <a:pt x="6430" y="1612"/>
                </a:lnTo>
                <a:lnTo>
                  <a:pt x="6432" y="1612"/>
                </a:lnTo>
                <a:lnTo>
                  <a:pt x="6436" y="1612"/>
                </a:lnTo>
                <a:lnTo>
                  <a:pt x="6436" y="1608"/>
                </a:lnTo>
                <a:lnTo>
                  <a:pt x="6434" y="1606"/>
                </a:lnTo>
                <a:lnTo>
                  <a:pt x="6430" y="1606"/>
                </a:lnTo>
                <a:lnTo>
                  <a:pt x="6428" y="1608"/>
                </a:lnTo>
                <a:lnTo>
                  <a:pt x="6428" y="1610"/>
                </a:lnTo>
                <a:close/>
                <a:moveTo>
                  <a:pt x="6418" y="1622"/>
                </a:moveTo>
                <a:lnTo>
                  <a:pt x="6418" y="1622"/>
                </a:lnTo>
                <a:lnTo>
                  <a:pt x="6418" y="1620"/>
                </a:lnTo>
                <a:lnTo>
                  <a:pt x="6418" y="1618"/>
                </a:lnTo>
                <a:lnTo>
                  <a:pt x="6414" y="1616"/>
                </a:lnTo>
                <a:lnTo>
                  <a:pt x="6412" y="1618"/>
                </a:lnTo>
                <a:lnTo>
                  <a:pt x="6410" y="1618"/>
                </a:lnTo>
                <a:lnTo>
                  <a:pt x="6408" y="1618"/>
                </a:lnTo>
                <a:lnTo>
                  <a:pt x="6406" y="1618"/>
                </a:lnTo>
                <a:lnTo>
                  <a:pt x="6404" y="1620"/>
                </a:lnTo>
                <a:lnTo>
                  <a:pt x="6404" y="1622"/>
                </a:lnTo>
                <a:lnTo>
                  <a:pt x="6408" y="1622"/>
                </a:lnTo>
                <a:lnTo>
                  <a:pt x="6418" y="1622"/>
                </a:lnTo>
                <a:close/>
                <a:moveTo>
                  <a:pt x="6384" y="1640"/>
                </a:moveTo>
                <a:lnTo>
                  <a:pt x="6384" y="1640"/>
                </a:lnTo>
                <a:lnTo>
                  <a:pt x="6382" y="1638"/>
                </a:lnTo>
                <a:lnTo>
                  <a:pt x="6378" y="1638"/>
                </a:lnTo>
                <a:lnTo>
                  <a:pt x="6374" y="1640"/>
                </a:lnTo>
                <a:lnTo>
                  <a:pt x="6374" y="1644"/>
                </a:lnTo>
                <a:lnTo>
                  <a:pt x="6376" y="1644"/>
                </a:lnTo>
                <a:lnTo>
                  <a:pt x="6380" y="1644"/>
                </a:lnTo>
                <a:lnTo>
                  <a:pt x="6384" y="1644"/>
                </a:lnTo>
                <a:lnTo>
                  <a:pt x="6386" y="1642"/>
                </a:lnTo>
                <a:lnTo>
                  <a:pt x="6384" y="1640"/>
                </a:lnTo>
                <a:close/>
                <a:moveTo>
                  <a:pt x="6346" y="1662"/>
                </a:moveTo>
                <a:lnTo>
                  <a:pt x="6346" y="1662"/>
                </a:lnTo>
                <a:lnTo>
                  <a:pt x="6344" y="1662"/>
                </a:lnTo>
                <a:lnTo>
                  <a:pt x="6342" y="1664"/>
                </a:lnTo>
                <a:lnTo>
                  <a:pt x="6340" y="1668"/>
                </a:lnTo>
                <a:lnTo>
                  <a:pt x="6340" y="1672"/>
                </a:lnTo>
                <a:lnTo>
                  <a:pt x="6344" y="1672"/>
                </a:lnTo>
                <a:lnTo>
                  <a:pt x="6348" y="1668"/>
                </a:lnTo>
                <a:lnTo>
                  <a:pt x="6350" y="1664"/>
                </a:lnTo>
                <a:lnTo>
                  <a:pt x="6348" y="1662"/>
                </a:lnTo>
                <a:lnTo>
                  <a:pt x="6346" y="1662"/>
                </a:lnTo>
                <a:close/>
                <a:moveTo>
                  <a:pt x="6336" y="1670"/>
                </a:moveTo>
                <a:lnTo>
                  <a:pt x="6336" y="1670"/>
                </a:lnTo>
                <a:lnTo>
                  <a:pt x="6332" y="1668"/>
                </a:lnTo>
                <a:lnTo>
                  <a:pt x="6330" y="1670"/>
                </a:lnTo>
                <a:lnTo>
                  <a:pt x="6328" y="1672"/>
                </a:lnTo>
                <a:lnTo>
                  <a:pt x="6330" y="1674"/>
                </a:lnTo>
                <a:lnTo>
                  <a:pt x="6332" y="1674"/>
                </a:lnTo>
                <a:lnTo>
                  <a:pt x="6336" y="1672"/>
                </a:lnTo>
                <a:lnTo>
                  <a:pt x="6336" y="1670"/>
                </a:lnTo>
                <a:close/>
                <a:moveTo>
                  <a:pt x="6302" y="1700"/>
                </a:moveTo>
                <a:lnTo>
                  <a:pt x="6302" y="1700"/>
                </a:lnTo>
                <a:lnTo>
                  <a:pt x="6306" y="1702"/>
                </a:lnTo>
                <a:lnTo>
                  <a:pt x="6310" y="1700"/>
                </a:lnTo>
                <a:lnTo>
                  <a:pt x="6312" y="1698"/>
                </a:lnTo>
                <a:lnTo>
                  <a:pt x="6312" y="1696"/>
                </a:lnTo>
                <a:lnTo>
                  <a:pt x="6308" y="1696"/>
                </a:lnTo>
                <a:lnTo>
                  <a:pt x="6302" y="1696"/>
                </a:lnTo>
                <a:lnTo>
                  <a:pt x="6300" y="1698"/>
                </a:lnTo>
                <a:lnTo>
                  <a:pt x="6302" y="1700"/>
                </a:lnTo>
                <a:close/>
                <a:moveTo>
                  <a:pt x="6302" y="1750"/>
                </a:moveTo>
                <a:lnTo>
                  <a:pt x="6302" y="1750"/>
                </a:lnTo>
                <a:lnTo>
                  <a:pt x="6306" y="1750"/>
                </a:lnTo>
                <a:lnTo>
                  <a:pt x="6306" y="1748"/>
                </a:lnTo>
                <a:lnTo>
                  <a:pt x="6306" y="1744"/>
                </a:lnTo>
                <a:lnTo>
                  <a:pt x="6304" y="1744"/>
                </a:lnTo>
                <a:lnTo>
                  <a:pt x="6300" y="1746"/>
                </a:lnTo>
                <a:lnTo>
                  <a:pt x="6300" y="1748"/>
                </a:lnTo>
                <a:lnTo>
                  <a:pt x="6302" y="1750"/>
                </a:lnTo>
                <a:close/>
                <a:moveTo>
                  <a:pt x="6330" y="1826"/>
                </a:moveTo>
                <a:lnTo>
                  <a:pt x="6330" y="1826"/>
                </a:lnTo>
                <a:lnTo>
                  <a:pt x="6332" y="1826"/>
                </a:lnTo>
                <a:lnTo>
                  <a:pt x="6334" y="1818"/>
                </a:lnTo>
                <a:lnTo>
                  <a:pt x="6334" y="1816"/>
                </a:lnTo>
                <a:lnTo>
                  <a:pt x="6334" y="1814"/>
                </a:lnTo>
                <a:lnTo>
                  <a:pt x="6330" y="1814"/>
                </a:lnTo>
                <a:lnTo>
                  <a:pt x="6324" y="1818"/>
                </a:lnTo>
                <a:lnTo>
                  <a:pt x="6320" y="1822"/>
                </a:lnTo>
                <a:lnTo>
                  <a:pt x="6318" y="1826"/>
                </a:lnTo>
                <a:lnTo>
                  <a:pt x="6320" y="1830"/>
                </a:lnTo>
                <a:lnTo>
                  <a:pt x="6322" y="1834"/>
                </a:lnTo>
                <a:lnTo>
                  <a:pt x="6328" y="1834"/>
                </a:lnTo>
                <a:lnTo>
                  <a:pt x="6328" y="1832"/>
                </a:lnTo>
                <a:lnTo>
                  <a:pt x="6326" y="1826"/>
                </a:lnTo>
                <a:lnTo>
                  <a:pt x="6324" y="1824"/>
                </a:lnTo>
                <a:lnTo>
                  <a:pt x="6326" y="1822"/>
                </a:lnTo>
                <a:lnTo>
                  <a:pt x="6330" y="1826"/>
                </a:lnTo>
                <a:close/>
                <a:moveTo>
                  <a:pt x="6316" y="1876"/>
                </a:moveTo>
                <a:lnTo>
                  <a:pt x="6316" y="1876"/>
                </a:lnTo>
                <a:lnTo>
                  <a:pt x="6318" y="1874"/>
                </a:lnTo>
                <a:lnTo>
                  <a:pt x="6318" y="1872"/>
                </a:lnTo>
                <a:lnTo>
                  <a:pt x="6318" y="1864"/>
                </a:lnTo>
                <a:lnTo>
                  <a:pt x="6316" y="1860"/>
                </a:lnTo>
                <a:lnTo>
                  <a:pt x="6314" y="1860"/>
                </a:lnTo>
                <a:lnTo>
                  <a:pt x="6314" y="1862"/>
                </a:lnTo>
                <a:lnTo>
                  <a:pt x="6314" y="1872"/>
                </a:lnTo>
                <a:lnTo>
                  <a:pt x="6314" y="1874"/>
                </a:lnTo>
                <a:lnTo>
                  <a:pt x="6316" y="1876"/>
                </a:lnTo>
                <a:close/>
                <a:moveTo>
                  <a:pt x="6314" y="1844"/>
                </a:moveTo>
                <a:lnTo>
                  <a:pt x="6314" y="1846"/>
                </a:lnTo>
                <a:lnTo>
                  <a:pt x="6314" y="1844"/>
                </a:lnTo>
                <a:lnTo>
                  <a:pt x="6316" y="1840"/>
                </a:lnTo>
                <a:lnTo>
                  <a:pt x="6318" y="1836"/>
                </a:lnTo>
                <a:lnTo>
                  <a:pt x="6318" y="1838"/>
                </a:lnTo>
                <a:lnTo>
                  <a:pt x="6320" y="1838"/>
                </a:lnTo>
                <a:lnTo>
                  <a:pt x="6320" y="1840"/>
                </a:lnTo>
                <a:lnTo>
                  <a:pt x="6322" y="1840"/>
                </a:lnTo>
                <a:lnTo>
                  <a:pt x="6322" y="1838"/>
                </a:lnTo>
                <a:lnTo>
                  <a:pt x="6322" y="1836"/>
                </a:lnTo>
                <a:lnTo>
                  <a:pt x="6316" y="1830"/>
                </a:lnTo>
                <a:lnTo>
                  <a:pt x="6314" y="1830"/>
                </a:lnTo>
                <a:lnTo>
                  <a:pt x="6312" y="1834"/>
                </a:lnTo>
                <a:lnTo>
                  <a:pt x="6314" y="1844"/>
                </a:lnTo>
                <a:close/>
                <a:moveTo>
                  <a:pt x="6308" y="1808"/>
                </a:moveTo>
                <a:lnTo>
                  <a:pt x="6308" y="1808"/>
                </a:lnTo>
                <a:lnTo>
                  <a:pt x="6310" y="1808"/>
                </a:lnTo>
                <a:lnTo>
                  <a:pt x="6312" y="1806"/>
                </a:lnTo>
                <a:lnTo>
                  <a:pt x="6312" y="1802"/>
                </a:lnTo>
                <a:lnTo>
                  <a:pt x="6308" y="1792"/>
                </a:lnTo>
                <a:lnTo>
                  <a:pt x="6306" y="1792"/>
                </a:lnTo>
                <a:lnTo>
                  <a:pt x="6306" y="1798"/>
                </a:lnTo>
                <a:lnTo>
                  <a:pt x="6306" y="1804"/>
                </a:lnTo>
                <a:lnTo>
                  <a:pt x="6308" y="1806"/>
                </a:lnTo>
                <a:lnTo>
                  <a:pt x="6308" y="1808"/>
                </a:lnTo>
                <a:close/>
                <a:moveTo>
                  <a:pt x="6314" y="1792"/>
                </a:moveTo>
                <a:lnTo>
                  <a:pt x="6314" y="1792"/>
                </a:lnTo>
                <a:lnTo>
                  <a:pt x="6310" y="1786"/>
                </a:lnTo>
                <a:lnTo>
                  <a:pt x="6308" y="1784"/>
                </a:lnTo>
                <a:lnTo>
                  <a:pt x="6306" y="1784"/>
                </a:lnTo>
                <a:lnTo>
                  <a:pt x="6310" y="1792"/>
                </a:lnTo>
                <a:lnTo>
                  <a:pt x="6312" y="1792"/>
                </a:lnTo>
                <a:lnTo>
                  <a:pt x="6314" y="1792"/>
                </a:lnTo>
                <a:close/>
                <a:moveTo>
                  <a:pt x="6304" y="1772"/>
                </a:moveTo>
                <a:lnTo>
                  <a:pt x="6304" y="1772"/>
                </a:lnTo>
                <a:lnTo>
                  <a:pt x="6300" y="1772"/>
                </a:lnTo>
                <a:lnTo>
                  <a:pt x="6302" y="1774"/>
                </a:lnTo>
                <a:lnTo>
                  <a:pt x="6308" y="1780"/>
                </a:lnTo>
                <a:lnTo>
                  <a:pt x="6310" y="1780"/>
                </a:lnTo>
                <a:lnTo>
                  <a:pt x="6310" y="1778"/>
                </a:lnTo>
                <a:lnTo>
                  <a:pt x="6308" y="1776"/>
                </a:lnTo>
                <a:lnTo>
                  <a:pt x="6304" y="1772"/>
                </a:lnTo>
                <a:close/>
                <a:moveTo>
                  <a:pt x="6046" y="2400"/>
                </a:moveTo>
                <a:lnTo>
                  <a:pt x="6046" y="2400"/>
                </a:lnTo>
                <a:lnTo>
                  <a:pt x="6054" y="2404"/>
                </a:lnTo>
                <a:lnTo>
                  <a:pt x="6060" y="2406"/>
                </a:lnTo>
                <a:lnTo>
                  <a:pt x="6064" y="2402"/>
                </a:lnTo>
                <a:lnTo>
                  <a:pt x="6064" y="2400"/>
                </a:lnTo>
                <a:lnTo>
                  <a:pt x="6060" y="2396"/>
                </a:lnTo>
                <a:lnTo>
                  <a:pt x="6056" y="2396"/>
                </a:lnTo>
                <a:lnTo>
                  <a:pt x="6052" y="2398"/>
                </a:lnTo>
                <a:lnTo>
                  <a:pt x="6046" y="2400"/>
                </a:lnTo>
                <a:close/>
                <a:moveTo>
                  <a:pt x="5812" y="1988"/>
                </a:moveTo>
                <a:lnTo>
                  <a:pt x="5812" y="1988"/>
                </a:lnTo>
                <a:lnTo>
                  <a:pt x="5810" y="1988"/>
                </a:lnTo>
                <a:lnTo>
                  <a:pt x="5808" y="1988"/>
                </a:lnTo>
                <a:lnTo>
                  <a:pt x="5808" y="1996"/>
                </a:lnTo>
                <a:lnTo>
                  <a:pt x="5810" y="2002"/>
                </a:lnTo>
                <a:lnTo>
                  <a:pt x="5810" y="2006"/>
                </a:lnTo>
                <a:lnTo>
                  <a:pt x="5812" y="2006"/>
                </a:lnTo>
                <a:lnTo>
                  <a:pt x="5814" y="2004"/>
                </a:lnTo>
                <a:lnTo>
                  <a:pt x="5814" y="2002"/>
                </a:lnTo>
                <a:lnTo>
                  <a:pt x="5812" y="1998"/>
                </a:lnTo>
                <a:lnTo>
                  <a:pt x="5812" y="1996"/>
                </a:lnTo>
                <a:lnTo>
                  <a:pt x="5816" y="1994"/>
                </a:lnTo>
                <a:lnTo>
                  <a:pt x="5816" y="1992"/>
                </a:lnTo>
                <a:lnTo>
                  <a:pt x="5814" y="1988"/>
                </a:lnTo>
                <a:lnTo>
                  <a:pt x="5812" y="1988"/>
                </a:lnTo>
                <a:close/>
                <a:moveTo>
                  <a:pt x="5874" y="2066"/>
                </a:moveTo>
                <a:lnTo>
                  <a:pt x="5874" y="2066"/>
                </a:lnTo>
                <a:lnTo>
                  <a:pt x="5870" y="2068"/>
                </a:lnTo>
                <a:lnTo>
                  <a:pt x="5866" y="2074"/>
                </a:lnTo>
                <a:lnTo>
                  <a:pt x="5862" y="2080"/>
                </a:lnTo>
                <a:lnTo>
                  <a:pt x="5864" y="2084"/>
                </a:lnTo>
                <a:lnTo>
                  <a:pt x="5864" y="2086"/>
                </a:lnTo>
                <a:lnTo>
                  <a:pt x="5868" y="2084"/>
                </a:lnTo>
                <a:lnTo>
                  <a:pt x="5872" y="2076"/>
                </a:lnTo>
                <a:lnTo>
                  <a:pt x="5876" y="2068"/>
                </a:lnTo>
                <a:lnTo>
                  <a:pt x="5876" y="2066"/>
                </a:lnTo>
                <a:lnTo>
                  <a:pt x="5874" y="2066"/>
                </a:lnTo>
                <a:close/>
                <a:moveTo>
                  <a:pt x="5978" y="1898"/>
                </a:moveTo>
                <a:lnTo>
                  <a:pt x="5978" y="1898"/>
                </a:lnTo>
                <a:lnTo>
                  <a:pt x="5980" y="1898"/>
                </a:lnTo>
                <a:lnTo>
                  <a:pt x="5978" y="1894"/>
                </a:lnTo>
                <a:lnTo>
                  <a:pt x="5974" y="1890"/>
                </a:lnTo>
                <a:lnTo>
                  <a:pt x="5972" y="1888"/>
                </a:lnTo>
                <a:lnTo>
                  <a:pt x="5970" y="1890"/>
                </a:lnTo>
                <a:lnTo>
                  <a:pt x="5972" y="1894"/>
                </a:lnTo>
                <a:lnTo>
                  <a:pt x="5974" y="1898"/>
                </a:lnTo>
                <a:lnTo>
                  <a:pt x="5978" y="1898"/>
                </a:lnTo>
                <a:close/>
                <a:moveTo>
                  <a:pt x="5986" y="1894"/>
                </a:moveTo>
                <a:lnTo>
                  <a:pt x="5986" y="1894"/>
                </a:lnTo>
                <a:lnTo>
                  <a:pt x="5986" y="1896"/>
                </a:lnTo>
                <a:lnTo>
                  <a:pt x="5986" y="1898"/>
                </a:lnTo>
                <a:lnTo>
                  <a:pt x="5986" y="1900"/>
                </a:lnTo>
                <a:lnTo>
                  <a:pt x="5988" y="1900"/>
                </a:lnTo>
                <a:lnTo>
                  <a:pt x="5990" y="1900"/>
                </a:lnTo>
                <a:lnTo>
                  <a:pt x="5990" y="1898"/>
                </a:lnTo>
                <a:lnTo>
                  <a:pt x="5988" y="1896"/>
                </a:lnTo>
                <a:lnTo>
                  <a:pt x="5986" y="1894"/>
                </a:lnTo>
                <a:close/>
                <a:moveTo>
                  <a:pt x="6004" y="1864"/>
                </a:moveTo>
                <a:lnTo>
                  <a:pt x="6004" y="1864"/>
                </a:lnTo>
                <a:lnTo>
                  <a:pt x="6002" y="1864"/>
                </a:lnTo>
                <a:lnTo>
                  <a:pt x="6000" y="1864"/>
                </a:lnTo>
                <a:lnTo>
                  <a:pt x="5998" y="1864"/>
                </a:lnTo>
                <a:lnTo>
                  <a:pt x="5996" y="1868"/>
                </a:lnTo>
                <a:lnTo>
                  <a:pt x="5996" y="1870"/>
                </a:lnTo>
                <a:lnTo>
                  <a:pt x="5998" y="1870"/>
                </a:lnTo>
                <a:lnTo>
                  <a:pt x="6002" y="1868"/>
                </a:lnTo>
                <a:lnTo>
                  <a:pt x="6004" y="1868"/>
                </a:lnTo>
                <a:lnTo>
                  <a:pt x="6006" y="1866"/>
                </a:lnTo>
                <a:lnTo>
                  <a:pt x="6006" y="1864"/>
                </a:lnTo>
                <a:lnTo>
                  <a:pt x="6004" y="1864"/>
                </a:lnTo>
                <a:close/>
                <a:moveTo>
                  <a:pt x="5996" y="1876"/>
                </a:moveTo>
                <a:lnTo>
                  <a:pt x="5996" y="1876"/>
                </a:lnTo>
                <a:lnTo>
                  <a:pt x="5998" y="1878"/>
                </a:lnTo>
                <a:lnTo>
                  <a:pt x="6002" y="1878"/>
                </a:lnTo>
                <a:lnTo>
                  <a:pt x="6000" y="1874"/>
                </a:lnTo>
                <a:lnTo>
                  <a:pt x="5998" y="1874"/>
                </a:lnTo>
                <a:lnTo>
                  <a:pt x="5996" y="1876"/>
                </a:lnTo>
                <a:close/>
                <a:moveTo>
                  <a:pt x="5990" y="1868"/>
                </a:moveTo>
                <a:lnTo>
                  <a:pt x="5990" y="1868"/>
                </a:lnTo>
                <a:lnTo>
                  <a:pt x="5990" y="1862"/>
                </a:lnTo>
                <a:lnTo>
                  <a:pt x="5988" y="1860"/>
                </a:lnTo>
                <a:lnTo>
                  <a:pt x="5984" y="1860"/>
                </a:lnTo>
                <a:lnTo>
                  <a:pt x="5984" y="1862"/>
                </a:lnTo>
                <a:lnTo>
                  <a:pt x="5986" y="1866"/>
                </a:lnTo>
                <a:lnTo>
                  <a:pt x="5990" y="1868"/>
                </a:lnTo>
                <a:close/>
                <a:moveTo>
                  <a:pt x="6040" y="1804"/>
                </a:moveTo>
                <a:lnTo>
                  <a:pt x="6040" y="1804"/>
                </a:lnTo>
                <a:lnTo>
                  <a:pt x="6040" y="1806"/>
                </a:lnTo>
                <a:lnTo>
                  <a:pt x="6042" y="1806"/>
                </a:lnTo>
                <a:lnTo>
                  <a:pt x="6044" y="1806"/>
                </a:lnTo>
                <a:lnTo>
                  <a:pt x="6046" y="1808"/>
                </a:lnTo>
                <a:lnTo>
                  <a:pt x="6048" y="1810"/>
                </a:lnTo>
                <a:lnTo>
                  <a:pt x="6050" y="1808"/>
                </a:lnTo>
                <a:lnTo>
                  <a:pt x="6052" y="1806"/>
                </a:lnTo>
                <a:lnTo>
                  <a:pt x="6054" y="1808"/>
                </a:lnTo>
                <a:lnTo>
                  <a:pt x="6056" y="1808"/>
                </a:lnTo>
                <a:lnTo>
                  <a:pt x="6056" y="1812"/>
                </a:lnTo>
                <a:lnTo>
                  <a:pt x="6054" y="1816"/>
                </a:lnTo>
                <a:lnTo>
                  <a:pt x="6052" y="1824"/>
                </a:lnTo>
                <a:lnTo>
                  <a:pt x="6052" y="1826"/>
                </a:lnTo>
                <a:lnTo>
                  <a:pt x="6054" y="1828"/>
                </a:lnTo>
                <a:lnTo>
                  <a:pt x="6056" y="1830"/>
                </a:lnTo>
                <a:lnTo>
                  <a:pt x="6056" y="1826"/>
                </a:lnTo>
                <a:lnTo>
                  <a:pt x="6058" y="1818"/>
                </a:lnTo>
                <a:lnTo>
                  <a:pt x="6060" y="1814"/>
                </a:lnTo>
                <a:lnTo>
                  <a:pt x="6060" y="1806"/>
                </a:lnTo>
                <a:lnTo>
                  <a:pt x="6058" y="1804"/>
                </a:lnTo>
                <a:lnTo>
                  <a:pt x="6060" y="1802"/>
                </a:lnTo>
                <a:lnTo>
                  <a:pt x="6064" y="1792"/>
                </a:lnTo>
                <a:lnTo>
                  <a:pt x="6064" y="1790"/>
                </a:lnTo>
                <a:lnTo>
                  <a:pt x="6062" y="1790"/>
                </a:lnTo>
                <a:lnTo>
                  <a:pt x="6060" y="1792"/>
                </a:lnTo>
                <a:lnTo>
                  <a:pt x="6060" y="1790"/>
                </a:lnTo>
                <a:lnTo>
                  <a:pt x="6058" y="1788"/>
                </a:lnTo>
                <a:lnTo>
                  <a:pt x="6058" y="1786"/>
                </a:lnTo>
                <a:lnTo>
                  <a:pt x="6056" y="1790"/>
                </a:lnTo>
                <a:lnTo>
                  <a:pt x="6054" y="1790"/>
                </a:lnTo>
                <a:lnTo>
                  <a:pt x="6054" y="1788"/>
                </a:lnTo>
                <a:lnTo>
                  <a:pt x="6054" y="1780"/>
                </a:lnTo>
                <a:lnTo>
                  <a:pt x="6054" y="1778"/>
                </a:lnTo>
                <a:lnTo>
                  <a:pt x="6052" y="1778"/>
                </a:lnTo>
                <a:lnTo>
                  <a:pt x="6048" y="1780"/>
                </a:lnTo>
                <a:lnTo>
                  <a:pt x="6042" y="1786"/>
                </a:lnTo>
                <a:lnTo>
                  <a:pt x="6042" y="1788"/>
                </a:lnTo>
                <a:lnTo>
                  <a:pt x="6050" y="1792"/>
                </a:lnTo>
                <a:lnTo>
                  <a:pt x="6052" y="1794"/>
                </a:lnTo>
                <a:lnTo>
                  <a:pt x="6052" y="1796"/>
                </a:lnTo>
                <a:lnTo>
                  <a:pt x="6050" y="1798"/>
                </a:lnTo>
                <a:lnTo>
                  <a:pt x="6046" y="1800"/>
                </a:lnTo>
                <a:lnTo>
                  <a:pt x="6042" y="1800"/>
                </a:lnTo>
                <a:lnTo>
                  <a:pt x="6040" y="1802"/>
                </a:lnTo>
                <a:lnTo>
                  <a:pt x="6040" y="1804"/>
                </a:lnTo>
                <a:close/>
                <a:moveTo>
                  <a:pt x="6064" y="1778"/>
                </a:moveTo>
                <a:lnTo>
                  <a:pt x="6064" y="1778"/>
                </a:lnTo>
                <a:lnTo>
                  <a:pt x="6066" y="1776"/>
                </a:lnTo>
                <a:lnTo>
                  <a:pt x="6066" y="1774"/>
                </a:lnTo>
                <a:lnTo>
                  <a:pt x="6066" y="1772"/>
                </a:lnTo>
                <a:lnTo>
                  <a:pt x="6064" y="1770"/>
                </a:lnTo>
                <a:lnTo>
                  <a:pt x="6062" y="1772"/>
                </a:lnTo>
                <a:lnTo>
                  <a:pt x="6060" y="1776"/>
                </a:lnTo>
                <a:lnTo>
                  <a:pt x="6058" y="1780"/>
                </a:lnTo>
                <a:lnTo>
                  <a:pt x="6060" y="1784"/>
                </a:lnTo>
                <a:lnTo>
                  <a:pt x="6062" y="1786"/>
                </a:lnTo>
                <a:lnTo>
                  <a:pt x="6062" y="1784"/>
                </a:lnTo>
                <a:lnTo>
                  <a:pt x="6064" y="1780"/>
                </a:lnTo>
                <a:lnTo>
                  <a:pt x="6064" y="1778"/>
                </a:lnTo>
                <a:close/>
                <a:moveTo>
                  <a:pt x="6072" y="1764"/>
                </a:moveTo>
                <a:lnTo>
                  <a:pt x="6072" y="1764"/>
                </a:lnTo>
                <a:lnTo>
                  <a:pt x="6070" y="1764"/>
                </a:lnTo>
                <a:lnTo>
                  <a:pt x="6068" y="1768"/>
                </a:lnTo>
                <a:lnTo>
                  <a:pt x="6068" y="1770"/>
                </a:lnTo>
                <a:lnTo>
                  <a:pt x="6070" y="1772"/>
                </a:lnTo>
                <a:lnTo>
                  <a:pt x="6072" y="1772"/>
                </a:lnTo>
                <a:lnTo>
                  <a:pt x="6074" y="1768"/>
                </a:lnTo>
                <a:lnTo>
                  <a:pt x="6074" y="1766"/>
                </a:lnTo>
                <a:lnTo>
                  <a:pt x="6072" y="1764"/>
                </a:lnTo>
                <a:close/>
                <a:moveTo>
                  <a:pt x="5808" y="1678"/>
                </a:moveTo>
                <a:lnTo>
                  <a:pt x="5808" y="1678"/>
                </a:lnTo>
                <a:lnTo>
                  <a:pt x="5808" y="1680"/>
                </a:lnTo>
                <a:lnTo>
                  <a:pt x="5816" y="1686"/>
                </a:lnTo>
                <a:lnTo>
                  <a:pt x="5820" y="1686"/>
                </a:lnTo>
                <a:lnTo>
                  <a:pt x="5822" y="1686"/>
                </a:lnTo>
                <a:lnTo>
                  <a:pt x="5822" y="1684"/>
                </a:lnTo>
                <a:lnTo>
                  <a:pt x="5820" y="1680"/>
                </a:lnTo>
                <a:lnTo>
                  <a:pt x="5816" y="1676"/>
                </a:lnTo>
                <a:lnTo>
                  <a:pt x="5814" y="1676"/>
                </a:lnTo>
                <a:lnTo>
                  <a:pt x="5808" y="1678"/>
                </a:lnTo>
                <a:close/>
                <a:moveTo>
                  <a:pt x="5838" y="1702"/>
                </a:moveTo>
                <a:lnTo>
                  <a:pt x="5838" y="1702"/>
                </a:lnTo>
                <a:lnTo>
                  <a:pt x="5842" y="1704"/>
                </a:lnTo>
                <a:lnTo>
                  <a:pt x="5844" y="1702"/>
                </a:lnTo>
                <a:lnTo>
                  <a:pt x="5842" y="1700"/>
                </a:lnTo>
                <a:lnTo>
                  <a:pt x="5838" y="1696"/>
                </a:lnTo>
                <a:lnTo>
                  <a:pt x="5834" y="1694"/>
                </a:lnTo>
                <a:lnTo>
                  <a:pt x="5832" y="1694"/>
                </a:lnTo>
                <a:lnTo>
                  <a:pt x="5832" y="1696"/>
                </a:lnTo>
                <a:lnTo>
                  <a:pt x="5834" y="1700"/>
                </a:lnTo>
                <a:lnTo>
                  <a:pt x="5838" y="1702"/>
                </a:lnTo>
                <a:close/>
                <a:moveTo>
                  <a:pt x="5830" y="1712"/>
                </a:moveTo>
                <a:lnTo>
                  <a:pt x="5830" y="1712"/>
                </a:lnTo>
                <a:lnTo>
                  <a:pt x="5830" y="1716"/>
                </a:lnTo>
                <a:lnTo>
                  <a:pt x="5830" y="1718"/>
                </a:lnTo>
                <a:lnTo>
                  <a:pt x="5836" y="1728"/>
                </a:lnTo>
                <a:lnTo>
                  <a:pt x="5840" y="1730"/>
                </a:lnTo>
                <a:lnTo>
                  <a:pt x="5842" y="1730"/>
                </a:lnTo>
                <a:lnTo>
                  <a:pt x="5842" y="1728"/>
                </a:lnTo>
                <a:lnTo>
                  <a:pt x="5840" y="1726"/>
                </a:lnTo>
                <a:lnTo>
                  <a:pt x="5840" y="1722"/>
                </a:lnTo>
                <a:lnTo>
                  <a:pt x="5838" y="1718"/>
                </a:lnTo>
                <a:lnTo>
                  <a:pt x="5836" y="1716"/>
                </a:lnTo>
                <a:lnTo>
                  <a:pt x="5832" y="1714"/>
                </a:lnTo>
                <a:lnTo>
                  <a:pt x="5832" y="1712"/>
                </a:lnTo>
                <a:lnTo>
                  <a:pt x="5830" y="1712"/>
                </a:lnTo>
                <a:close/>
                <a:moveTo>
                  <a:pt x="5818" y="1668"/>
                </a:moveTo>
                <a:lnTo>
                  <a:pt x="5818" y="1668"/>
                </a:lnTo>
                <a:lnTo>
                  <a:pt x="5820" y="1670"/>
                </a:lnTo>
                <a:lnTo>
                  <a:pt x="5818" y="1672"/>
                </a:lnTo>
                <a:lnTo>
                  <a:pt x="5818" y="1674"/>
                </a:lnTo>
                <a:lnTo>
                  <a:pt x="5822" y="1678"/>
                </a:lnTo>
                <a:lnTo>
                  <a:pt x="5824" y="1678"/>
                </a:lnTo>
                <a:lnTo>
                  <a:pt x="5826" y="1678"/>
                </a:lnTo>
                <a:lnTo>
                  <a:pt x="5828" y="1682"/>
                </a:lnTo>
                <a:lnTo>
                  <a:pt x="5834" y="1688"/>
                </a:lnTo>
                <a:lnTo>
                  <a:pt x="5838" y="1692"/>
                </a:lnTo>
                <a:lnTo>
                  <a:pt x="5840" y="1692"/>
                </a:lnTo>
                <a:lnTo>
                  <a:pt x="5838" y="1688"/>
                </a:lnTo>
                <a:lnTo>
                  <a:pt x="5836" y="1682"/>
                </a:lnTo>
                <a:lnTo>
                  <a:pt x="5832" y="1676"/>
                </a:lnTo>
                <a:lnTo>
                  <a:pt x="5830" y="1676"/>
                </a:lnTo>
                <a:lnTo>
                  <a:pt x="5828" y="1674"/>
                </a:lnTo>
                <a:lnTo>
                  <a:pt x="5826" y="1672"/>
                </a:lnTo>
                <a:lnTo>
                  <a:pt x="5824" y="1668"/>
                </a:lnTo>
                <a:lnTo>
                  <a:pt x="5820" y="1666"/>
                </a:lnTo>
                <a:lnTo>
                  <a:pt x="5818" y="1666"/>
                </a:lnTo>
                <a:lnTo>
                  <a:pt x="5818" y="1668"/>
                </a:lnTo>
                <a:close/>
                <a:moveTo>
                  <a:pt x="5830" y="1664"/>
                </a:moveTo>
                <a:lnTo>
                  <a:pt x="5830" y="1664"/>
                </a:lnTo>
                <a:lnTo>
                  <a:pt x="5826" y="1664"/>
                </a:lnTo>
                <a:lnTo>
                  <a:pt x="5828" y="1668"/>
                </a:lnTo>
                <a:lnTo>
                  <a:pt x="5832" y="1674"/>
                </a:lnTo>
                <a:lnTo>
                  <a:pt x="5838" y="1680"/>
                </a:lnTo>
                <a:lnTo>
                  <a:pt x="5842" y="1682"/>
                </a:lnTo>
                <a:lnTo>
                  <a:pt x="5844" y="1680"/>
                </a:lnTo>
                <a:lnTo>
                  <a:pt x="5846" y="1678"/>
                </a:lnTo>
                <a:lnTo>
                  <a:pt x="5844" y="1676"/>
                </a:lnTo>
                <a:lnTo>
                  <a:pt x="5842" y="1676"/>
                </a:lnTo>
                <a:lnTo>
                  <a:pt x="5844" y="1674"/>
                </a:lnTo>
                <a:lnTo>
                  <a:pt x="5842" y="1672"/>
                </a:lnTo>
                <a:lnTo>
                  <a:pt x="5840" y="1672"/>
                </a:lnTo>
                <a:lnTo>
                  <a:pt x="5838" y="1670"/>
                </a:lnTo>
                <a:lnTo>
                  <a:pt x="5838" y="1668"/>
                </a:lnTo>
                <a:lnTo>
                  <a:pt x="5836" y="1668"/>
                </a:lnTo>
                <a:lnTo>
                  <a:pt x="5834" y="1666"/>
                </a:lnTo>
                <a:lnTo>
                  <a:pt x="5832" y="1664"/>
                </a:lnTo>
                <a:lnTo>
                  <a:pt x="5830" y="1664"/>
                </a:lnTo>
                <a:close/>
                <a:moveTo>
                  <a:pt x="5848" y="1674"/>
                </a:moveTo>
                <a:lnTo>
                  <a:pt x="5848" y="1676"/>
                </a:lnTo>
                <a:lnTo>
                  <a:pt x="5850" y="1674"/>
                </a:lnTo>
                <a:lnTo>
                  <a:pt x="5852" y="1674"/>
                </a:lnTo>
                <a:lnTo>
                  <a:pt x="5854" y="1674"/>
                </a:lnTo>
                <a:lnTo>
                  <a:pt x="5856" y="1672"/>
                </a:lnTo>
                <a:lnTo>
                  <a:pt x="5856" y="1670"/>
                </a:lnTo>
                <a:lnTo>
                  <a:pt x="5852" y="1668"/>
                </a:lnTo>
                <a:lnTo>
                  <a:pt x="5848" y="1664"/>
                </a:lnTo>
                <a:lnTo>
                  <a:pt x="5848" y="1666"/>
                </a:lnTo>
                <a:lnTo>
                  <a:pt x="5848" y="1668"/>
                </a:lnTo>
                <a:lnTo>
                  <a:pt x="5848" y="1670"/>
                </a:lnTo>
                <a:lnTo>
                  <a:pt x="5848" y="1672"/>
                </a:lnTo>
                <a:lnTo>
                  <a:pt x="5848" y="1674"/>
                </a:lnTo>
                <a:close/>
                <a:moveTo>
                  <a:pt x="5844" y="1662"/>
                </a:moveTo>
                <a:lnTo>
                  <a:pt x="5844" y="1662"/>
                </a:lnTo>
                <a:lnTo>
                  <a:pt x="5844" y="1666"/>
                </a:lnTo>
                <a:lnTo>
                  <a:pt x="5844" y="1668"/>
                </a:lnTo>
                <a:lnTo>
                  <a:pt x="5846" y="1670"/>
                </a:lnTo>
                <a:lnTo>
                  <a:pt x="5846" y="1664"/>
                </a:lnTo>
                <a:lnTo>
                  <a:pt x="5844" y="1662"/>
                </a:lnTo>
                <a:close/>
                <a:moveTo>
                  <a:pt x="5858" y="1670"/>
                </a:moveTo>
                <a:lnTo>
                  <a:pt x="5858" y="1670"/>
                </a:lnTo>
                <a:lnTo>
                  <a:pt x="5860" y="1668"/>
                </a:lnTo>
                <a:lnTo>
                  <a:pt x="5860" y="1666"/>
                </a:lnTo>
                <a:lnTo>
                  <a:pt x="5858" y="1666"/>
                </a:lnTo>
                <a:lnTo>
                  <a:pt x="5858" y="1668"/>
                </a:lnTo>
                <a:lnTo>
                  <a:pt x="5858" y="1670"/>
                </a:lnTo>
                <a:close/>
                <a:moveTo>
                  <a:pt x="6210" y="3036"/>
                </a:moveTo>
                <a:lnTo>
                  <a:pt x="6210" y="3036"/>
                </a:lnTo>
                <a:lnTo>
                  <a:pt x="6214" y="3034"/>
                </a:lnTo>
                <a:lnTo>
                  <a:pt x="6218" y="3038"/>
                </a:lnTo>
                <a:lnTo>
                  <a:pt x="6220" y="3042"/>
                </a:lnTo>
                <a:lnTo>
                  <a:pt x="6226" y="3048"/>
                </a:lnTo>
                <a:lnTo>
                  <a:pt x="6230" y="3050"/>
                </a:lnTo>
                <a:lnTo>
                  <a:pt x="6232" y="3048"/>
                </a:lnTo>
                <a:lnTo>
                  <a:pt x="6238" y="3044"/>
                </a:lnTo>
                <a:lnTo>
                  <a:pt x="6246" y="3026"/>
                </a:lnTo>
                <a:lnTo>
                  <a:pt x="6248" y="3022"/>
                </a:lnTo>
                <a:lnTo>
                  <a:pt x="6242" y="3022"/>
                </a:lnTo>
                <a:lnTo>
                  <a:pt x="6238" y="3022"/>
                </a:lnTo>
                <a:lnTo>
                  <a:pt x="6234" y="3020"/>
                </a:lnTo>
                <a:lnTo>
                  <a:pt x="6234" y="3018"/>
                </a:lnTo>
                <a:lnTo>
                  <a:pt x="6232" y="3014"/>
                </a:lnTo>
                <a:lnTo>
                  <a:pt x="6228" y="3014"/>
                </a:lnTo>
                <a:lnTo>
                  <a:pt x="6222" y="3016"/>
                </a:lnTo>
                <a:lnTo>
                  <a:pt x="6216" y="3020"/>
                </a:lnTo>
                <a:lnTo>
                  <a:pt x="6206" y="3028"/>
                </a:lnTo>
                <a:lnTo>
                  <a:pt x="6202" y="3032"/>
                </a:lnTo>
                <a:lnTo>
                  <a:pt x="6204" y="3036"/>
                </a:lnTo>
                <a:lnTo>
                  <a:pt x="6204" y="3038"/>
                </a:lnTo>
                <a:lnTo>
                  <a:pt x="6210" y="3036"/>
                </a:lnTo>
                <a:close/>
                <a:moveTo>
                  <a:pt x="6272" y="3016"/>
                </a:moveTo>
                <a:lnTo>
                  <a:pt x="6272" y="3016"/>
                </a:lnTo>
                <a:lnTo>
                  <a:pt x="6278" y="3018"/>
                </a:lnTo>
                <a:lnTo>
                  <a:pt x="6280" y="3018"/>
                </a:lnTo>
                <a:lnTo>
                  <a:pt x="6280" y="3014"/>
                </a:lnTo>
                <a:lnTo>
                  <a:pt x="6278" y="3010"/>
                </a:lnTo>
                <a:lnTo>
                  <a:pt x="6278" y="3006"/>
                </a:lnTo>
                <a:lnTo>
                  <a:pt x="6276" y="3006"/>
                </a:lnTo>
                <a:lnTo>
                  <a:pt x="6268" y="3004"/>
                </a:lnTo>
                <a:lnTo>
                  <a:pt x="6262" y="3006"/>
                </a:lnTo>
                <a:lnTo>
                  <a:pt x="6260" y="3008"/>
                </a:lnTo>
                <a:lnTo>
                  <a:pt x="6260" y="3010"/>
                </a:lnTo>
                <a:lnTo>
                  <a:pt x="6262" y="3012"/>
                </a:lnTo>
                <a:lnTo>
                  <a:pt x="6264" y="3014"/>
                </a:lnTo>
                <a:lnTo>
                  <a:pt x="6268" y="3014"/>
                </a:lnTo>
                <a:lnTo>
                  <a:pt x="6272" y="3016"/>
                </a:lnTo>
                <a:close/>
                <a:moveTo>
                  <a:pt x="6168" y="3058"/>
                </a:moveTo>
                <a:lnTo>
                  <a:pt x="6168" y="3058"/>
                </a:lnTo>
                <a:lnTo>
                  <a:pt x="6166" y="3056"/>
                </a:lnTo>
                <a:lnTo>
                  <a:pt x="6164" y="3058"/>
                </a:lnTo>
                <a:lnTo>
                  <a:pt x="6158" y="3062"/>
                </a:lnTo>
                <a:lnTo>
                  <a:pt x="6154" y="3068"/>
                </a:lnTo>
                <a:lnTo>
                  <a:pt x="6154" y="3070"/>
                </a:lnTo>
                <a:lnTo>
                  <a:pt x="6156" y="3072"/>
                </a:lnTo>
                <a:lnTo>
                  <a:pt x="6158" y="3074"/>
                </a:lnTo>
                <a:lnTo>
                  <a:pt x="6160" y="3072"/>
                </a:lnTo>
                <a:lnTo>
                  <a:pt x="6166" y="3068"/>
                </a:lnTo>
                <a:lnTo>
                  <a:pt x="6170" y="3064"/>
                </a:lnTo>
                <a:lnTo>
                  <a:pt x="6170" y="3060"/>
                </a:lnTo>
                <a:lnTo>
                  <a:pt x="6168" y="3058"/>
                </a:lnTo>
                <a:close/>
                <a:moveTo>
                  <a:pt x="11926" y="5416"/>
                </a:moveTo>
                <a:lnTo>
                  <a:pt x="11926" y="5416"/>
                </a:lnTo>
                <a:lnTo>
                  <a:pt x="11940" y="5412"/>
                </a:lnTo>
                <a:lnTo>
                  <a:pt x="11942" y="5414"/>
                </a:lnTo>
                <a:lnTo>
                  <a:pt x="11942" y="5416"/>
                </a:lnTo>
                <a:lnTo>
                  <a:pt x="11944" y="5418"/>
                </a:lnTo>
                <a:lnTo>
                  <a:pt x="11948" y="5420"/>
                </a:lnTo>
                <a:lnTo>
                  <a:pt x="11954" y="5424"/>
                </a:lnTo>
                <a:lnTo>
                  <a:pt x="11966" y="5426"/>
                </a:lnTo>
                <a:lnTo>
                  <a:pt x="11978" y="5428"/>
                </a:lnTo>
                <a:lnTo>
                  <a:pt x="11988" y="5432"/>
                </a:lnTo>
                <a:lnTo>
                  <a:pt x="11994" y="5438"/>
                </a:lnTo>
                <a:lnTo>
                  <a:pt x="12000" y="5446"/>
                </a:lnTo>
                <a:lnTo>
                  <a:pt x="12010" y="5464"/>
                </a:lnTo>
                <a:lnTo>
                  <a:pt x="12018" y="5476"/>
                </a:lnTo>
                <a:lnTo>
                  <a:pt x="12028" y="5490"/>
                </a:lnTo>
                <a:lnTo>
                  <a:pt x="12044" y="5512"/>
                </a:lnTo>
                <a:lnTo>
                  <a:pt x="12050" y="5520"/>
                </a:lnTo>
                <a:lnTo>
                  <a:pt x="12056" y="5524"/>
                </a:lnTo>
                <a:lnTo>
                  <a:pt x="12062" y="5528"/>
                </a:lnTo>
                <a:lnTo>
                  <a:pt x="12072" y="5532"/>
                </a:lnTo>
                <a:lnTo>
                  <a:pt x="12102" y="5538"/>
                </a:lnTo>
                <a:lnTo>
                  <a:pt x="12120" y="5542"/>
                </a:lnTo>
                <a:lnTo>
                  <a:pt x="12132" y="5546"/>
                </a:lnTo>
                <a:lnTo>
                  <a:pt x="12140" y="5548"/>
                </a:lnTo>
                <a:lnTo>
                  <a:pt x="12146" y="5552"/>
                </a:lnTo>
                <a:lnTo>
                  <a:pt x="12154" y="5558"/>
                </a:lnTo>
                <a:lnTo>
                  <a:pt x="12158" y="5560"/>
                </a:lnTo>
                <a:lnTo>
                  <a:pt x="12164" y="5560"/>
                </a:lnTo>
                <a:lnTo>
                  <a:pt x="12170" y="5558"/>
                </a:lnTo>
                <a:lnTo>
                  <a:pt x="12176" y="5556"/>
                </a:lnTo>
                <a:lnTo>
                  <a:pt x="12182" y="5554"/>
                </a:lnTo>
                <a:lnTo>
                  <a:pt x="12184" y="5550"/>
                </a:lnTo>
                <a:lnTo>
                  <a:pt x="12186" y="5546"/>
                </a:lnTo>
                <a:lnTo>
                  <a:pt x="12182" y="5540"/>
                </a:lnTo>
                <a:lnTo>
                  <a:pt x="12178" y="5536"/>
                </a:lnTo>
                <a:lnTo>
                  <a:pt x="12168" y="5534"/>
                </a:lnTo>
                <a:lnTo>
                  <a:pt x="12152" y="5528"/>
                </a:lnTo>
                <a:lnTo>
                  <a:pt x="12144" y="5524"/>
                </a:lnTo>
                <a:lnTo>
                  <a:pt x="12142" y="5522"/>
                </a:lnTo>
                <a:lnTo>
                  <a:pt x="12142" y="5520"/>
                </a:lnTo>
                <a:lnTo>
                  <a:pt x="12146" y="5516"/>
                </a:lnTo>
                <a:lnTo>
                  <a:pt x="12148" y="5512"/>
                </a:lnTo>
                <a:lnTo>
                  <a:pt x="12150" y="5508"/>
                </a:lnTo>
                <a:lnTo>
                  <a:pt x="12146" y="5506"/>
                </a:lnTo>
                <a:lnTo>
                  <a:pt x="12134" y="5504"/>
                </a:lnTo>
                <a:lnTo>
                  <a:pt x="12124" y="5502"/>
                </a:lnTo>
                <a:lnTo>
                  <a:pt x="12120" y="5500"/>
                </a:lnTo>
                <a:lnTo>
                  <a:pt x="12120" y="5498"/>
                </a:lnTo>
                <a:lnTo>
                  <a:pt x="12120" y="5492"/>
                </a:lnTo>
                <a:lnTo>
                  <a:pt x="12122" y="5486"/>
                </a:lnTo>
                <a:lnTo>
                  <a:pt x="12124" y="5482"/>
                </a:lnTo>
                <a:lnTo>
                  <a:pt x="12124" y="5478"/>
                </a:lnTo>
                <a:lnTo>
                  <a:pt x="12118" y="5476"/>
                </a:lnTo>
                <a:lnTo>
                  <a:pt x="12108" y="5478"/>
                </a:lnTo>
                <a:lnTo>
                  <a:pt x="12102" y="5478"/>
                </a:lnTo>
                <a:lnTo>
                  <a:pt x="12098" y="5478"/>
                </a:lnTo>
                <a:lnTo>
                  <a:pt x="12092" y="5474"/>
                </a:lnTo>
                <a:lnTo>
                  <a:pt x="12086" y="5468"/>
                </a:lnTo>
                <a:lnTo>
                  <a:pt x="12084" y="5458"/>
                </a:lnTo>
                <a:lnTo>
                  <a:pt x="12078" y="5440"/>
                </a:lnTo>
                <a:lnTo>
                  <a:pt x="12074" y="5432"/>
                </a:lnTo>
                <a:lnTo>
                  <a:pt x="12070" y="5428"/>
                </a:lnTo>
                <a:lnTo>
                  <a:pt x="12064" y="5424"/>
                </a:lnTo>
                <a:lnTo>
                  <a:pt x="12058" y="5418"/>
                </a:lnTo>
                <a:lnTo>
                  <a:pt x="12040" y="5398"/>
                </a:lnTo>
                <a:lnTo>
                  <a:pt x="12034" y="5390"/>
                </a:lnTo>
                <a:lnTo>
                  <a:pt x="12028" y="5380"/>
                </a:lnTo>
                <a:lnTo>
                  <a:pt x="12026" y="5374"/>
                </a:lnTo>
                <a:lnTo>
                  <a:pt x="12026" y="5370"/>
                </a:lnTo>
                <a:lnTo>
                  <a:pt x="12028" y="5368"/>
                </a:lnTo>
                <a:lnTo>
                  <a:pt x="12032" y="5366"/>
                </a:lnTo>
                <a:lnTo>
                  <a:pt x="12036" y="5366"/>
                </a:lnTo>
                <a:lnTo>
                  <a:pt x="12048" y="5366"/>
                </a:lnTo>
                <a:lnTo>
                  <a:pt x="12058" y="5366"/>
                </a:lnTo>
                <a:lnTo>
                  <a:pt x="12062" y="5366"/>
                </a:lnTo>
                <a:lnTo>
                  <a:pt x="12064" y="5362"/>
                </a:lnTo>
                <a:lnTo>
                  <a:pt x="12066" y="5358"/>
                </a:lnTo>
                <a:lnTo>
                  <a:pt x="12066" y="5354"/>
                </a:lnTo>
                <a:lnTo>
                  <a:pt x="12060" y="5342"/>
                </a:lnTo>
                <a:lnTo>
                  <a:pt x="12056" y="5336"/>
                </a:lnTo>
                <a:lnTo>
                  <a:pt x="12050" y="5332"/>
                </a:lnTo>
                <a:lnTo>
                  <a:pt x="12046" y="5328"/>
                </a:lnTo>
                <a:lnTo>
                  <a:pt x="12040" y="5328"/>
                </a:lnTo>
                <a:lnTo>
                  <a:pt x="12034" y="5330"/>
                </a:lnTo>
                <a:lnTo>
                  <a:pt x="12030" y="5328"/>
                </a:lnTo>
                <a:lnTo>
                  <a:pt x="12024" y="5324"/>
                </a:lnTo>
                <a:lnTo>
                  <a:pt x="12016" y="5316"/>
                </a:lnTo>
                <a:lnTo>
                  <a:pt x="12008" y="5312"/>
                </a:lnTo>
                <a:lnTo>
                  <a:pt x="11998" y="5308"/>
                </a:lnTo>
                <a:lnTo>
                  <a:pt x="11984" y="5304"/>
                </a:lnTo>
                <a:lnTo>
                  <a:pt x="11980" y="5302"/>
                </a:lnTo>
                <a:lnTo>
                  <a:pt x="11978" y="5300"/>
                </a:lnTo>
                <a:lnTo>
                  <a:pt x="11980" y="5294"/>
                </a:lnTo>
                <a:lnTo>
                  <a:pt x="11984" y="5286"/>
                </a:lnTo>
                <a:lnTo>
                  <a:pt x="11982" y="5278"/>
                </a:lnTo>
                <a:lnTo>
                  <a:pt x="11978" y="5270"/>
                </a:lnTo>
                <a:lnTo>
                  <a:pt x="11970" y="5258"/>
                </a:lnTo>
                <a:lnTo>
                  <a:pt x="11958" y="5248"/>
                </a:lnTo>
                <a:lnTo>
                  <a:pt x="11948" y="5240"/>
                </a:lnTo>
                <a:lnTo>
                  <a:pt x="11936" y="5232"/>
                </a:lnTo>
                <a:lnTo>
                  <a:pt x="11926" y="5226"/>
                </a:lnTo>
                <a:lnTo>
                  <a:pt x="11918" y="5226"/>
                </a:lnTo>
                <a:lnTo>
                  <a:pt x="11914" y="5224"/>
                </a:lnTo>
                <a:lnTo>
                  <a:pt x="11908" y="5222"/>
                </a:lnTo>
                <a:lnTo>
                  <a:pt x="11902" y="5216"/>
                </a:lnTo>
                <a:lnTo>
                  <a:pt x="11892" y="5208"/>
                </a:lnTo>
                <a:lnTo>
                  <a:pt x="11884" y="5204"/>
                </a:lnTo>
                <a:lnTo>
                  <a:pt x="11874" y="5202"/>
                </a:lnTo>
                <a:lnTo>
                  <a:pt x="11860" y="5198"/>
                </a:lnTo>
                <a:lnTo>
                  <a:pt x="11844" y="5190"/>
                </a:lnTo>
                <a:lnTo>
                  <a:pt x="11810" y="5174"/>
                </a:lnTo>
                <a:lnTo>
                  <a:pt x="11776" y="5160"/>
                </a:lnTo>
                <a:lnTo>
                  <a:pt x="11762" y="5156"/>
                </a:lnTo>
                <a:lnTo>
                  <a:pt x="11750" y="5154"/>
                </a:lnTo>
                <a:lnTo>
                  <a:pt x="11752" y="5444"/>
                </a:lnTo>
                <a:lnTo>
                  <a:pt x="11764" y="5454"/>
                </a:lnTo>
                <a:lnTo>
                  <a:pt x="11774" y="5466"/>
                </a:lnTo>
                <a:lnTo>
                  <a:pt x="11788" y="5486"/>
                </a:lnTo>
                <a:lnTo>
                  <a:pt x="11792" y="5488"/>
                </a:lnTo>
                <a:lnTo>
                  <a:pt x="11798" y="5488"/>
                </a:lnTo>
                <a:lnTo>
                  <a:pt x="11812" y="5488"/>
                </a:lnTo>
                <a:lnTo>
                  <a:pt x="11828" y="5488"/>
                </a:lnTo>
                <a:lnTo>
                  <a:pt x="11836" y="5488"/>
                </a:lnTo>
                <a:lnTo>
                  <a:pt x="11844" y="5492"/>
                </a:lnTo>
                <a:lnTo>
                  <a:pt x="11850" y="5494"/>
                </a:lnTo>
                <a:lnTo>
                  <a:pt x="11856" y="5494"/>
                </a:lnTo>
                <a:lnTo>
                  <a:pt x="11860" y="5492"/>
                </a:lnTo>
                <a:lnTo>
                  <a:pt x="11866" y="5488"/>
                </a:lnTo>
                <a:lnTo>
                  <a:pt x="11874" y="5482"/>
                </a:lnTo>
                <a:lnTo>
                  <a:pt x="11878" y="5480"/>
                </a:lnTo>
                <a:lnTo>
                  <a:pt x="11882" y="5480"/>
                </a:lnTo>
                <a:lnTo>
                  <a:pt x="11886" y="5478"/>
                </a:lnTo>
                <a:lnTo>
                  <a:pt x="11888" y="5476"/>
                </a:lnTo>
                <a:lnTo>
                  <a:pt x="11890" y="5472"/>
                </a:lnTo>
                <a:lnTo>
                  <a:pt x="11888" y="5468"/>
                </a:lnTo>
                <a:lnTo>
                  <a:pt x="11884" y="5460"/>
                </a:lnTo>
                <a:lnTo>
                  <a:pt x="11876" y="5452"/>
                </a:lnTo>
                <a:lnTo>
                  <a:pt x="11870" y="5448"/>
                </a:lnTo>
                <a:lnTo>
                  <a:pt x="11868" y="5446"/>
                </a:lnTo>
                <a:lnTo>
                  <a:pt x="11872" y="5444"/>
                </a:lnTo>
                <a:lnTo>
                  <a:pt x="11876" y="5444"/>
                </a:lnTo>
                <a:lnTo>
                  <a:pt x="11888" y="5440"/>
                </a:lnTo>
                <a:lnTo>
                  <a:pt x="11892" y="5438"/>
                </a:lnTo>
                <a:lnTo>
                  <a:pt x="11892" y="5434"/>
                </a:lnTo>
                <a:lnTo>
                  <a:pt x="11894" y="5430"/>
                </a:lnTo>
                <a:lnTo>
                  <a:pt x="11900" y="5428"/>
                </a:lnTo>
                <a:lnTo>
                  <a:pt x="11902" y="5426"/>
                </a:lnTo>
                <a:lnTo>
                  <a:pt x="11902" y="5422"/>
                </a:lnTo>
                <a:lnTo>
                  <a:pt x="11902" y="5416"/>
                </a:lnTo>
                <a:lnTo>
                  <a:pt x="11898" y="5404"/>
                </a:lnTo>
                <a:lnTo>
                  <a:pt x="11906" y="5412"/>
                </a:lnTo>
                <a:lnTo>
                  <a:pt x="11910" y="5416"/>
                </a:lnTo>
                <a:lnTo>
                  <a:pt x="11918" y="5418"/>
                </a:lnTo>
                <a:lnTo>
                  <a:pt x="11926" y="5416"/>
                </a:lnTo>
                <a:close/>
                <a:moveTo>
                  <a:pt x="10506" y="4964"/>
                </a:moveTo>
                <a:lnTo>
                  <a:pt x="10506" y="4964"/>
                </a:lnTo>
                <a:lnTo>
                  <a:pt x="10502" y="4972"/>
                </a:lnTo>
                <a:lnTo>
                  <a:pt x="10498" y="4980"/>
                </a:lnTo>
                <a:lnTo>
                  <a:pt x="10494" y="5000"/>
                </a:lnTo>
                <a:lnTo>
                  <a:pt x="10494" y="5010"/>
                </a:lnTo>
                <a:lnTo>
                  <a:pt x="10496" y="5020"/>
                </a:lnTo>
                <a:lnTo>
                  <a:pt x="10498" y="5026"/>
                </a:lnTo>
                <a:lnTo>
                  <a:pt x="10504" y="5030"/>
                </a:lnTo>
                <a:lnTo>
                  <a:pt x="10508" y="5032"/>
                </a:lnTo>
                <a:lnTo>
                  <a:pt x="10508" y="5036"/>
                </a:lnTo>
                <a:lnTo>
                  <a:pt x="10504" y="5044"/>
                </a:lnTo>
                <a:lnTo>
                  <a:pt x="10502" y="5048"/>
                </a:lnTo>
                <a:lnTo>
                  <a:pt x="10502" y="5052"/>
                </a:lnTo>
                <a:lnTo>
                  <a:pt x="10502" y="5058"/>
                </a:lnTo>
                <a:lnTo>
                  <a:pt x="10506" y="5064"/>
                </a:lnTo>
                <a:lnTo>
                  <a:pt x="10510" y="5068"/>
                </a:lnTo>
                <a:lnTo>
                  <a:pt x="10512" y="5072"/>
                </a:lnTo>
                <a:lnTo>
                  <a:pt x="10512" y="5074"/>
                </a:lnTo>
                <a:lnTo>
                  <a:pt x="10510" y="5076"/>
                </a:lnTo>
                <a:lnTo>
                  <a:pt x="10510" y="5078"/>
                </a:lnTo>
                <a:lnTo>
                  <a:pt x="10514" y="5082"/>
                </a:lnTo>
                <a:lnTo>
                  <a:pt x="10520" y="5084"/>
                </a:lnTo>
                <a:lnTo>
                  <a:pt x="10520" y="5088"/>
                </a:lnTo>
                <a:lnTo>
                  <a:pt x="10520" y="5090"/>
                </a:lnTo>
                <a:lnTo>
                  <a:pt x="10518" y="5092"/>
                </a:lnTo>
                <a:lnTo>
                  <a:pt x="10516" y="5098"/>
                </a:lnTo>
                <a:lnTo>
                  <a:pt x="10516" y="5100"/>
                </a:lnTo>
                <a:lnTo>
                  <a:pt x="10516" y="5102"/>
                </a:lnTo>
                <a:lnTo>
                  <a:pt x="10520" y="5104"/>
                </a:lnTo>
                <a:lnTo>
                  <a:pt x="10522" y="5102"/>
                </a:lnTo>
                <a:lnTo>
                  <a:pt x="10530" y="5098"/>
                </a:lnTo>
                <a:lnTo>
                  <a:pt x="10536" y="5096"/>
                </a:lnTo>
                <a:lnTo>
                  <a:pt x="10538" y="5098"/>
                </a:lnTo>
                <a:lnTo>
                  <a:pt x="10540" y="5102"/>
                </a:lnTo>
                <a:lnTo>
                  <a:pt x="10540" y="5106"/>
                </a:lnTo>
                <a:lnTo>
                  <a:pt x="10540" y="5110"/>
                </a:lnTo>
                <a:lnTo>
                  <a:pt x="10538" y="5118"/>
                </a:lnTo>
                <a:lnTo>
                  <a:pt x="10536" y="5126"/>
                </a:lnTo>
                <a:lnTo>
                  <a:pt x="10538" y="5132"/>
                </a:lnTo>
                <a:lnTo>
                  <a:pt x="10540" y="5140"/>
                </a:lnTo>
                <a:lnTo>
                  <a:pt x="10546" y="5158"/>
                </a:lnTo>
                <a:lnTo>
                  <a:pt x="10548" y="5170"/>
                </a:lnTo>
                <a:lnTo>
                  <a:pt x="10548" y="5178"/>
                </a:lnTo>
                <a:lnTo>
                  <a:pt x="10548" y="5184"/>
                </a:lnTo>
                <a:lnTo>
                  <a:pt x="10548" y="5186"/>
                </a:lnTo>
                <a:lnTo>
                  <a:pt x="10554" y="5186"/>
                </a:lnTo>
                <a:lnTo>
                  <a:pt x="10566" y="5188"/>
                </a:lnTo>
                <a:lnTo>
                  <a:pt x="10574" y="5190"/>
                </a:lnTo>
                <a:lnTo>
                  <a:pt x="10580" y="5190"/>
                </a:lnTo>
                <a:lnTo>
                  <a:pt x="10586" y="5186"/>
                </a:lnTo>
                <a:lnTo>
                  <a:pt x="10590" y="5182"/>
                </a:lnTo>
                <a:lnTo>
                  <a:pt x="10594" y="5180"/>
                </a:lnTo>
                <a:lnTo>
                  <a:pt x="10600" y="5180"/>
                </a:lnTo>
                <a:lnTo>
                  <a:pt x="10604" y="5182"/>
                </a:lnTo>
                <a:lnTo>
                  <a:pt x="10608" y="5186"/>
                </a:lnTo>
                <a:lnTo>
                  <a:pt x="10612" y="5190"/>
                </a:lnTo>
                <a:lnTo>
                  <a:pt x="10612" y="5196"/>
                </a:lnTo>
                <a:lnTo>
                  <a:pt x="10612" y="5202"/>
                </a:lnTo>
                <a:lnTo>
                  <a:pt x="10612" y="5210"/>
                </a:lnTo>
                <a:lnTo>
                  <a:pt x="10614" y="5212"/>
                </a:lnTo>
                <a:lnTo>
                  <a:pt x="10616" y="5212"/>
                </a:lnTo>
                <a:lnTo>
                  <a:pt x="10622" y="5208"/>
                </a:lnTo>
                <a:lnTo>
                  <a:pt x="10628" y="5204"/>
                </a:lnTo>
                <a:lnTo>
                  <a:pt x="10630" y="5202"/>
                </a:lnTo>
                <a:lnTo>
                  <a:pt x="10634" y="5202"/>
                </a:lnTo>
                <a:lnTo>
                  <a:pt x="10642" y="5204"/>
                </a:lnTo>
                <a:lnTo>
                  <a:pt x="10646" y="5204"/>
                </a:lnTo>
                <a:lnTo>
                  <a:pt x="10650" y="5204"/>
                </a:lnTo>
                <a:lnTo>
                  <a:pt x="10652" y="5202"/>
                </a:lnTo>
                <a:lnTo>
                  <a:pt x="10656" y="5196"/>
                </a:lnTo>
                <a:lnTo>
                  <a:pt x="10658" y="5192"/>
                </a:lnTo>
                <a:lnTo>
                  <a:pt x="10662" y="5190"/>
                </a:lnTo>
                <a:lnTo>
                  <a:pt x="10664" y="5190"/>
                </a:lnTo>
                <a:lnTo>
                  <a:pt x="10668" y="5192"/>
                </a:lnTo>
                <a:lnTo>
                  <a:pt x="10674" y="5196"/>
                </a:lnTo>
                <a:lnTo>
                  <a:pt x="10676" y="5198"/>
                </a:lnTo>
                <a:lnTo>
                  <a:pt x="10680" y="5198"/>
                </a:lnTo>
                <a:lnTo>
                  <a:pt x="10682" y="5198"/>
                </a:lnTo>
                <a:lnTo>
                  <a:pt x="10684" y="5198"/>
                </a:lnTo>
                <a:lnTo>
                  <a:pt x="10684" y="5204"/>
                </a:lnTo>
                <a:lnTo>
                  <a:pt x="10684" y="5206"/>
                </a:lnTo>
                <a:lnTo>
                  <a:pt x="10686" y="5208"/>
                </a:lnTo>
                <a:lnTo>
                  <a:pt x="10690" y="5208"/>
                </a:lnTo>
                <a:lnTo>
                  <a:pt x="10696" y="5206"/>
                </a:lnTo>
                <a:lnTo>
                  <a:pt x="10702" y="5204"/>
                </a:lnTo>
                <a:lnTo>
                  <a:pt x="10708" y="5204"/>
                </a:lnTo>
                <a:lnTo>
                  <a:pt x="10714" y="5206"/>
                </a:lnTo>
                <a:lnTo>
                  <a:pt x="10718" y="5210"/>
                </a:lnTo>
                <a:lnTo>
                  <a:pt x="10722" y="5216"/>
                </a:lnTo>
                <a:lnTo>
                  <a:pt x="10724" y="5222"/>
                </a:lnTo>
                <a:lnTo>
                  <a:pt x="10726" y="5228"/>
                </a:lnTo>
                <a:lnTo>
                  <a:pt x="10724" y="5236"/>
                </a:lnTo>
                <a:lnTo>
                  <a:pt x="10724" y="5240"/>
                </a:lnTo>
                <a:lnTo>
                  <a:pt x="10728" y="5242"/>
                </a:lnTo>
                <a:lnTo>
                  <a:pt x="10734" y="5240"/>
                </a:lnTo>
                <a:lnTo>
                  <a:pt x="10742" y="5236"/>
                </a:lnTo>
                <a:lnTo>
                  <a:pt x="10758" y="5226"/>
                </a:lnTo>
                <a:lnTo>
                  <a:pt x="10764" y="5222"/>
                </a:lnTo>
                <a:lnTo>
                  <a:pt x="10770" y="5220"/>
                </a:lnTo>
                <a:lnTo>
                  <a:pt x="10774" y="5220"/>
                </a:lnTo>
                <a:lnTo>
                  <a:pt x="10778" y="5216"/>
                </a:lnTo>
                <a:lnTo>
                  <a:pt x="10782" y="5208"/>
                </a:lnTo>
                <a:lnTo>
                  <a:pt x="10784" y="5196"/>
                </a:lnTo>
                <a:lnTo>
                  <a:pt x="10786" y="5186"/>
                </a:lnTo>
                <a:lnTo>
                  <a:pt x="10788" y="5182"/>
                </a:lnTo>
                <a:lnTo>
                  <a:pt x="10790" y="5180"/>
                </a:lnTo>
                <a:lnTo>
                  <a:pt x="10792" y="5178"/>
                </a:lnTo>
                <a:lnTo>
                  <a:pt x="10794" y="5170"/>
                </a:lnTo>
                <a:lnTo>
                  <a:pt x="10796" y="5164"/>
                </a:lnTo>
                <a:lnTo>
                  <a:pt x="10798" y="5162"/>
                </a:lnTo>
                <a:lnTo>
                  <a:pt x="10804" y="5160"/>
                </a:lnTo>
                <a:lnTo>
                  <a:pt x="10806" y="5158"/>
                </a:lnTo>
                <a:lnTo>
                  <a:pt x="10806" y="5154"/>
                </a:lnTo>
                <a:lnTo>
                  <a:pt x="10806" y="5150"/>
                </a:lnTo>
                <a:lnTo>
                  <a:pt x="10804" y="5140"/>
                </a:lnTo>
                <a:lnTo>
                  <a:pt x="10802" y="5132"/>
                </a:lnTo>
                <a:lnTo>
                  <a:pt x="10802" y="5124"/>
                </a:lnTo>
                <a:lnTo>
                  <a:pt x="10806" y="5118"/>
                </a:lnTo>
                <a:lnTo>
                  <a:pt x="10810" y="5112"/>
                </a:lnTo>
                <a:lnTo>
                  <a:pt x="10818" y="5102"/>
                </a:lnTo>
                <a:lnTo>
                  <a:pt x="10822" y="5098"/>
                </a:lnTo>
                <a:lnTo>
                  <a:pt x="10826" y="5092"/>
                </a:lnTo>
                <a:lnTo>
                  <a:pt x="10828" y="5088"/>
                </a:lnTo>
                <a:lnTo>
                  <a:pt x="10832" y="5084"/>
                </a:lnTo>
                <a:lnTo>
                  <a:pt x="10840" y="5082"/>
                </a:lnTo>
                <a:lnTo>
                  <a:pt x="10844" y="5080"/>
                </a:lnTo>
                <a:lnTo>
                  <a:pt x="10846" y="5076"/>
                </a:lnTo>
                <a:lnTo>
                  <a:pt x="10846" y="5070"/>
                </a:lnTo>
                <a:lnTo>
                  <a:pt x="10846" y="5062"/>
                </a:lnTo>
                <a:lnTo>
                  <a:pt x="10846" y="5040"/>
                </a:lnTo>
                <a:lnTo>
                  <a:pt x="10846" y="5020"/>
                </a:lnTo>
                <a:lnTo>
                  <a:pt x="10850" y="5008"/>
                </a:lnTo>
                <a:lnTo>
                  <a:pt x="10852" y="5002"/>
                </a:lnTo>
                <a:lnTo>
                  <a:pt x="10856" y="5000"/>
                </a:lnTo>
                <a:lnTo>
                  <a:pt x="10860" y="4996"/>
                </a:lnTo>
                <a:lnTo>
                  <a:pt x="10862" y="4992"/>
                </a:lnTo>
                <a:lnTo>
                  <a:pt x="10866" y="4992"/>
                </a:lnTo>
                <a:lnTo>
                  <a:pt x="10872" y="4996"/>
                </a:lnTo>
                <a:lnTo>
                  <a:pt x="10876" y="4998"/>
                </a:lnTo>
                <a:lnTo>
                  <a:pt x="10880" y="5000"/>
                </a:lnTo>
                <a:lnTo>
                  <a:pt x="10890" y="5002"/>
                </a:lnTo>
                <a:lnTo>
                  <a:pt x="10898" y="5000"/>
                </a:lnTo>
                <a:lnTo>
                  <a:pt x="10900" y="4998"/>
                </a:lnTo>
                <a:lnTo>
                  <a:pt x="10902" y="4996"/>
                </a:lnTo>
                <a:lnTo>
                  <a:pt x="10900" y="4992"/>
                </a:lnTo>
                <a:lnTo>
                  <a:pt x="10894" y="4986"/>
                </a:lnTo>
                <a:lnTo>
                  <a:pt x="10876" y="4968"/>
                </a:lnTo>
                <a:lnTo>
                  <a:pt x="10868" y="4960"/>
                </a:lnTo>
                <a:lnTo>
                  <a:pt x="10862" y="4952"/>
                </a:lnTo>
                <a:lnTo>
                  <a:pt x="10858" y="4944"/>
                </a:lnTo>
                <a:lnTo>
                  <a:pt x="10858" y="4940"/>
                </a:lnTo>
                <a:lnTo>
                  <a:pt x="10860" y="4938"/>
                </a:lnTo>
                <a:lnTo>
                  <a:pt x="10862" y="4934"/>
                </a:lnTo>
                <a:lnTo>
                  <a:pt x="10864" y="4930"/>
                </a:lnTo>
                <a:lnTo>
                  <a:pt x="10862" y="4926"/>
                </a:lnTo>
                <a:lnTo>
                  <a:pt x="10860" y="4922"/>
                </a:lnTo>
                <a:lnTo>
                  <a:pt x="10856" y="4914"/>
                </a:lnTo>
                <a:lnTo>
                  <a:pt x="10852" y="4908"/>
                </a:lnTo>
                <a:lnTo>
                  <a:pt x="10850" y="4902"/>
                </a:lnTo>
                <a:lnTo>
                  <a:pt x="10850" y="4896"/>
                </a:lnTo>
                <a:lnTo>
                  <a:pt x="10848" y="4892"/>
                </a:lnTo>
                <a:lnTo>
                  <a:pt x="10842" y="4890"/>
                </a:lnTo>
                <a:lnTo>
                  <a:pt x="10838" y="4886"/>
                </a:lnTo>
                <a:lnTo>
                  <a:pt x="10838" y="4882"/>
                </a:lnTo>
                <a:lnTo>
                  <a:pt x="10838" y="4878"/>
                </a:lnTo>
                <a:lnTo>
                  <a:pt x="10838" y="4872"/>
                </a:lnTo>
                <a:lnTo>
                  <a:pt x="10842" y="4868"/>
                </a:lnTo>
                <a:lnTo>
                  <a:pt x="10844" y="4866"/>
                </a:lnTo>
                <a:lnTo>
                  <a:pt x="10846" y="4864"/>
                </a:lnTo>
                <a:lnTo>
                  <a:pt x="10852" y="4866"/>
                </a:lnTo>
                <a:lnTo>
                  <a:pt x="10854" y="4866"/>
                </a:lnTo>
                <a:lnTo>
                  <a:pt x="10856" y="4864"/>
                </a:lnTo>
                <a:lnTo>
                  <a:pt x="10854" y="4860"/>
                </a:lnTo>
                <a:lnTo>
                  <a:pt x="10852" y="4856"/>
                </a:lnTo>
                <a:lnTo>
                  <a:pt x="10844" y="4848"/>
                </a:lnTo>
                <a:lnTo>
                  <a:pt x="10842" y="4842"/>
                </a:lnTo>
                <a:lnTo>
                  <a:pt x="10842" y="4840"/>
                </a:lnTo>
                <a:lnTo>
                  <a:pt x="10844" y="4840"/>
                </a:lnTo>
                <a:lnTo>
                  <a:pt x="10844" y="4838"/>
                </a:lnTo>
                <a:lnTo>
                  <a:pt x="10848" y="4836"/>
                </a:lnTo>
                <a:lnTo>
                  <a:pt x="10848" y="4834"/>
                </a:lnTo>
                <a:lnTo>
                  <a:pt x="10848" y="4830"/>
                </a:lnTo>
                <a:lnTo>
                  <a:pt x="10848" y="4826"/>
                </a:lnTo>
                <a:lnTo>
                  <a:pt x="10854" y="4832"/>
                </a:lnTo>
                <a:lnTo>
                  <a:pt x="10860" y="4834"/>
                </a:lnTo>
                <a:lnTo>
                  <a:pt x="10864" y="4834"/>
                </a:lnTo>
                <a:lnTo>
                  <a:pt x="10868" y="4832"/>
                </a:lnTo>
                <a:lnTo>
                  <a:pt x="10874" y="4830"/>
                </a:lnTo>
                <a:lnTo>
                  <a:pt x="10880" y="4830"/>
                </a:lnTo>
                <a:lnTo>
                  <a:pt x="10886" y="4828"/>
                </a:lnTo>
                <a:lnTo>
                  <a:pt x="10886" y="4826"/>
                </a:lnTo>
                <a:lnTo>
                  <a:pt x="10886" y="4824"/>
                </a:lnTo>
                <a:lnTo>
                  <a:pt x="10880" y="4816"/>
                </a:lnTo>
                <a:lnTo>
                  <a:pt x="10872" y="4810"/>
                </a:lnTo>
                <a:lnTo>
                  <a:pt x="10868" y="4806"/>
                </a:lnTo>
                <a:lnTo>
                  <a:pt x="10870" y="4802"/>
                </a:lnTo>
                <a:lnTo>
                  <a:pt x="10874" y="4798"/>
                </a:lnTo>
                <a:lnTo>
                  <a:pt x="10876" y="4796"/>
                </a:lnTo>
                <a:lnTo>
                  <a:pt x="10880" y="4798"/>
                </a:lnTo>
                <a:lnTo>
                  <a:pt x="10882" y="4800"/>
                </a:lnTo>
                <a:lnTo>
                  <a:pt x="10892" y="4798"/>
                </a:lnTo>
                <a:lnTo>
                  <a:pt x="10902" y="4796"/>
                </a:lnTo>
                <a:lnTo>
                  <a:pt x="10908" y="4792"/>
                </a:lnTo>
                <a:lnTo>
                  <a:pt x="10912" y="4786"/>
                </a:lnTo>
                <a:lnTo>
                  <a:pt x="10912" y="4780"/>
                </a:lnTo>
                <a:lnTo>
                  <a:pt x="10912" y="4776"/>
                </a:lnTo>
                <a:lnTo>
                  <a:pt x="10910" y="4776"/>
                </a:lnTo>
                <a:lnTo>
                  <a:pt x="10906" y="4776"/>
                </a:lnTo>
                <a:lnTo>
                  <a:pt x="10902" y="4776"/>
                </a:lnTo>
                <a:lnTo>
                  <a:pt x="10900" y="4776"/>
                </a:lnTo>
                <a:lnTo>
                  <a:pt x="10898" y="4774"/>
                </a:lnTo>
                <a:lnTo>
                  <a:pt x="10894" y="4772"/>
                </a:lnTo>
                <a:lnTo>
                  <a:pt x="10892" y="4770"/>
                </a:lnTo>
                <a:lnTo>
                  <a:pt x="10888" y="4768"/>
                </a:lnTo>
                <a:lnTo>
                  <a:pt x="10886" y="4766"/>
                </a:lnTo>
                <a:lnTo>
                  <a:pt x="10882" y="4760"/>
                </a:lnTo>
                <a:lnTo>
                  <a:pt x="10878" y="4758"/>
                </a:lnTo>
                <a:lnTo>
                  <a:pt x="10872" y="4758"/>
                </a:lnTo>
                <a:lnTo>
                  <a:pt x="10870" y="4760"/>
                </a:lnTo>
                <a:lnTo>
                  <a:pt x="10864" y="4764"/>
                </a:lnTo>
                <a:lnTo>
                  <a:pt x="10862" y="4764"/>
                </a:lnTo>
                <a:lnTo>
                  <a:pt x="10860" y="4762"/>
                </a:lnTo>
                <a:lnTo>
                  <a:pt x="10860" y="4758"/>
                </a:lnTo>
                <a:lnTo>
                  <a:pt x="10862" y="4758"/>
                </a:lnTo>
                <a:lnTo>
                  <a:pt x="10864" y="4756"/>
                </a:lnTo>
                <a:lnTo>
                  <a:pt x="10864" y="4750"/>
                </a:lnTo>
                <a:lnTo>
                  <a:pt x="10862" y="4748"/>
                </a:lnTo>
                <a:lnTo>
                  <a:pt x="10862" y="4746"/>
                </a:lnTo>
                <a:lnTo>
                  <a:pt x="10856" y="4748"/>
                </a:lnTo>
                <a:lnTo>
                  <a:pt x="10852" y="4750"/>
                </a:lnTo>
                <a:lnTo>
                  <a:pt x="10850" y="4750"/>
                </a:lnTo>
                <a:lnTo>
                  <a:pt x="10848" y="4748"/>
                </a:lnTo>
                <a:lnTo>
                  <a:pt x="10848" y="4740"/>
                </a:lnTo>
                <a:lnTo>
                  <a:pt x="10848" y="4734"/>
                </a:lnTo>
                <a:lnTo>
                  <a:pt x="10850" y="4728"/>
                </a:lnTo>
                <a:lnTo>
                  <a:pt x="10846" y="4722"/>
                </a:lnTo>
                <a:lnTo>
                  <a:pt x="10842" y="4718"/>
                </a:lnTo>
                <a:lnTo>
                  <a:pt x="10840" y="4720"/>
                </a:lnTo>
                <a:lnTo>
                  <a:pt x="10838" y="4720"/>
                </a:lnTo>
                <a:lnTo>
                  <a:pt x="10834" y="4718"/>
                </a:lnTo>
                <a:lnTo>
                  <a:pt x="10832" y="4710"/>
                </a:lnTo>
                <a:lnTo>
                  <a:pt x="10830" y="4702"/>
                </a:lnTo>
                <a:lnTo>
                  <a:pt x="10828" y="4700"/>
                </a:lnTo>
                <a:lnTo>
                  <a:pt x="10826" y="4700"/>
                </a:lnTo>
                <a:lnTo>
                  <a:pt x="10824" y="4704"/>
                </a:lnTo>
                <a:lnTo>
                  <a:pt x="10822" y="4708"/>
                </a:lnTo>
                <a:lnTo>
                  <a:pt x="10820" y="4714"/>
                </a:lnTo>
                <a:lnTo>
                  <a:pt x="10816" y="4720"/>
                </a:lnTo>
                <a:lnTo>
                  <a:pt x="10814" y="4720"/>
                </a:lnTo>
                <a:lnTo>
                  <a:pt x="10814" y="4712"/>
                </a:lnTo>
                <a:lnTo>
                  <a:pt x="10816" y="4702"/>
                </a:lnTo>
                <a:lnTo>
                  <a:pt x="10814" y="4700"/>
                </a:lnTo>
                <a:lnTo>
                  <a:pt x="10812" y="4698"/>
                </a:lnTo>
                <a:lnTo>
                  <a:pt x="10808" y="4700"/>
                </a:lnTo>
                <a:lnTo>
                  <a:pt x="10808" y="4706"/>
                </a:lnTo>
                <a:lnTo>
                  <a:pt x="10804" y="4714"/>
                </a:lnTo>
                <a:lnTo>
                  <a:pt x="10798" y="4726"/>
                </a:lnTo>
                <a:lnTo>
                  <a:pt x="10792" y="4736"/>
                </a:lnTo>
                <a:lnTo>
                  <a:pt x="10788" y="4740"/>
                </a:lnTo>
                <a:lnTo>
                  <a:pt x="10786" y="4742"/>
                </a:lnTo>
                <a:lnTo>
                  <a:pt x="10784" y="4748"/>
                </a:lnTo>
                <a:lnTo>
                  <a:pt x="10782" y="4754"/>
                </a:lnTo>
                <a:lnTo>
                  <a:pt x="10780" y="4758"/>
                </a:lnTo>
                <a:lnTo>
                  <a:pt x="10778" y="4760"/>
                </a:lnTo>
                <a:lnTo>
                  <a:pt x="10778" y="4762"/>
                </a:lnTo>
                <a:lnTo>
                  <a:pt x="10776" y="4768"/>
                </a:lnTo>
                <a:lnTo>
                  <a:pt x="10774" y="4772"/>
                </a:lnTo>
                <a:lnTo>
                  <a:pt x="10770" y="4772"/>
                </a:lnTo>
                <a:lnTo>
                  <a:pt x="10768" y="4772"/>
                </a:lnTo>
                <a:lnTo>
                  <a:pt x="10766" y="4770"/>
                </a:lnTo>
                <a:lnTo>
                  <a:pt x="10762" y="4772"/>
                </a:lnTo>
                <a:lnTo>
                  <a:pt x="10756" y="4780"/>
                </a:lnTo>
                <a:lnTo>
                  <a:pt x="10756" y="4782"/>
                </a:lnTo>
                <a:lnTo>
                  <a:pt x="10758" y="4782"/>
                </a:lnTo>
                <a:lnTo>
                  <a:pt x="10762" y="4786"/>
                </a:lnTo>
                <a:lnTo>
                  <a:pt x="10764" y="4790"/>
                </a:lnTo>
                <a:lnTo>
                  <a:pt x="10764" y="4794"/>
                </a:lnTo>
                <a:lnTo>
                  <a:pt x="10760" y="4798"/>
                </a:lnTo>
                <a:lnTo>
                  <a:pt x="10756" y="4800"/>
                </a:lnTo>
                <a:lnTo>
                  <a:pt x="10754" y="4800"/>
                </a:lnTo>
                <a:lnTo>
                  <a:pt x="10750" y="4800"/>
                </a:lnTo>
                <a:lnTo>
                  <a:pt x="10746" y="4804"/>
                </a:lnTo>
                <a:lnTo>
                  <a:pt x="10742" y="4806"/>
                </a:lnTo>
                <a:lnTo>
                  <a:pt x="10742" y="4802"/>
                </a:lnTo>
                <a:lnTo>
                  <a:pt x="10744" y="4796"/>
                </a:lnTo>
                <a:lnTo>
                  <a:pt x="10744" y="4794"/>
                </a:lnTo>
                <a:lnTo>
                  <a:pt x="10742" y="4794"/>
                </a:lnTo>
                <a:lnTo>
                  <a:pt x="10738" y="4796"/>
                </a:lnTo>
                <a:lnTo>
                  <a:pt x="10732" y="4802"/>
                </a:lnTo>
                <a:lnTo>
                  <a:pt x="10724" y="4808"/>
                </a:lnTo>
                <a:lnTo>
                  <a:pt x="10716" y="4814"/>
                </a:lnTo>
                <a:lnTo>
                  <a:pt x="10710" y="4816"/>
                </a:lnTo>
                <a:lnTo>
                  <a:pt x="10704" y="4818"/>
                </a:lnTo>
                <a:lnTo>
                  <a:pt x="10702" y="4816"/>
                </a:lnTo>
                <a:lnTo>
                  <a:pt x="10700" y="4818"/>
                </a:lnTo>
                <a:lnTo>
                  <a:pt x="10700" y="4828"/>
                </a:lnTo>
                <a:lnTo>
                  <a:pt x="10698" y="4834"/>
                </a:lnTo>
                <a:lnTo>
                  <a:pt x="10696" y="4840"/>
                </a:lnTo>
                <a:lnTo>
                  <a:pt x="10686" y="4850"/>
                </a:lnTo>
                <a:lnTo>
                  <a:pt x="10674" y="4864"/>
                </a:lnTo>
                <a:lnTo>
                  <a:pt x="10670" y="4872"/>
                </a:lnTo>
                <a:lnTo>
                  <a:pt x="10666" y="4882"/>
                </a:lnTo>
                <a:lnTo>
                  <a:pt x="10662" y="4888"/>
                </a:lnTo>
                <a:lnTo>
                  <a:pt x="10654" y="4892"/>
                </a:lnTo>
                <a:lnTo>
                  <a:pt x="10634" y="4896"/>
                </a:lnTo>
                <a:lnTo>
                  <a:pt x="10612" y="4900"/>
                </a:lnTo>
                <a:lnTo>
                  <a:pt x="10604" y="4902"/>
                </a:lnTo>
                <a:lnTo>
                  <a:pt x="10600" y="4906"/>
                </a:lnTo>
                <a:lnTo>
                  <a:pt x="10598" y="4910"/>
                </a:lnTo>
                <a:lnTo>
                  <a:pt x="10598" y="4914"/>
                </a:lnTo>
                <a:lnTo>
                  <a:pt x="10598" y="4922"/>
                </a:lnTo>
                <a:lnTo>
                  <a:pt x="10598" y="4928"/>
                </a:lnTo>
                <a:lnTo>
                  <a:pt x="10596" y="4928"/>
                </a:lnTo>
                <a:lnTo>
                  <a:pt x="10592" y="4926"/>
                </a:lnTo>
                <a:lnTo>
                  <a:pt x="10590" y="4924"/>
                </a:lnTo>
                <a:lnTo>
                  <a:pt x="10588" y="4924"/>
                </a:lnTo>
                <a:lnTo>
                  <a:pt x="10586" y="4928"/>
                </a:lnTo>
                <a:lnTo>
                  <a:pt x="10586" y="4932"/>
                </a:lnTo>
                <a:lnTo>
                  <a:pt x="10588" y="4936"/>
                </a:lnTo>
                <a:lnTo>
                  <a:pt x="10590" y="4938"/>
                </a:lnTo>
                <a:lnTo>
                  <a:pt x="10590" y="4940"/>
                </a:lnTo>
                <a:lnTo>
                  <a:pt x="10588" y="4942"/>
                </a:lnTo>
                <a:lnTo>
                  <a:pt x="10586" y="4948"/>
                </a:lnTo>
                <a:lnTo>
                  <a:pt x="10584" y="4956"/>
                </a:lnTo>
                <a:lnTo>
                  <a:pt x="10582" y="4960"/>
                </a:lnTo>
                <a:lnTo>
                  <a:pt x="10580" y="4962"/>
                </a:lnTo>
                <a:lnTo>
                  <a:pt x="10584" y="4968"/>
                </a:lnTo>
                <a:lnTo>
                  <a:pt x="10586" y="4972"/>
                </a:lnTo>
                <a:lnTo>
                  <a:pt x="10586" y="4974"/>
                </a:lnTo>
                <a:lnTo>
                  <a:pt x="10578" y="4968"/>
                </a:lnTo>
                <a:lnTo>
                  <a:pt x="10572" y="4966"/>
                </a:lnTo>
                <a:lnTo>
                  <a:pt x="10566" y="4964"/>
                </a:lnTo>
                <a:lnTo>
                  <a:pt x="10562" y="4964"/>
                </a:lnTo>
                <a:lnTo>
                  <a:pt x="10560" y="4962"/>
                </a:lnTo>
                <a:lnTo>
                  <a:pt x="10560" y="4960"/>
                </a:lnTo>
                <a:lnTo>
                  <a:pt x="10562" y="4956"/>
                </a:lnTo>
                <a:lnTo>
                  <a:pt x="10560" y="4956"/>
                </a:lnTo>
                <a:lnTo>
                  <a:pt x="10558" y="4956"/>
                </a:lnTo>
                <a:lnTo>
                  <a:pt x="10554" y="4954"/>
                </a:lnTo>
                <a:lnTo>
                  <a:pt x="10552" y="4952"/>
                </a:lnTo>
                <a:lnTo>
                  <a:pt x="10552" y="4954"/>
                </a:lnTo>
                <a:lnTo>
                  <a:pt x="10550" y="4956"/>
                </a:lnTo>
                <a:lnTo>
                  <a:pt x="10546" y="4958"/>
                </a:lnTo>
                <a:lnTo>
                  <a:pt x="10540" y="4958"/>
                </a:lnTo>
                <a:lnTo>
                  <a:pt x="10534" y="4954"/>
                </a:lnTo>
                <a:lnTo>
                  <a:pt x="10528" y="4950"/>
                </a:lnTo>
                <a:lnTo>
                  <a:pt x="10526" y="4942"/>
                </a:lnTo>
                <a:lnTo>
                  <a:pt x="10520" y="4942"/>
                </a:lnTo>
                <a:lnTo>
                  <a:pt x="10516" y="4944"/>
                </a:lnTo>
                <a:lnTo>
                  <a:pt x="10512" y="4950"/>
                </a:lnTo>
                <a:lnTo>
                  <a:pt x="10508" y="4958"/>
                </a:lnTo>
                <a:lnTo>
                  <a:pt x="10506" y="4964"/>
                </a:lnTo>
                <a:close/>
                <a:moveTo>
                  <a:pt x="12348" y="4304"/>
                </a:moveTo>
                <a:lnTo>
                  <a:pt x="12348" y="4304"/>
                </a:lnTo>
                <a:lnTo>
                  <a:pt x="12352" y="4306"/>
                </a:lnTo>
                <a:lnTo>
                  <a:pt x="12354" y="4306"/>
                </a:lnTo>
                <a:lnTo>
                  <a:pt x="12358" y="4302"/>
                </a:lnTo>
                <a:lnTo>
                  <a:pt x="12362" y="4296"/>
                </a:lnTo>
                <a:lnTo>
                  <a:pt x="12366" y="4294"/>
                </a:lnTo>
                <a:lnTo>
                  <a:pt x="12368" y="4292"/>
                </a:lnTo>
                <a:lnTo>
                  <a:pt x="12370" y="4290"/>
                </a:lnTo>
                <a:lnTo>
                  <a:pt x="12372" y="4282"/>
                </a:lnTo>
                <a:lnTo>
                  <a:pt x="12376" y="4274"/>
                </a:lnTo>
                <a:lnTo>
                  <a:pt x="12376" y="4272"/>
                </a:lnTo>
                <a:lnTo>
                  <a:pt x="12374" y="4270"/>
                </a:lnTo>
                <a:lnTo>
                  <a:pt x="12370" y="4270"/>
                </a:lnTo>
                <a:lnTo>
                  <a:pt x="12370" y="4268"/>
                </a:lnTo>
                <a:lnTo>
                  <a:pt x="12368" y="4266"/>
                </a:lnTo>
                <a:lnTo>
                  <a:pt x="12366" y="4264"/>
                </a:lnTo>
                <a:lnTo>
                  <a:pt x="12362" y="4264"/>
                </a:lnTo>
                <a:lnTo>
                  <a:pt x="12358" y="4264"/>
                </a:lnTo>
                <a:lnTo>
                  <a:pt x="12348" y="4268"/>
                </a:lnTo>
                <a:lnTo>
                  <a:pt x="12338" y="4276"/>
                </a:lnTo>
                <a:lnTo>
                  <a:pt x="12336" y="4280"/>
                </a:lnTo>
                <a:lnTo>
                  <a:pt x="12336" y="4282"/>
                </a:lnTo>
                <a:lnTo>
                  <a:pt x="12334" y="4288"/>
                </a:lnTo>
                <a:lnTo>
                  <a:pt x="12332" y="4294"/>
                </a:lnTo>
                <a:lnTo>
                  <a:pt x="12328" y="4298"/>
                </a:lnTo>
                <a:lnTo>
                  <a:pt x="12326" y="4304"/>
                </a:lnTo>
                <a:lnTo>
                  <a:pt x="12328" y="4306"/>
                </a:lnTo>
                <a:lnTo>
                  <a:pt x="12332" y="4304"/>
                </a:lnTo>
                <a:lnTo>
                  <a:pt x="12338" y="4302"/>
                </a:lnTo>
                <a:lnTo>
                  <a:pt x="12348" y="4304"/>
                </a:lnTo>
                <a:close/>
                <a:moveTo>
                  <a:pt x="10758" y="5378"/>
                </a:moveTo>
                <a:lnTo>
                  <a:pt x="10758" y="5378"/>
                </a:lnTo>
                <a:lnTo>
                  <a:pt x="10760" y="5376"/>
                </a:lnTo>
                <a:lnTo>
                  <a:pt x="10762" y="5378"/>
                </a:lnTo>
                <a:lnTo>
                  <a:pt x="10764" y="5378"/>
                </a:lnTo>
                <a:lnTo>
                  <a:pt x="10766" y="5376"/>
                </a:lnTo>
                <a:lnTo>
                  <a:pt x="10766" y="5374"/>
                </a:lnTo>
                <a:lnTo>
                  <a:pt x="10764" y="5372"/>
                </a:lnTo>
                <a:lnTo>
                  <a:pt x="10760" y="5372"/>
                </a:lnTo>
                <a:lnTo>
                  <a:pt x="10754" y="5372"/>
                </a:lnTo>
                <a:lnTo>
                  <a:pt x="10752" y="5374"/>
                </a:lnTo>
                <a:lnTo>
                  <a:pt x="10752" y="5376"/>
                </a:lnTo>
                <a:lnTo>
                  <a:pt x="10754" y="5378"/>
                </a:lnTo>
                <a:lnTo>
                  <a:pt x="10758" y="5378"/>
                </a:lnTo>
                <a:close/>
                <a:moveTo>
                  <a:pt x="10962" y="5352"/>
                </a:moveTo>
                <a:lnTo>
                  <a:pt x="10962" y="5352"/>
                </a:lnTo>
                <a:lnTo>
                  <a:pt x="10964" y="5354"/>
                </a:lnTo>
                <a:lnTo>
                  <a:pt x="10966" y="5344"/>
                </a:lnTo>
                <a:lnTo>
                  <a:pt x="10966" y="5332"/>
                </a:lnTo>
                <a:lnTo>
                  <a:pt x="10964" y="5322"/>
                </a:lnTo>
                <a:lnTo>
                  <a:pt x="10962" y="5322"/>
                </a:lnTo>
                <a:lnTo>
                  <a:pt x="10962" y="5330"/>
                </a:lnTo>
                <a:lnTo>
                  <a:pt x="10960" y="5340"/>
                </a:lnTo>
                <a:lnTo>
                  <a:pt x="10962" y="5352"/>
                </a:lnTo>
                <a:close/>
                <a:moveTo>
                  <a:pt x="11064" y="5452"/>
                </a:moveTo>
                <a:lnTo>
                  <a:pt x="11064" y="5452"/>
                </a:lnTo>
                <a:lnTo>
                  <a:pt x="11060" y="5454"/>
                </a:lnTo>
                <a:lnTo>
                  <a:pt x="11060" y="5456"/>
                </a:lnTo>
                <a:lnTo>
                  <a:pt x="11064" y="5456"/>
                </a:lnTo>
                <a:lnTo>
                  <a:pt x="11068" y="5454"/>
                </a:lnTo>
                <a:lnTo>
                  <a:pt x="11070" y="5452"/>
                </a:lnTo>
                <a:lnTo>
                  <a:pt x="11070" y="5450"/>
                </a:lnTo>
                <a:lnTo>
                  <a:pt x="11064" y="5452"/>
                </a:lnTo>
                <a:close/>
                <a:moveTo>
                  <a:pt x="11078" y="5444"/>
                </a:moveTo>
                <a:lnTo>
                  <a:pt x="11078" y="5444"/>
                </a:lnTo>
                <a:lnTo>
                  <a:pt x="11076" y="5440"/>
                </a:lnTo>
                <a:lnTo>
                  <a:pt x="11074" y="5440"/>
                </a:lnTo>
                <a:lnTo>
                  <a:pt x="11070" y="5440"/>
                </a:lnTo>
                <a:lnTo>
                  <a:pt x="11068" y="5444"/>
                </a:lnTo>
                <a:lnTo>
                  <a:pt x="11066" y="5446"/>
                </a:lnTo>
                <a:lnTo>
                  <a:pt x="11066" y="5448"/>
                </a:lnTo>
                <a:lnTo>
                  <a:pt x="11072" y="5448"/>
                </a:lnTo>
                <a:lnTo>
                  <a:pt x="11076" y="5448"/>
                </a:lnTo>
                <a:lnTo>
                  <a:pt x="11078" y="5444"/>
                </a:lnTo>
                <a:close/>
                <a:moveTo>
                  <a:pt x="11112" y="5442"/>
                </a:moveTo>
                <a:lnTo>
                  <a:pt x="11112" y="5442"/>
                </a:lnTo>
                <a:lnTo>
                  <a:pt x="11108" y="5446"/>
                </a:lnTo>
                <a:lnTo>
                  <a:pt x="11106" y="5444"/>
                </a:lnTo>
                <a:lnTo>
                  <a:pt x="11104" y="5444"/>
                </a:lnTo>
                <a:lnTo>
                  <a:pt x="11102" y="5446"/>
                </a:lnTo>
                <a:lnTo>
                  <a:pt x="11102" y="5450"/>
                </a:lnTo>
                <a:lnTo>
                  <a:pt x="11106" y="5454"/>
                </a:lnTo>
                <a:lnTo>
                  <a:pt x="11108" y="5454"/>
                </a:lnTo>
                <a:lnTo>
                  <a:pt x="11110" y="5454"/>
                </a:lnTo>
                <a:lnTo>
                  <a:pt x="11112" y="5452"/>
                </a:lnTo>
                <a:lnTo>
                  <a:pt x="11116" y="5444"/>
                </a:lnTo>
                <a:lnTo>
                  <a:pt x="11116" y="5440"/>
                </a:lnTo>
                <a:lnTo>
                  <a:pt x="11116" y="5438"/>
                </a:lnTo>
                <a:lnTo>
                  <a:pt x="11112" y="5442"/>
                </a:lnTo>
                <a:close/>
                <a:moveTo>
                  <a:pt x="11080" y="5560"/>
                </a:moveTo>
                <a:lnTo>
                  <a:pt x="11080" y="5560"/>
                </a:lnTo>
                <a:lnTo>
                  <a:pt x="11082" y="5556"/>
                </a:lnTo>
                <a:lnTo>
                  <a:pt x="11082" y="5552"/>
                </a:lnTo>
                <a:lnTo>
                  <a:pt x="11080" y="5550"/>
                </a:lnTo>
                <a:lnTo>
                  <a:pt x="11078" y="5550"/>
                </a:lnTo>
                <a:lnTo>
                  <a:pt x="11076" y="5550"/>
                </a:lnTo>
                <a:lnTo>
                  <a:pt x="11074" y="5554"/>
                </a:lnTo>
                <a:lnTo>
                  <a:pt x="11068" y="5560"/>
                </a:lnTo>
                <a:lnTo>
                  <a:pt x="11062" y="5562"/>
                </a:lnTo>
                <a:lnTo>
                  <a:pt x="11058" y="5564"/>
                </a:lnTo>
                <a:lnTo>
                  <a:pt x="11056" y="5570"/>
                </a:lnTo>
                <a:lnTo>
                  <a:pt x="11056" y="5572"/>
                </a:lnTo>
                <a:lnTo>
                  <a:pt x="11058" y="5572"/>
                </a:lnTo>
                <a:lnTo>
                  <a:pt x="11066" y="5570"/>
                </a:lnTo>
                <a:lnTo>
                  <a:pt x="11080" y="5560"/>
                </a:lnTo>
                <a:close/>
                <a:moveTo>
                  <a:pt x="11070" y="5096"/>
                </a:moveTo>
                <a:lnTo>
                  <a:pt x="11070" y="5096"/>
                </a:lnTo>
                <a:lnTo>
                  <a:pt x="11064" y="5096"/>
                </a:lnTo>
                <a:lnTo>
                  <a:pt x="11060" y="5098"/>
                </a:lnTo>
                <a:lnTo>
                  <a:pt x="11058" y="5106"/>
                </a:lnTo>
                <a:lnTo>
                  <a:pt x="11060" y="5116"/>
                </a:lnTo>
                <a:lnTo>
                  <a:pt x="11062" y="5114"/>
                </a:lnTo>
                <a:lnTo>
                  <a:pt x="11068" y="5108"/>
                </a:lnTo>
                <a:lnTo>
                  <a:pt x="11072" y="5100"/>
                </a:lnTo>
                <a:lnTo>
                  <a:pt x="11072" y="5096"/>
                </a:lnTo>
                <a:lnTo>
                  <a:pt x="11070" y="5096"/>
                </a:lnTo>
                <a:close/>
                <a:moveTo>
                  <a:pt x="11084" y="5112"/>
                </a:moveTo>
                <a:lnTo>
                  <a:pt x="11084" y="5112"/>
                </a:lnTo>
                <a:lnTo>
                  <a:pt x="11086" y="5108"/>
                </a:lnTo>
                <a:lnTo>
                  <a:pt x="11088" y="5104"/>
                </a:lnTo>
                <a:lnTo>
                  <a:pt x="11086" y="5100"/>
                </a:lnTo>
                <a:lnTo>
                  <a:pt x="11080" y="5100"/>
                </a:lnTo>
                <a:lnTo>
                  <a:pt x="11078" y="5102"/>
                </a:lnTo>
                <a:lnTo>
                  <a:pt x="11078" y="5104"/>
                </a:lnTo>
                <a:lnTo>
                  <a:pt x="11078" y="5108"/>
                </a:lnTo>
                <a:lnTo>
                  <a:pt x="11080" y="5112"/>
                </a:lnTo>
                <a:lnTo>
                  <a:pt x="11082" y="5112"/>
                </a:lnTo>
                <a:lnTo>
                  <a:pt x="11084" y="5112"/>
                </a:lnTo>
                <a:close/>
                <a:moveTo>
                  <a:pt x="10794" y="5226"/>
                </a:moveTo>
                <a:lnTo>
                  <a:pt x="10794" y="5226"/>
                </a:lnTo>
                <a:lnTo>
                  <a:pt x="10796" y="5216"/>
                </a:lnTo>
                <a:lnTo>
                  <a:pt x="10794" y="5206"/>
                </a:lnTo>
                <a:lnTo>
                  <a:pt x="10792" y="5200"/>
                </a:lnTo>
                <a:lnTo>
                  <a:pt x="10790" y="5200"/>
                </a:lnTo>
                <a:lnTo>
                  <a:pt x="10788" y="5202"/>
                </a:lnTo>
                <a:lnTo>
                  <a:pt x="10786" y="5210"/>
                </a:lnTo>
                <a:lnTo>
                  <a:pt x="10786" y="5216"/>
                </a:lnTo>
                <a:lnTo>
                  <a:pt x="10786" y="5224"/>
                </a:lnTo>
                <a:lnTo>
                  <a:pt x="10784" y="5236"/>
                </a:lnTo>
                <a:lnTo>
                  <a:pt x="10784" y="5238"/>
                </a:lnTo>
                <a:lnTo>
                  <a:pt x="10788" y="5238"/>
                </a:lnTo>
                <a:lnTo>
                  <a:pt x="10790" y="5234"/>
                </a:lnTo>
                <a:lnTo>
                  <a:pt x="10794" y="5226"/>
                </a:lnTo>
                <a:close/>
                <a:moveTo>
                  <a:pt x="10466" y="4862"/>
                </a:moveTo>
                <a:lnTo>
                  <a:pt x="10466" y="4862"/>
                </a:lnTo>
                <a:lnTo>
                  <a:pt x="10470" y="4862"/>
                </a:lnTo>
                <a:lnTo>
                  <a:pt x="10472" y="4860"/>
                </a:lnTo>
                <a:lnTo>
                  <a:pt x="10474" y="4850"/>
                </a:lnTo>
                <a:lnTo>
                  <a:pt x="10472" y="4840"/>
                </a:lnTo>
                <a:lnTo>
                  <a:pt x="10470" y="4834"/>
                </a:lnTo>
                <a:lnTo>
                  <a:pt x="10466" y="4834"/>
                </a:lnTo>
                <a:lnTo>
                  <a:pt x="10462" y="4840"/>
                </a:lnTo>
                <a:lnTo>
                  <a:pt x="10460" y="4846"/>
                </a:lnTo>
                <a:lnTo>
                  <a:pt x="10460" y="4848"/>
                </a:lnTo>
                <a:lnTo>
                  <a:pt x="10462" y="4852"/>
                </a:lnTo>
                <a:lnTo>
                  <a:pt x="10466" y="4854"/>
                </a:lnTo>
                <a:lnTo>
                  <a:pt x="10464" y="4858"/>
                </a:lnTo>
                <a:lnTo>
                  <a:pt x="10462" y="4860"/>
                </a:lnTo>
                <a:lnTo>
                  <a:pt x="10466" y="4862"/>
                </a:lnTo>
                <a:close/>
                <a:moveTo>
                  <a:pt x="10118" y="5140"/>
                </a:moveTo>
                <a:lnTo>
                  <a:pt x="10118" y="5140"/>
                </a:lnTo>
                <a:lnTo>
                  <a:pt x="10118" y="5144"/>
                </a:lnTo>
                <a:lnTo>
                  <a:pt x="10118" y="5146"/>
                </a:lnTo>
                <a:lnTo>
                  <a:pt x="10122" y="5152"/>
                </a:lnTo>
                <a:lnTo>
                  <a:pt x="10128" y="5156"/>
                </a:lnTo>
                <a:lnTo>
                  <a:pt x="10130" y="5156"/>
                </a:lnTo>
                <a:lnTo>
                  <a:pt x="10132" y="5154"/>
                </a:lnTo>
                <a:lnTo>
                  <a:pt x="10132" y="5152"/>
                </a:lnTo>
                <a:lnTo>
                  <a:pt x="10132" y="5148"/>
                </a:lnTo>
                <a:lnTo>
                  <a:pt x="10130" y="5142"/>
                </a:lnTo>
                <a:lnTo>
                  <a:pt x="10124" y="5138"/>
                </a:lnTo>
                <a:lnTo>
                  <a:pt x="10122" y="5140"/>
                </a:lnTo>
                <a:lnTo>
                  <a:pt x="10118" y="5140"/>
                </a:lnTo>
                <a:close/>
                <a:moveTo>
                  <a:pt x="10136" y="5164"/>
                </a:moveTo>
                <a:lnTo>
                  <a:pt x="10136" y="5164"/>
                </a:lnTo>
                <a:lnTo>
                  <a:pt x="10134" y="5168"/>
                </a:lnTo>
                <a:lnTo>
                  <a:pt x="10134" y="5172"/>
                </a:lnTo>
                <a:lnTo>
                  <a:pt x="10136" y="5176"/>
                </a:lnTo>
                <a:lnTo>
                  <a:pt x="10140" y="5176"/>
                </a:lnTo>
                <a:lnTo>
                  <a:pt x="10142" y="5178"/>
                </a:lnTo>
                <a:lnTo>
                  <a:pt x="10144" y="5180"/>
                </a:lnTo>
                <a:lnTo>
                  <a:pt x="10148" y="5188"/>
                </a:lnTo>
                <a:lnTo>
                  <a:pt x="10150" y="5196"/>
                </a:lnTo>
                <a:lnTo>
                  <a:pt x="10152" y="5196"/>
                </a:lnTo>
                <a:lnTo>
                  <a:pt x="10154" y="5194"/>
                </a:lnTo>
                <a:lnTo>
                  <a:pt x="10154" y="5190"/>
                </a:lnTo>
                <a:lnTo>
                  <a:pt x="10154" y="5184"/>
                </a:lnTo>
                <a:lnTo>
                  <a:pt x="10148" y="5172"/>
                </a:lnTo>
                <a:lnTo>
                  <a:pt x="10142" y="5164"/>
                </a:lnTo>
                <a:lnTo>
                  <a:pt x="10138" y="5162"/>
                </a:lnTo>
                <a:lnTo>
                  <a:pt x="10136" y="5164"/>
                </a:lnTo>
                <a:close/>
                <a:moveTo>
                  <a:pt x="10316" y="5070"/>
                </a:moveTo>
                <a:lnTo>
                  <a:pt x="10316" y="5070"/>
                </a:lnTo>
                <a:lnTo>
                  <a:pt x="10320" y="5066"/>
                </a:lnTo>
                <a:lnTo>
                  <a:pt x="10322" y="5062"/>
                </a:lnTo>
                <a:lnTo>
                  <a:pt x="10322" y="5058"/>
                </a:lnTo>
                <a:lnTo>
                  <a:pt x="10320" y="5056"/>
                </a:lnTo>
                <a:lnTo>
                  <a:pt x="10318" y="5056"/>
                </a:lnTo>
                <a:lnTo>
                  <a:pt x="10314" y="5056"/>
                </a:lnTo>
                <a:lnTo>
                  <a:pt x="10312" y="5058"/>
                </a:lnTo>
                <a:lnTo>
                  <a:pt x="10308" y="5066"/>
                </a:lnTo>
                <a:lnTo>
                  <a:pt x="10308" y="5068"/>
                </a:lnTo>
                <a:lnTo>
                  <a:pt x="10310" y="5070"/>
                </a:lnTo>
                <a:lnTo>
                  <a:pt x="10312" y="5072"/>
                </a:lnTo>
                <a:lnTo>
                  <a:pt x="10316" y="5070"/>
                </a:lnTo>
                <a:close/>
                <a:moveTo>
                  <a:pt x="10338" y="5052"/>
                </a:moveTo>
                <a:lnTo>
                  <a:pt x="10338" y="5052"/>
                </a:lnTo>
                <a:lnTo>
                  <a:pt x="10332" y="5048"/>
                </a:lnTo>
                <a:lnTo>
                  <a:pt x="10322" y="5038"/>
                </a:lnTo>
                <a:lnTo>
                  <a:pt x="10318" y="5036"/>
                </a:lnTo>
                <a:lnTo>
                  <a:pt x="10316" y="5036"/>
                </a:lnTo>
                <a:lnTo>
                  <a:pt x="10318" y="5046"/>
                </a:lnTo>
                <a:lnTo>
                  <a:pt x="10318" y="5048"/>
                </a:lnTo>
                <a:lnTo>
                  <a:pt x="10320" y="5050"/>
                </a:lnTo>
                <a:lnTo>
                  <a:pt x="10328" y="5052"/>
                </a:lnTo>
                <a:lnTo>
                  <a:pt x="10334" y="5054"/>
                </a:lnTo>
                <a:lnTo>
                  <a:pt x="10338" y="5052"/>
                </a:lnTo>
                <a:close/>
                <a:moveTo>
                  <a:pt x="10204" y="4934"/>
                </a:moveTo>
                <a:lnTo>
                  <a:pt x="10204" y="4934"/>
                </a:lnTo>
                <a:lnTo>
                  <a:pt x="10202" y="4934"/>
                </a:lnTo>
                <a:lnTo>
                  <a:pt x="10198" y="4936"/>
                </a:lnTo>
                <a:lnTo>
                  <a:pt x="10196" y="4940"/>
                </a:lnTo>
                <a:lnTo>
                  <a:pt x="10194" y="4946"/>
                </a:lnTo>
                <a:lnTo>
                  <a:pt x="10196" y="4948"/>
                </a:lnTo>
                <a:lnTo>
                  <a:pt x="10198" y="4950"/>
                </a:lnTo>
                <a:lnTo>
                  <a:pt x="10200" y="4952"/>
                </a:lnTo>
                <a:lnTo>
                  <a:pt x="10202" y="4950"/>
                </a:lnTo>
                <a:lnTo>
                  <a:pt x="10206" y="4946"/>
                </a:lnTo>
                <a:lnTo>
                  <a:pt x="10208" y="4938"/>
                </a:lnTo>
                <a:lnTo>
                  <a:pt x="10206" y="4936"/>
                </a:lnTo>
                <a:lnTo>
                  <a:pt x="10204" y="4934"/>
                </a:lnTo>
                <a:close/>
                <a:moveTo>
                  <a:pt x="10274" y="4996"/>
                </a:moveTo>
                <a:lnTo>
                  <a:pt x="10274" y="4996"/>
                </a:lnTo>
                <a:lnTo>
                  <a:pt x="10272" y="4998"/>
                </a:lnTo>
                <a:lnTo>
                  <a:pt x="10272" y="5002"/>
                </a:lnTo>
                <a:lnTo>
                  <a:pt x="10274" y="5004"/>
                </a:lnTo>
                <a:lnTo>
                  <a:pt x="10278" y="5006"/>
                </a:lnTo>
                <a:lnTo>
                  <a:pt x="10280" y="5004"/>
                </a:lnTo>
                <a:lnTo>
                  <a:pt x="10280" y="5000"/>
                </a:lnTo>
                <a:lnTo>
                  <a:pt x="10276" y="4998"/>
                </a:lnTo>
                <a:lnTo>
                  <a:pt x="10274" y="4996"/>
                </a:lnTo>
                <a:close/>
                <a:moveTo>
                  <a:pt x="10218" y="4960"/>
                </a:moveTo>
                <a:lnTo>
                  <a:pt x="10218" y="4960"/>
                </a:lnTo>
                <a:lnTo>
                  <a:pt x="10220" y="4962"/>
                </a:lnTo>
                <a:lnTo>
                  <a:pt x="10222" y="4964"/>
                </a:lnTo>
                <a:lnTo>
                  <a:pt x="10230" y="4970"/>
                </a:lnTo>
                <a:lnTo>
                  <a:pt x="10236" y="4974"/>
                </a:lnTo>
                <a:lnTo>
                  <a:pt x="10238" y="4972"/>
                </a:lnTo>
                <a:lnTo>
                  <a:pt x="10238" y="4970"/>
                </a:lnTo>
                <a:lnTo>
                  <a:pt x="10238" y="4966"/>
                </a:lnTo>
                <a:lnTo>
                  <a:pt x="10236" y="4964"/>
                </a:lnTo>
                <a:lnTo>
                  <a:pt x="10228" y="4960"/>
                </a:lnTo>
                <a:lnTo>
                  <a:pt x="10222" y="4958"/>
                </a:lnTo>
                <a:lnTo>
                  <a:pt x="10220" y="4958"/>
                </a:lnTo>
                <a:lnTo>
                  <a:pt x="10218" y="4960"/>
                </a:lnTo>
                <a:close/>
                <a:moveTo>
                  <a:pt x="10232" y="4974"/>
                </a:moveTo>
                <a:lnTo>
                  <a:pt x="10232" y="4974"/>
                </a:lnTo>
                <a:lnTo>
                  <a:pt x="10230" y="4972"/>
                </a:lnTo>
                <a:lnTo>
                  <a:pt x="10228" y="4972"/>
                </a:lnTo>
                <a:lnTo>
                  <a:pt x="10226" y="4974"/>
                </a:lnTo>
                <a:lnTo>
                  <a:pt x="10226" y="4976"/>
                </a:lnTo>
                <a:lnTo>
                  <a:pt x="10230" y="4984"/>
                </a:lnTo>
                <a:lnTo>
                  <a:pt x="10232" y="4990"/>
                </a:lnTo>
                <a:lnTo>
                  <a:pt x="10234" y="4992"/>
                </a:lnTo>
                <a:lnTo>
                  <a:pt x="10236" y="4992"/>
                </a:lnTo>
                <a:lnTo>
                  <a:pt x="10236" y="4986"/>
                </a:lnTo>
                <a:lnTo>
                  <a:pt x="10236" y="4980"/>
                </a:lnTo>
                <a:lnTo>
                  <a:pt x="10234" y="4976"/>
                </a:lnTo>
                <a:lnTo>
                  <a:pt x="10232" y="4974"/>
                </a:lnTo>
                <a:close/>
                <a:moveTo>
                  <a:pt x="10242" y="4986"/>
                </a:moveTo>
                <a:lnTo>
                  <a:pt x="10242" y="4986"/>
                </a:lnTo>
                <a:lnTo>
                  <a:pt x="10240" y="4984"/>
                </a:lnTo>
                <a:lnTo>
                  <a:pt x="10238" y="4992"/>
                </a:lnTo>
                <a:lnTo>
                  <a:pt x="10236" y="4996"/>
                </a:lnTo>
                <a:lnTo>
                  <a:pt x="10238" y="4998"/>
                </a:lnTo>
                <a:lnTo>
                  <a:pt x="10240" y="5000"/>
                </a:lnTo>
                <a:lnTo>
                  <a:pt x="10246" y="5000"/>
                </a:lnTo>
                <a:lnTo>
                  <a:pt x="10254" y="5002"/>
                </a:lnTo>
                <a:lnTo>
                  <a:pt x="10258" y="5004"/>
                </a:lnTo>
                <a:lnTo>
                  <a:pt x="10262" y="5004"/>
                </a:lnTo>
                <a:lnTo>
                  <a:pt x="10262" y="5000"/>
                </a:lnTo>
                <a:lnTo>
                  <a:pt x="10260" y="4998"/>
                </a:lnTo>
                <a:lnTo>
                  <a:pt x="10258" y="4996"/>
                </a:lnTo>
                <a:lnTo>
                  <a:pt x="10252" y="4992"/>
                </a:lnTo>
                <a:lnTo>
                  <a:pt x="10246" y="4990"/>
                </a:lnTo>
                <a:lnTo>
                  <a:pt x="10242" y="4986"/>
                </a:lnTo>
                <a:close/>
                <a:moveTo>
                  <a:pt x="10264" y="4990"/>
                </a:moveTo>
                <a:lnTo>
                  <a:pt x="10264" y="4990"/>
                </a:lnTo>
                <a:lnTo>
                  <a:pt x="10260" y="4986"/>
                </a:lnTo>
                <a:lnTo>
                  <a:pt x="10254" y="4982"/>
                </a:lnTo>
                <a:lnTo>
                  <a:pt x="10248" y="4982"/>
                </a:lnTo>
                <a:lnTo>
                  <a:pt x="10246" y="4982"/>
                </a:lnTo>
                <a:lnTo>
                  <a:pt x="10246" y="4984"/>
                </a:lnTo>
                <a:lnTo>
                  <a:pt x="10246" y="4988"/>
                </a:lnTo>
                <a:lnTo>
                  <a:pt x="10252" y="4990"/>
                </a:lnTo>
                <a:lnTo>
                  <a:pt x="10260" y="4994"/>
                </a:lnTo>
                <a:lnTo>
                  <a:pt x="10262" y="4994"/>
                </a:lnTo>
                <a:lnTo>
                  <a:pt x="10264" y="4990"/>
                </a:lnTo>
                <a:close/>
                <a:moveTo>
                  <a:pt x="10266" y="5004"/>
                </a:moveTo>
                <a:lnTo>
                  <a:pt x="10266" y="5004"/>
                </a:lnTo>
                <a:lnTo>
                  <a:pt x="10264" y="5006"/>
                </a:lnTo>
                <a:lnTo>
                  <a:pt x="10264" y="5008"/>
                </a:lnTo>
                <a:lnTo>
                  <a:pt x="10264" y="5012"/>
                </a:lnTo>
                <a:lnTo>
                  <a:pt x="10268" y="5014"/>
                </a:lnTo>
                <a:lnTo>
                  <a:pt x="10270" y="5012"/>
                </a:lnTo>
                <a:lnTo>
                  <a:pt x="10270" y="5010"/>
                </a:lnTo>
                <a:lnTo>
                  <a:pt x="10268" y="5006"/>
                </a:lnTo>
                <a:lnTo>
                  <a:pt x="10266" y="5004"/>
                </a:lnTo>
                <a:close/>
                <a:moveTo>
                  <a:pt x="11334" y="5430"/>
                </a:moveTo>
                <a:lnTo>
                  <a:pt x="11334" y="5430"/>
                </a:lnTo>
                <a:lnTo>
                  <a:pt x="11336" y="5430"/>
                </a:lnTo>
                <a:lnTo>
                  <a:pt x="11338" y="5430"/>
                </a:lnTo>
                <a:lnTo>
                  <a:pt x="11340" y="5426"/>
                </a:lnTo>
                <a:lnTo>
                  <a:pt x="11340" y="5422"/>
                </a:lnTo>
                <a:lnTo>
                  <a:pt x="11336" y="5418"/>
                </a:lnTo>
                <a:lnTo>
                  <a:pt x="11332" y="5418"/>
                </a:lnTo>
                <a:lnTo>
                  <a:pt x="11330" y="5418"/>
                </a:lnTo>
                <a:lnTo>
                  <a:pt x="11328" y="5420"/>
                </a:lnTo>
                <a:lnTo>
                  <a:pt x="11330" y="5424"/>
                </a:lnTo>
                <a:lnTo>
                  <a:pt x="11334" y="5430"/>
                </a:lnTo>
                <a:close/>
                <a:moveTo>
                  <a:pt x="11454" y="5328"/>
                </a:moveTo>
                <a:lnTo>
                  <a:pt x="11454" y="5328"/>
                </a:lnTo>
                <a:lnTo>
                  <a:pt x="11456" y="5330"/>
                </a:lnTo>
                <a:lnTo>
                  <a:pt x="11458" y="5328"/>
                </a:lnTo>
                <a:lnTo>
                  <a:pt x="11460" y="5326"/>
                </a:lnTo>
                <a:lnTo>
                  <a:pt x="11460" y="5322"/>
                </a:lnTo>
                <a:lnTo>
                  <a:pt x="11458" y="5316"/>
                </a:lnTo>
                <a:lnTo>
                  <a:pt x="11454" y="5314"/>
                </a:lnTo>
                <a:lnTo>
                  <a:pt x="11452" y="5316"/>
                </a:lnTo>
                <a:lnTo>
                  <a:pt x="11454" y="5328"/>
                </a:lnTo>
                <a:close/>
                <a:moveTo>
                  <a:pt x="11464" y="5332"/>
                </a:moveTo>
                <a:lnTo>
                  <a:pt x="11464" y="5332"/>
                </a:lnTo>
                <a:lnTo>
                  <a:pt x="11470" y="5316"/>
                </a:lnTo>
                <a:lnTo>
                  <a:pt x="11476" y="5304"/>
                </a:lnTo>
                <a:lnTo>
                  <a:pt x="11476" y="5296"/>
                </a:lnTo>
                <a:lnTo>
                  <a:pt x="11476" y="5294"/>
                </a:lnTo>
                <a:lnTo>
                  <a:pt x="11474" y="5296"/>
                </a:lnTo>
                <a:lnTo>
                  <a:pt x="11468" y="5304"/>
                </a:lnTo>
                <a:lnTo>
                  <a:pt x="11464" y="5316"/>
                </a:lnTo>
                <a:lnTo>
                  <a:pt x="11464" y="5332"/>
                </a:lnTo>
                <a:close/>
                <a:moveTo>
                  <a:pt x="11260" y="5438"/>
                </a:moveTo>
                <a:lnTo>
                  <a:pt x="11260" y="5438"/>
                </a:lnTo>
                <a:lnTo>
                  <a:pt x="11264" y="5442"/>
                </a:lnTo>
                <a:lnTo>
                  <a:pt x="11268" y="5440"/>
                </a:lnTo>
                <a:lnTo>
                  <a:pt x="11268" y="5438"/>
                </a:lnTo>
                <a:lnTo>
                  <a:pt x="11266" y="5436"/>
                </a:lnTo>
                <a:lnTo>
                  <a:pt x="11262" y="5434"/>
                </a:lnTo>
                <a:lnTo>
                  <a:pt x="11258" y="5434"/>
                </a:lnTo>
                <a:lnTo>
                  <a:pt x="11258" y="5436"/>
                </a:lnTo>
                <a:lnTo>
                  <a:pt x="11260" y="5438"/>
                </a:lnTo>
                <a:close/>
                <a:moveTo>
                  <a:pt x="11524" y="5346"/>
                </a:moveTo>
                <a:lnTo>
                  <a:pt x="11524" y="5346"/>
                </a:lnTo>
                <a:lnTo>
                  <a:pt x="11518" y="5342"/>
                </a:lnTo>
                <a:lnTo>
                  <a:pt x="11516" y="5338"/>
                </a:lnTo>
                <a:lnTo>
                  <a:pt x="11516" y="5334"/>
                </a:lnTo>
                <a:lnTo>
                  <a:pt x="11514" y="5336"/>
                </a:lnTo>
                <a:lnTo>
                  <a:pt x="11514" y="5340"/>
                </a:lnTo>
                <a:lnTo>
                  <a:pt x="11516" y="5344"/>
                </a:lnTo>
                <a:lnTo>
                  <a:pt x="11522" y="5348"/>
                </a:lnTo>
                <a:lnTo>
                  <a:pt x="11528" y="5356"/>
                </a:lnTo>
                <a:lnTo>
                  <a:pt x="11530" y="5354"/>
                </a:lnTo>
                <a:lnTo>
                  <a:pt x="11528" y="5350"/>
                </a:lnTo>
                <a:lnTo>
                  <a:pt x="11524" y="5346"/>
                </a:lnTo>
                <a:close/>
                <a:moveTo>
                  <a:pt x="11702" y="5450"/>
                </a:moveTo>
                <a:lnTo>
                  <a:pt x="11702" y="5450"/>
                </a:lnTo>
                <a:lnTo>
                  <a:pt x="11706" y="5448"/>
                </a:lnTo>
                <a:lnTo>
                  <a:pt x="11706" y="5446"/>
                </a:lnTo>
                <a:lnTo>
                  <a:pt x="11704" y="5442"/>
                </a:lnTo>
                <a:lnTo>
                  <a:pt x="11702" y="5438"/>
                </a:lnTo>
                <a:lnTo>
                  <a:pt x="11702" y="5436"/>
                </a:lnTo>
                <a:lnTo>
                  <a:pt x="11700" y="5436"/>
                </a:lnTo>
                <a:lnTo>
                  <a:pt x="11698" y="5440"/>
                </a:lnTo>
                <a:lnTo>
                  <a:pt x="11694" y="5442"/>
                </a:lnTo>
                <a:lnTo>
                  <a:pt x="11694" y="5446"/>
                </a:lnTo>
                <a:lnTo>
                  <a:pt x="11696" y="5448"/>
                </a:lnTo>
                <a:lnTo>
                  <a:pt x="11702" y="5450"/>
                </a:lnTo>
                <a:close/>
                <a:moveTo>
                  <a:pt x="11672" y="5114"/>
                </a:moveTo>
                <a:lnTo>
                  <a:pt x="11672" y="5114"/>
                </a:lnTo>
                <a:lnTo>
                  <a:pt x="11666" y="5112"/>
                </a:lnTo>
                <a:lnTo>
                  <a:pt x="11658" y="5112"/>
                </a:lnTo>
                <a:lnTo>
                  <a:pt x="11652" y="5114"/>
                </a:lnTo>
                <a:lnTo>
                  <a:pt x="11646" y="5116"/>
                </a:lnTo>
                <a:lnTo>
                  <a:pt x="11642" y="5120"/>
                </a:lnTo>
                <a:lnTo>
                  <a:pt x="11638" y="5124"/>
                </a:lnTo>
                <a:lnTo>
                  <a:pt x="11636" y="5128"/>
                </a:lnTo>
                <a:lnTo>
                  <a:pt x="11636" y="5132"/>
                </a:lnTo>
                <a:lnTo>
                  <a:pt x="11636" y="5136"/>
                </a:lnTo>
                <a:lnTo>
                  <a:pt x="11634" y="5140"/>
                </a:lnTo>
                <a:lnTo>
                  <a:pt x="11626" y="5146"/>
                </a:lnTo>
                <a:lnTo>
                  <a:pt x="11618" y="5148"/>
                </a:lnTo>
                <a:lnTo>
                  <a:pt x="11612" y="5148"/>
                </a:lnTo>
                <a:lnTo>
                  <a:pt x="11610" y="5148"/>
                </a:lnTo>
                <a:lnTo>
                  <a:pt x="11608" y="5148"/>
                </a:lnTo>
                <a:lnTo>
                  <a:pt x="11604" y="5150"/>
                </a:lnTo>
                <a:lnTo>
                  <a:pt x="11598" y="5156"/>
                </a:lnTo>
                <a:lnTo>
                  <a:pt x="11584" y="5176"/>
                </a:lnTo>
                <a:lnTo>
                  <a:pt x="11576" y="5188"/>
                </a:lnTo>
                <a:lnTo>
                  <a:pt x="11568" y="5196"/>
                </a:lnTo>
                <a:lnTo>
                  <a:pt x="11560" y="5202"/>
                </a:lnTo>
                <a:lnTo>
                  <a:pt x="11556" y="5204"/>
                </a:lnTo>
                <a:lnTo>
                  <a:pt x="11552" y="5202"/>
                </a:lnTo>
                <a:lnTo>
                  <a:pt x="11546" y="5200"/>
                </a:lnTo>
                <a:lnTo>
                  <a:pt x="11542" y="5194"/>
                </a:lnTo>
                <a:lnTo>
                  <a:pt x="11540" y="5190"/>
                </a:lnTo>
                <a:lnTo>
                  <a:pt x="11538" y="5184"/>
                </a:lnTo>
                <a:lnTo>
                  <a:pt x="11534" y="5170"/>
                </a:lnTo>
                <a:lnTo>
                  <a:pt x="11532" y="5164"/>
                </a:lnTo>
                <a:lnTo>
                  <a:pt x="11530" y="5160"/>
                </a:lnTo>
                <a:lnTo>
                  <a:pt x="11526" y="5156"/>
                </a:lnTo>
                <a:lnTo>
                  <a:pt x="11524" y="5158"/>
                </a:lnTo>
                <a:lnTo>
                  <a:pt x="11524" y="5164"/>
                </a:lnTo>
                <a:lnTo>
                  <a:pt x="11522" y="5166"/>
                </a:lnTo>
                <a:lnTo>
                  <a:pt x="11516" y="5154"/>
                </a:lnTo>
                <a:lnTo>
                  <a:pt x="11514" y="5142"/>
                </a:lnTo>
                <a:lnTo>
                  <a:pt x="11512" y="5132"/>
                </a:lnTo>
                <a:lnTo>
                  <a:pt x="11514" y="5126"/>
                </a:lnTo>
                <a:lnTo>
                  <a:pt x="11514" y="5120"/>
                </a:lnTo>
                <a:lnTo>
                  <a:pt x="11518" y="5106"/>
                </a:lnTo>
                <a:lnTo>
                  <a:pt x="11516" y="5098"/>
                </a:lnTo>
                <a:lnTo>
                  <a:pt x="11514" y="5088"/>
                </a:lnTo>
                <a:lnTo>
                  <a:pt x="11512" y="5080"/>
                </a:lnTo>
                <a:lnTo>
                  <a:pt x="11508" y="5076"/>
                </a:lnTo>
                <a:lnTo>
                  <a:pt x="11504" y="5074"/>
                </a:lnTo>
                <a:lnTo>
                  <a:pt x="11502" y="5074"/>
                </a:lnTo>
                <a:lnTo>
                  <a:pt x="11496" y="5076"/>
                </a:lnTo>
                <a:lnTo>
                  <a:pt x="11490" y="5074"/>
                </a:lnTo>
                <a:lnTo>
                  <a:pt x="11480" y="5072"/>
                </a:lnTo>
                <a:lnTo>
                  <a:pt x="11468" y="5064"/>
                </a:lnTo>
                <a:lnTo>
                  <a:pt x="11456" y="5058"/>
                </a:lnTo>
                <a:lnTo>
                  <a:pt x="11448" y="5056"/>
                </a:lnTo>
                <a:lnTo>
                  <a:pt x="11440" y="5056"/>
                </a:lnTo>
                <a:lnTo>
                  <a:pt x="11434" y="5058"/>
                </a:lnTo>
                <a:lnTo>
                  <a:pt x="11426" y="5068"/>
                </a:lnTo>
                <a:lnTo>
                  <a:pt x="11422" y="5072"/>
                </a:lnTo>
                <a:lnTo>
                  <a:pt x="11420" y="5074"/>
                </a:lnTo>
                <a:lnTo>
                  <a:pt x="11410" y="5076"/>
                </a:lnTo>
                <a:lnTo>
                  <a:pt x="11404" y="5076"/>
                </a:lnTo>
                <a:lnTo>
                  <a:pt x="11398" y="5080"/>
                </a:lnTo>
                <a:lnTo>
                  <a:pt x="11396" y="5082"/>
                </a:lnTo>
                <a:lnTo>
                  <a:pt x="11396" y="5084"/>
                </a:lnTo>
                <a:lnTo>
                  <a:pt x="11396" y="5088"/>
                </a:lnTo>
                <a:lnTo>
                  <a:pt x="11394" y="5094"/>
                </a:lnTo>
                <a:lnTo>
                  <a:pt x="11388" y="5102"/>
                </a:lnTo>
                <a:lnTo>
                  <a:pt x="11386" y="5106"/>
                </a:lnTo>
                <a:lnTo>
                  <a:pt x="11386" y="5110"/>
                </a:lnTo>
                <a:lnTo>
                  <a:pt x="11390" y="5110"/>
                </a:lnTo>
                <a:lnTo>
                  <a:pt x="11398" y="5112"/>
                </a:lnTo>
                <a:lnTo>
                  <a:pt x="11408" y="5112"/>
                </a:lnTo>
                <a:lnTo>
                  <a:pt x="11412" y="5114"/>
                </a:lnTo>
                <a:lnTo>
                  <a:pt x="11416" y="5116"/>
                </a:lnTo>
                <a:lnTo>
                  <a:pt x="11422" y="5126"/>
                </a:lnTo>
                <a:lnTo>
                  <a:pt x="11430" y="5142"/>
                </a:lnTo>
                <a:lnTo>
                  <a:pt x="11432" y="5146"/>
                </a:lnTo>
                <a:lnTo>
                  <a:pt x="11436" y="5148"/>
                </a:lnTo>
                <a:lnTo>
                  <a:pt x="11444" y="5150"/>
                </a:lnTo>
                <a:lnTo>
                  <a:pt x="11456" y="5150"/>
                </a:lnTo>
                <a:lnTo>
                  <a:pt x="11468" y="5148"/>
                </a:lnTo>
                <a:lnTo>
                  <a:pt x="11480" y="5148"/>
                </a:lnTo>
                <a:lnTo>
                  <a:pt x="11490" y="5148"/>
                </a:lnTo>
                <a:lnTo>
                  <a:pt x="11498" y="5150"/>
                </a:lnTo>
                <a:lnTo>
                  <a:pt x="11500" y="5152"/>
                </a:lnTo>
                <a:lnTo>
                  <a:pt x="11500" y="5154"/>
                </a:lnTo>
                <a:lnTo>
                  <a:pt x="11500" y="5160"/>
                </a:lnTo>
                <a:lnTo>
                  <a:pt x="11496" y="5162"/>
                </a:lnTo>
                <a:lnTo>
                  <a:pt x="11492" y="5162"/>
                </a:lnTo>
                <a:lnTo>
                  <a:pt x="11486" y="5160"/>
                </a:lnTo>
                <a:lnTo>
                  <a:pt x="11480" y="5158"/>
                </a:lnTo>
                <a:lnTo>
                  <a:pt x="11474" y="5158"/>
                </a:lnTo>
                <a:lnTo>
                  <a:pt x="11468" y="5160"/>
                </a:lnTo>
                <a:lnTo>
                  <a:pt x="11466" y="5164"/>
                </a:lnTo>
                <a:lnTo>
                  <a:pt x="11462" y="5170"/>
                </a:lnTo>
                <a:lnTo>
                  <a:pt x="11456" y="5172"/>
                </a:lnTo>
                <a:lnTo>
                  <a:pt x="11448" y="5172"/>
                </a:lnTo>
                <a:lnTo>
                  <a:pt x="11442" y="5170"/>
                </a:lnTo>
                <a:lnTo>
                  <a:pt x="11436" y="5170"/>
                </a:lnTo>
                <a:lnTo>
                  <a:pt x="11430" y="5170"/>
                </a:lnTo>
                <a:lnTo>
                  <a:pt x="11426" y="5172"/>
                </a:lnTo>
                <a:lnTo>
                  <a:pt x="11426" y="5178"/>
                </a:lnTo>
                <a:lnTo>
                  <a:pt x="11428" y="5182"/>
                </a:lnTo>
                <a:lnTo>
                  <a:pt x="11432" y="5184"/>
                </a:lnTo>
                <a:lnTo>
                  <a:pt x="11438" y="5186"/>
                </a:lnTo>
                <a:lnTo>
                  <a:pt x="11450" y="5196"/>
                </a:lnTo>
                <a:lnTo>
                  <a:pt x="11456" y="5204"/>
                </a:lnTo>
                <a:lnTo>
                  <a:pt x="11460" y="5208"/>
                </a:lnTo>
                <a:lnTo>
                  <a:pt x="11460" y="5212"/>
                </a:lnTo>
                <a:lnTo>
                  <a:pt x="11460" y="5214"/>
                </a:lnTo>
                <a:lnTo>
                  <a:pt x="11454" y="5220"/>
                </a:lnTo>
                <a:lnTo>
                  <a:pt x="11454" y="5222"/>
                </a:lnTo>
                <a:lnTo>
                  <a:pt x="11456" y="5228"/>
                </a:lnTo>
                <a:lnTo>
                  <a:pt x="11458" y="5232"/>
                </a:lnTo>
                <a:lnTo>
                  <a:pt x="11462" y="5236"/>
                </a:lnTo>
                <a:lnTo>
                  <a:pt x="11468" y="5238"/>
                </a:lnTo>
                <a:lnTo>
                  <a:pt x="11472" y="5238"/>
                </a:lnTo>
                <a:lnTo>
                  <a:pt x="11476" y="5236"/>
                </a:lnTo>
                <a:lnTo>
                  <a:pt x="11480" y="5232"/>
                </a:lnTo>
                <a:lnTo>
                  <a:pt x="11484" y="5226"/>
                </a:lnTo>
                <a:lnTo>
                  <a:pt x="11486" y="5216"/>
                </a:lnTo>
                <a:lnTo>
                  <a:pt x="11492" y="5198"/>
                </a:lnTo>
                <a:lnTo>
                  <a:pt x="11496" y="5190"/>
                </a:lnTo>
                <a:lnTo>
                  <a:pt x="11498" y="5190"/>
                </a:lnTo>
                <a:lnTo>
                  <a:pt x="11498" y="5192"/>
                </a:lnTo>
                <a:lnTo>
                  <a:pt x="11494" y="5206"/>
                </a:lnTo>
                <a:lnTo>
                  <a:pt x="11494" y="5212"/>
                </a:lnTo>
                <a:lnTo>
                  <a:pt x="11494" y="5216"/>
                </a:lnTo>
                <a:lnTo>
                  <a:pt x="11498" y="5220"/>
                </a:lnTo>
                <a:lnTo>
                  <a:pt x="11502" y="5222"/>
                </a:lnTo>
                <a:lnTo>
                  <a:pt x="11516" y="5228"/>
                </a:lnTo>
                <a:lnTo>
                  <a:pt x="11522" y="5232"/>
                </a:lnTo>
                <a:lnTo>
                  <a:pt x="11530" y="5238"/>
                </a:lnTo>
                <a:lnTo>
                  <a:pt x="11540" y="5246"/>
                </a:lnTo>
                <a:lnTo>
                  <a:pt x="11548" y="5252"/>
                </a:lnTo>
                <a:lnTo>
                  <a:pt x="11556" y="5254"/>
                </a:lnTo>
                <a:lnTo>
                  <a:pt x="11562" y="5256"/>
                </a:lnTo>
                <a:lnTo>
                  <a:pt x="11578" y="5258"/>
                </a:lnTo>
                <a:lnTo>
                  <a:pt x="11586" y="5260"/>
                </a:lnTo>
                <a:lnTo>
                  <a:pt x="11596" y="5264"/>
                </a:lnTo>
                <a:lnTo>
                  <a:pt x="11612" y="5272"/>
                </a:lnTo>
                <a:lnTo>
                  <a:pt x="11624" y="5276"/>
                </a:lnTo>
                <a:lnTo>
                  <a:pt x="11636" y="5282"/>
                </a:lnTo>
                <a:lnTo>
                  <a:pt x="11650" y="5290"/>
                </a:lnTo>
                <a:lnTo>
                  <a:pt x="11658" y="5298"/>
                </a:lnTo>
                <a:lnTo>
                  <a:pt x="11664" y="5304"/>
                </a:lnTo>
                <a:lnTo>
                  <a:pt x="11676" y="5322"/>
                </a:lnTo>
                <a:lnTo>
                  <a:pt x="11684" y="5342"/>
                </a:lnTo>
                <a:lnTo>
                  <a:pt x="11694" y="5358"/>
                </a:lnTo>
                <a:lnTo>
                  <a:pt x="11698" y="5364"/>
                </a:lnTo>
                <a:lnTo>
                  <a:pt x="11700" y="5368"/>
                </a:lnTo>
                <a:lnTo>
                  <a:pt x="11700" y="5370"/>
                </a:lnTo>
                <a:lnTo>
                  <a:pt x="11698" y="5372"/>
                </a:lnTo>
                <a:lnTo>
                  <a:pt x="11692" y="5374"/>
                </a:lnTo>
                <a:lnTo>
                  <a:pt x="11692" y="5378"/>
                </a:lnTo>
                <a:lnTo>
                  <a:pt x="11692" y="5382"/>
                </a:lnTo>
                <a:lnTo>
                  <a:pt x="11694" y="5390"/>
                </a:lnTo>
                <a:lnTo>
                  <a:pt x="11698" y="5394"/>
                </a:lnTo>
                <a:lnTo>
                  <a:pt x="11706" y="5400"/>
                </a:lnTo>
                <a:lnTo>
                  <a:pt x="11710" y="5402"/>
                </a:lnTo>
                <a:lnTo>
                  <a:pt x="11714" y="5406"/>
                </a:lnTo>
                <a:lnTo>
                  <a:pt x="11714" y="5412"/>
                </a:lnTo>
                <a:lnTo>
                  <a:pt x="11712" y="5420"/>
                </a:lnTo>
                <a:lnTo>
                  <a:pt x="11706" y="5434"/>
                </a:lnTo>
                <a:lnTo>
                  <a:pt x="11706" y="5436"/>
                </a:lnTo>
                <a:lnTo>
                  <a:pt x="11708" y="5436"/>
                </a:lnTo>
                <a:lnTo>
                  <a:pt x="11714" y="5434"/>
                </a:lnTo>
                <a:lnTo>
                  <a:pt x="11718" y="5434"/>
                </a:lnTo>
                <a:lnTo>
                  <a:pt x="11720" y="5436"/>
                </a:lnTo>
                <a:lnTo>
                  <a:pt x="11722" y="5438"/>
                </a:lnTo>
                <a:lnTo>
                  <a:pt x="11724" y="5438"/>
                </a:lnTo>
                <a:lnTo>
                  <a:pt x="11730" y="5438"/>
                </a:lnTo>
                <a:lnTo>
                  <a:pt x="11740" y="5438"/>
                </a:lnTo>
                <a:lnTo>
                  <a:pt x="11744" y="5440"/>
                </a:lnTo>
                <a:lnTo>
                  <a:pt x="11752" y="5444"/>
                </a:lnTo>
                <a:lnTo>
                  <a:pt x="11750" y="5154"/>
                </a:lnTo>
                <a:lnTo>
                  <a:pt x="11740" y="5154"/>
                </a:lnTo>
                <a:lnTo>
                  <a:pt x="11730" y="5150"/>
                </a:lnTo>
                <a:lnTo>
                  <a:pt x="11708" y="5138"/>
                </a:lnTo>
                <a:lnTo>
                  <a:pt x="11672" y="5114"/>
                </a:lnTo>
                <a:close/>
                <a:moveTo>
                  <a:pt x="11698" y="5436"/>
                </a:moveTo>
                <a:lnTo>
                  <a:pt x="11698" y="5436"/>
                </a:lnTo>
                <a:lnTo>
                  <a:pt x="11702" y="5434"/>
                </a:lnTo>
                <a:lnTo>
                  <a:pt x="11704" y="5430"/>
                </a:lnTo>
                <a:lnTo>
                  <a:pt x="11706" y="5420"/>
                </a:lnTo>
                <a:lnTo>
                  <a:pt x="11710" y="5412"/>
                </a:lnTo>
                <a:lnTo>
                  <a:pt x="11710" y="5410"/>
                </a:lnTo>
                <a:lnTo>
                  <a:pt x="11708" y="5408"/>
                </a:lnTo>
                <a:lnTo>
                  <a:pt x="11704" y="5406"/>
                </a:lnTo>
                <a:lnTo>
                  <a:pt x="11702" y="5404"/>
                </a:lnTo>
                <a:lnTo>
                  <a:pt x="11702" y="5402"/>
                </a:lnTo>
                <a:lnTo>
                  <a:pt x="11700" y="5400"/>
                </a:lnTo>
                <a:lnTo>
                  <a:pt x="11694" y="5398"/>
                </a:lnTo>
                <a:lnTo>
                  <a:pt x="11690" y="5398"/>
                </a:lnTo>
                <a:lnTo>
                  <a:pt x="11678" y="5404"/>
                </a:lnTo>
                <a:lnTo>
                  <a:pt x="11668" y="5414"/>
                </a:lnTo>
                <a:lnTo>
                  <a:pt x="11664" y="5418"/>
                </a:lnTo>
                <a:lnTo>
                  <a:pt x="11664" y="5422"/>
                </a:lnTo>
                <a:lnTo>
                  <a:pt x="11662" y="5428"/>
                </a:lnTo>
                <a:lnTo>
                  <a:pt x="11658" y="5436"/>
                </a:lnTo>
                <a:lnTo>
                  <a:pt x="11656" y="5442"/>
                </a:lnTo>
                <a:lnTo>
                  <a:pt x="11654" y="5448"/>
                </a:lnTo>
                <a:lnTo>
                  <a:pt x="11654" y="5450"/>
                </a:lnTo>
                <a:lnTo>
                  <a:pt x="11658" y="5448"/>
                </a:lnTo>
                <a:lnTo>
                  <a:pt x="11666" y="5448"/>
                </a:lnTo>
                <a:lnTo>
                  <a:pt x="11672" y="5448"/>
                </a:lnTo>
                <a:lnTo>
                  <a:pt x="11678" y="5450"/>
                </a:lnTo>
                <a:lnTo>
                  <a:pt x="11682" y="5450"/>
                </a:lnTo>
                <a:lnTo>
                  <a:pt x="11686" y="5450"/>
                </a:lnTo>
                <a:lnTo>
                  <a:pt x="11690" y="5446"/>
                </a:lnTo>
                <a:lnTo>
                  <a:pt x="11694" y="5440"/>
                </a:lnTo>
                <a:lnTo>
                  <a:pt x="11698" y="5436"/>
                </a:lnTo>
                <a:close/>
                <a:moveTo>
                  <a:pt x="10850" y="5438"/>
                </a:moveTo>
                <a:lnTo>
                  <a:pt x="10850" y="5438"/>
                </a:lnTo>
                <a:lnTo>
                  <a:pt x="10850" y="5436"/>
                </a:lnTo>
                <a:lnTo>
                  <a:pt x="10846" y="5436"/>
                </a:lnTo>
                <a:lnTo>
                  <a:pt x="10842" y="5438"/>
                </a:lnTo>
                <a:lnTo>
                  <a:pt x="10842" y="5442"/>
                </a:lnTo>
                <a:lnTo>
                  <a:pt x="10844" y="5446"/>
                </a:lnTo>
                <a:lnTo>
                  <a:pt x="10846" y="5446"/>
                </a:lnTo>
                <a:lnTo>
                  <a:pt x="10850" y="5438"/>
                </a:lnTo>
                <a:close/>
                <a:moveTo>
                  <a:pt x="10926" y="5458"/>
                </a:moveTo>
                <a:lnTo>
                  <a:pt x="10926" y="5458"/>
                </a:lnTo>
                <a:lnTo>
                  <a:pt x="10928" y="5458"/>
                </a:lnTo>
                <a:lnTo>
                  <a:pt x="10928" y="5456"/>
                </a:lnTo>
                <a:lnTo>
                  <a:pt x="10928" y="5452"/>
                </a:lnTo>
                <a:lnTo>
                  <a:pt x="10926" y="5452"/>
                </a:lnTo>
                <a:lnTo>
                  <a:pt x="10922" y="5450"/>
                </a:lnTo>
                <a:lnTo>
                  <a:pt x="10920" y="5450"/>
                </a:lnTo>
                <a:lnTo>
                  <a:pt x="10920" y="5452"/>
                </a:lnTo>
                <a:lnTo>
                  <a:pt x="10920" y="5456"/>
                </a:lnTo>
                <a:lnTo>
                  <a:pt x="10920" y="5462"/>
                </a:lnTo>
                <a:lnTo>
                  <a:pt x="10920" y="5464"/>
                </a:lnTo>
                <a:lnTo>
                  <a:pt x="10922" y="5462"/>
                </a:lnTo>
                <a:lnTo>
                  <a:pt x="10924" y="5460"/>
                </a:lnTo>
                <a:lnTo>
                  <a:pt x="10926" y="5458"/>
                </a:lnTo>
                <a:close/>
                <a:moveTo>
                  <a:pt x="10930" y="5468"/>
                </a:moveTo>
                <a:lnTo>
                  <a:pt x="10930" y="5468"/>
                </a:lnTo>
                <a:lnTo>
                  <a:pt x="10932" y="5466"/>
                </a:lnTo>
                <a:lnTo>
                  <a:pt x="10934" y="5464"/>
                </a:lnTo>
                <a:lnTo>
                  <a:pt x="10934" y="5460"/>
                </a:lnTo>
                <a:lnTo>
                  <a:pt x="10930" y="5460"/>
                </a:lnTo>
                <a:lnTo>
                  <a:pt x="10928" y="5462"/>
                </a:lnTo>
                <a:lnTo>
                  <a:pt x="10928" y="5464"/>
                </a:lnTo>
                <a:lnTo>
                  <a:pt x="10928" y="5468"/>
                </a:lnTo>
                <a:lnTo>
                  <a:pt x="10930" y="5468"/>
                </a:lnTo>
                <a:close/>
                <a:moveTo>
                  <a:pt x="10910" y="5150"/>
                </a:moveTo>
                <a:lnTo>
                  <a:pt x="10910" y="5150"/>
                </a:lnTo>
                <a:lnTo>
                  <a:pt x="10908" y="5158"/>
                </a:lnTo>
                <a:lnTo>
                  <a:pt x="10906" y="5164"/>
                </a:lnTo>
                <a:lnTo>
                  <a:pt x="10902" y="5166"/>
                </a:lnTo>
                <a:lnTo>
                  <a:pt x="10900" y="5168"/>
                </a:lnTo>
                <a:lnTo>
                  <a:pt x="10894" y="5170"/>
                </a:lnTo>
                <a:lnTo>
                  <a:pt x="10894" y="5172"/>
                </a:lnTo>
                <a:lnTo>
                  <a:pt x="10896" y="5176"/>
                </a:lnTo>
                <a:lnTo>
                  <a:pt x="10898" y="5184"/>
                </a:lnTo>
                <a:lnTo>
                  <a:pt x="10896" y="5186"/>
                </a:lnTo>
                <a:lnTo>
                  <a:pt x="10894" y="5190"/>
                </a:lnTo>
                <a:lnTo>
                  <a:pt x="10896" y="5202"/>
                </a:lnTo>
                <a:lnTo>
                  <a:pt x="10900" y="5208"/>
                </a:lnTo>
                <a:lnTo>
                  <a:pt x="10902" y="5210"/>
                </a:lnTo>
                <a:lnTo>
                  <a:pt x="10906" y="5210"/>
                </a:lnTo>
                <a:lnTo>
                  <a:pt x="10908" y="5210"/>
                </a:lnTo>
                <a:lnTo>
                  <a:pt x="10912" y="5208"/>
                </a:lnTo>
                <a:lnTo>
                  <a:pt x="10916" y="5210"/>
                </a:lnTo>
                <a:lnTo>
                  <a:pt x="10920" y="5214"/>
                </a:lnTo>
                <a:lnTo>
                  <a:pt x="10924" y="5222"/>
                </a:lnTo>
                <a:lnTo>
                  <a:pt x="10928" y="5232"/>
                </a:lnTo>
                <a:lnTo>
                  <a:pt x="10928" y="5244"/>
                </a:lnTo>
                <a:lnTo>
                  <a:pt x="10926" y="5256"/>
                </a:lnTo>
                <a:lnTo>
                  <a:pt x="10924" y="5268"/>
                </a:lnTo>
                <a:lnTo>
                  <a:pt x="10920" y="5280"/>
                </a:lnTo>
                <a:lnTo>
                  <a:pt x="10918" y="5292"/>
                </a:lnTo>
                <a:lnTo>
                  <a:pt x="10920" y="5302"/>
                </a:lnTo>
                <a:lnTo>
                  <a:pt x="10922" y="5310"/>
                </a:lnTo>
                <a:lnTo>
                  <a:pt x="10926" y="5314"/>
                </a:lnTo>
                <a:lnTo>
                  <a:pt x="10930" y="5316"/>
                </a:lnTo>
                <a:lnTo>
                  <a:pt x="10934" y="5316"/>
                </a:lnTo>
                <a:lnTo>
                  <a:pt x="10938" y="5316"/>
                </a:lnTo>
                <a:lnTo>
                  <a:pt x="10946" y="5312"/>
                </a:lnTo>
                <a:lnTo>
                  <a:pt x="10956" y="5312"/>
                </a:lnTo>
                <a:lnTo>
                  <a:pt x="10960" y="5312"/>
                </a:lnTo>
                <a:lnTo>
                  <a:pt x="10962" y="5308"/>
                </a:lnTo>
                <a:lnTo>
                  <a:pt x="10960" y="5300"/>
                </a:lnTo>
                <a:lnTo>
                  <a:pt x="10956" y="5286"/>
                </a:lnTo>
                <a:lnTo>
                  <a:pt x="10956" y="5280"/>
                </a:lnTo>
                <a:lnTo>
                  <a:pt x="10958" y="5274"/>
                </a:lnTo>
                <a:lnTo>
                  <a:pt x="10962" y="5270"/>
                </a:lnTo>
                <a:lnTo>
                  <a:pt x="10962" y="5264"/>
                </a:lnTo>
                <a:lnTo>
                  <a:pt x="10962" y="5250"/>
                </a:lnTo>
                <a:lnTo>
                  <a:pt x="10960" y="5234"/>
                </a:lnTo>
                <a:lnTo>
                  <a:pt x="10962" y="5214"/>
                </a:lnTo>
                <a:lnTo>
                  <a:pt x="10962" y="5204"/>
                </a:lnTo>
                <a:lnTo>
                  <a:pt x="10962" y="5196"/>
                </a:lnTo>
                <a:lnTo>
                  <a:pt x="10956" y="5190"/>
                </a:lnTo>
                <a:lnTo>
                  <a:pt x="10956" y="5186"/>
                </a:lnTo>
                <a:lnTo>
                  <a:pt x="10956" y="5184"/>
                </a:lnTo>
                <a:lnTo>
                  <a:pt x="10964" y="5174"/>
                </a:lnTo>
                <a:lnTo>
                  <a:pt x="10972" y="5168"/>
                </a:lnTo>
                <a:lnTo>
                  <a:pt x="10978" y="5166"/>
                </a:lnTo>
                <a:lnTo>
                  <a:pt x="10982" y="5168"/>
                </a:lnTo>
                <a:lnTo>
                  <a:pt x="10986" y="5170"/>
                </a:lnTo>
                <a:lnTo>
                  <a:pt x="10988" y="5176"/>
                </a:lnTo>
                <a:lnTo>
                  <a:pt x="10988" y="5182"/>
                </a:lnTo>
                <a:lnTo>
                  <a:pt x="10986" y="5188"/>
                </a:lnTo>
                <a:lnTo>
                  <a:pt x="10982" y="5196"/>
                </a:lnTo>
                <a:lnTo>
                  <a:pt x="10980" y="5202"/>
                </a:lnTo>
                <a:lnTo>
                  <a:pt x="10978" y="5208"/>
                </a:lnTo>
                <a:lnTo>
                  <a:pt x="10980" y="5212"/>
                </a:lnTo>
                <a:lnTo>
                  <a:pt x="10982" y="5216"/>
                </a:lnTo>
                <a:lnTo>
                  <a:pt x="10990" y="5224"/>
                </a:lnTo>
                <a:lnTo>
                  <a:pt x="11000" y="5232"/>
                </a:lnTo>
                <a:lnTo>
                  <a:pt x="11004" y="5238"/>
                </a:lnTo>
                <a:lnTo>
                  <a:pt x="11004" y="5246"/>
                </a:lnTo>
                <a:lnTo>
                  <a:pt x="11002" y="5260"/>
                </a:lnTo>
                <a:lnTo>
                  <a:pt x="11002" y="5268"/>
                </a:lnTo>
                <a:lnTo>
                  <a:pt x="11004" y="5272"/>
                </a:lnTo>
                <a:lnTo>
                  <a:pt x="11010" y="5276"/>
                </a:lnTo>
                <a:lnTo>
                  <a:pt x="11018" y="5278"/>
                </a:lnTo>
                <a:lnTo>
                  <a:pt x="11024" y="5276"/>
                </a:lnTo>
                <a:lnTo>
                  <a:pt x="11028" y="5274"/>
                </a:lnTo>
                <a:lnTo>
                  <a:pt x="11028" y="5272"/>
                </a:lnTo>
                <a:lnTo>
                  <a:pt x="11028" y="5268"/>
                </a:lnTo>
                <a:lnTo>
                  <a:pt x="11028" y="5262"/>
                </a:lnTo>
                <a:lnTo>
                  <a:pt x="11032" y="5258"/>
                </a:lnTo>
                <a:lnTo>
                  <a:pt x="11036" y="5256"/>
                </a:lnTo>
                <a:lnTo>
                  <a:pt x="11040" y="5254"/>
                </a:lnTo>
                <a:lnTo>
                  <a:pt x="11046" y="5254"/>
                </a:lnTo>
                <a:lnTo>
                  <a:pt x="11052" y="5256"/>
                </a:lnTo>
                <a:lnTo>
                  <a:pt x="11054" y="5256"/>
                </a:lnTo>
                <a:lnTo>
                  <a:pt x="11056" y="5256"/>
                </a:lnTo>
                <a:lnTo>
                  <a:pt x="11060" y="5246"/>
                </a:lnTo>
                <a:lnTo>
                  <a:pt x="11060" y="5240"/>
                </a:lnTo>
                <a:lnTo>
                  <a:pt x="11058" y="5236"/>
                </a:lnTo>
                <a:lnTo>
                  <a:pt x="11052" y="5232"/>
                </a:lnTo>
                <a:lnTo>
                  <a:pt x="11046" y="5228"/>
                </a:lnTo>
                <a:lnTo>
                  <a:pt x="11042" y="5224"/>
                </a:lnTo>
                <a:lnTo>
                  <a:pt x="11036" y="5220"/>
                </a:lnTo>
                <a:lnTo>
                  <a:pt x="11036" y="5216"/>
                </a:lnTo>
                <a:lnTo>
                  <a:pt x="11038" y="5210"/>
                </a:lnTo>
                <a:lnTo>
                  <a:pt x="11040" y="5204"/>
                </a:lnTo>
                <a:lnTo>
                  <a:pt x="11040" y="5196"/>
                </a:lnTo>
                <a:lnTo>
                  <a:pt x="11038" y="5188"/>
                </a:lnTo>
                <a:lnTo>
                  <a:pt x="11036" y="5180"/>
                </a:lnTo>
                <a:lnTo>
                  <a:pt x="11024" y="5162"/>
                </a:lnTo>
                <a:lnTo>
                  <a:pt x="11012" y="5146"/>
                </a:lnTo>
                <a:lnTo>
                  <a:pt x="11006" y="5140"/>
                </a:lnTo>
                <a:lnTo>
                  <a:pt x="11006" y="5134"/>
                </a:lnTo>
                <a:lnTo>
                  <a:pt x="11010" y="5130"/>
                </a:lnTo>
                <a:lnTo>
                  <a:pt x="11018" y="5126"/>
                </a:lnTo>
                <a:lnTo>
                  <a:pt x="11034" y="5114"/>
                </a:lnTo>
                <a:lnTo>
                  <a:pt x="11042" y="5106"/>
                </a:lnTo>
                <a:lnTo>
                  <a:pt x="11050" y="5096"/>
                </a:lnTo>
                <a:lnTo>
                  <a:pt x="11056" y="5088"/>
                </a:lnTo>
                <a:lnTo>
                  <a:pt x="11060" y="5084"/>
                </a:lnTo>
                <a:lnTo>
                  <a:pt x="11066" y="5084"/>
                </a:lnTo>
                <a:lnTo>
                  <a:pt x="11068" y="5084"/>
                </a:lnTo>
                <a:lnTo>
                  <a:pt x="11076" y="5090"/>
                </a:lnTo>
                <a:lnTo>
                  <a:pt x="11078" y="5090"/>
                </a:lnTo>
                <a:lnTo>
                  <a:pt x="11080" y="5088"/>
                </a:lnTo>
                <a:lnTo>
                  <a:pt x="11084" y="5080"/>
                </a:lnTo>
                <a:lnTo>
                  <a:pt x="11084" y="5076"/>
                </a:lnTo>
                <a:lnTo>
                  <a:pt x="11084" y="5074"/>
                </a:lnTo>
                <a:lnTo>
                  <a:pt x="11080" y="5072"/>
                </a:lnTo>
                <a:lnTo>
                  <a:pt x="11076" y="5070"/>
                </a:lnTo>
                <a:lnTo>
                  <a:pt x="11058" y="5070"/>
                </a:lnTo>
                <a:lnTo>
                  <a:pt x="11048" y="5072"/>
                </a:lnTo>
                <a:lnTo>
                  <a:pt x="11042" y="5074"/>
                </a:lnTo>
                <a:lnTo>
                  <a:pt x="11032" y="5080"/>
                </a:lnTo>
                <a:lnTo>
                  <a:pt x="11024" y="5084"/>
                </a:lnTo>
                <a:lnTo>
                  <a:pt x="11020" y="5084"/>
                </a:lnTo>
                <a:lnTo>
                  <a:pt x="11012" y="5082"/>
                </a:lnTo>
                <a:lnTo>
                  <a:pt x="11006" y="5082"/>
                </a:lnTo>
                <a:lnTo>
                  <a:pt x="11000" y="5084"/>
                </a:lnTo>
                <a:lnTo>
                  <a:pt x="10998" y="5088"/>
                </a:lnTo>
                <a:lnTo>
                  <a:pt x="10994" y="5094"/>
                </a:lnTo>
                <a:lnTo>
                  <a:pt x="10992" y="5100"/>
                </a:lnTo>
                <a:lnTo>
                  <a:pt x="10988" y="5104"/>
                </a:lnTo>
                <a:lnTo>
                  <a:pt x="10984" y="5108"/>
                </a:lnTo>
                <a:lnTo>
                  <a:pt x="10976" y="5108"/>
                </a:lnTo>
                <a:lnTo>
                  <a:pt x="10970" y="5106"/>
                </a:lnTo>
                <a:lnTo>
                  <a:pt x="10966" y="5104"/>
                </a:lnTo>
                <a:lnTo>
                  <a:pt x="10966" y="5102"/>
                </a:lnTo>
                <a:lnTo>
                  <a:pt x="10966" y="5098"/>
                </a:lnTo>
                <a:lnTo>
                  <a:pt x="10964" y="5090"/>
                </a:lnTo>
                <a:lnTo>
                  <a:pt x="10962" y="5086"/>
                </a:lnTo>
                <a:lnTo>
                  <a:pt x="10956" y="5082"/>
                </a:lnTo>
                <a:lnTo>
                  <a:pt x="10952" y="5080"/>
                </a:lnTo>
                <a:lnTo>
                  <a:pt x="10950" y="5076"/>
                </a:lnTo>
                <a:lnTo>
                  <a:pt x="10946" y="5064"/>
                </a:lnTo>
                <a:lnTo>
                  <a:pt x="10946" y="5052"/>
                </a:lnTo>
                <a:lnTo>
                  <a:pt x="10950" y="5038"/>
                </a:lnTo>
                <a:lnTo>
                  <a:pt x="10954" y="5026"/>
                </a:lnTo>
                <a:lnTo>
                  <a:pt x="10960" y="5018"/>
                </a:lnTo>
                <a:lnTo>
                  <a:pt x="10962" y="5016"/>
                </a:lnTo>
                <a:lnTo>
                  <a:pt x="10966" y="5014"/>
                </a:lnTo>
                <a:lnTo>
                  <a:pt x="10970" y="5014"/>
                </a:lnTo>
                <a:lnTo>
                  <a:pt x="10974" y="5016"/>
                </a:lnTo>
                <a:lnTo>
                  <a:pt x="10980" y="5018"/>
                </a:lnTo>
                <a:lnTo>
                  <a:pt x="10984" y="5018"/>
                </a:lnTo>
                <a:lnTo>
                  <a:pt x="10994" y="5018"/>
                </a:lnTo>
                <a:lnTo>
                  <a:pt x="11004" y="5016"/>
                </a:lnTo>
                <a:lnTo>
                  <a:pt x="11010" y="5016"/>
                </a:lnTo>
                <a:lnTo>
                  <a:pt x="11014" y="5018"/>
                </a:lnTo>
                <a:lnTo>
                  <a:pt x="11020" y="5018"/>
                </a:lnTo>
                <a:lnTo>
                  <a:pt x="11028" y="5018"/>
                </a:lnTo>
                <a:lnTo>
                  <a:pt x="11046" y="5016"/>
                </a:lnTo>
                <a:lnTo>
                  <a:pt x="11062" y="5016"/>
                </a:lnTo>
                <a:lnTo>
                  <a:pt x="11068" y="5016"/>
                </a:lnTo>
                <a:lnTo>
                  <a:pt x="11070" y="5018"/>
                </a:lnTo>
                <a:lnTo>
                  <a:pt x="11074" y="5022"/>
                </a:lnTo>
                <a:lnTo>
                  <a:pt x="11080" y="5024"/>
                </a:lnTo>
                <a:lnTo>
                  <a:pt x="11088" y="5026"/>
                </a:lnTo>
                <a:lnTo>
                  <a:pt x="11096" y="5026"/>
                </a:lnTo>
                <a:lnTo>
                  <a:pt x="11106" y="5024"/>
                </a:lnTo>
                <a:lnTo>
                  <a:pt x="11114" y="5020"/>
                </a:lnTo>
                <a:lnTo>
                  <a:pt x="11122" y="5016"/>
                </a:lnTo>
                <a:lnTo>
                  <a:pt x="11128" y="5010"/>
                </a:lnTo>
                <a:lnTo>
                  <a:pt x="11148" y="4980"/>
                </a:lnTo>
                <a:lnTo>
                  <a:pt x="11150" y="4974"/>
                </a:lnTo>
                <a:lnTo>
                  <a:pt x="11152" y="4970"/>
                </a:lnTo>
                <a:lnTo>
                  <a:pt x="11152" y="4964"/>
                </a:lnTo>
                <a:lnTo>
                  <a:pt x="11150" y="4958"/>
                </a:lnTo>
                <a:lnTo>
                  <a:pt x="11146" y="4956"/>
                </a:lnTo>
                <a:lnTo>
                  <a:pt x="11142" y="4956"/>
                </a:lnTo>
                <a:lnTo>
                  <a:pt x="11138" y="4958"/>
                </a:lnTo>
                <a:lnTo>
                  <a:pt x="11134" y="4962"/>
                </a:lnTo>
                <a:lnTo>
                  <a:pt x="11124" y="4976"/>
                </a:lnTo>
                <a:lnTo>
                  <a:pt x="11116" y="4990"/>
                </a:lnTo>
                <a:lnTo>
                  <a:pt x="11110" y="4996"/>
                </a:lnTo>
                <a:lnTo>
                  <a:pt x="11104" y="4998"/>
                </a:lnTo>
                <a:lnTo>
                  <a:pt x="11096" y="4998"/>
                </a:lnTo>
                <a:lnTo>
                  <a:pt x="11086" y="4996"/>
                </a:lnTo>
                <a:lnTo>
                  <a:pt x="11072" y="4994"/>
                </a:lnTo>
                <a:lnTo>
                  <a:pt x="11066" y="4994"/>
                </a:lnTo>
                <a:lnTo>
                  <a:pt x="11062" y="4994"/>
                </a:lnTo>
                <a:lnTo>
                  <a:pt x="11060" y="4996"/>
                </a:lnTo>
                <a:lnTo>
                  <a:pt x="11056" y="4996"/>
                </a:lnTo>
                <a:lnTo>
                  <a:pt x="11048" y="4994"/>
                </a:lnTo>
                <a:lnTo>
                  <a:pt x="11034" y="4990"/>
                </a:lnTo>
                <a:lnTo>
                  <a:pt x="11028" y="4990"/>
                </a:lnTo>
                <a:lnTo>
                  <a:pt x="11018" y="4990"/>
                </a:lnTo>
                <a:lnTo>
                  <a:pt x="11010" y="4990"/>
                </a:lnTo>
                <a:lnTo>
                  <a:pt x="11006" y="4988"/>
                </a:lnTo>
                <a:lnTo>
                  <a:pt x="11004" y="4986"/>
                </a:lnTo>
                <a:lnTo>
                  <a:pt x="11004" y="4984"/>
                </a:lnTo>
                <a:lnTo>
                  <a:pt x="11004" y="4980"/>
                </a:lnTo>
                <a:lnTo>
                  <a:pt x="11002" y="4978"/>
                </a:lnTo>
                <a:lnTo>
                  <a:pt x="11000" y="4978"/>
                </a:lnTo>
                <a:lnTo>
                  <a:pt x="10992" y="4978"/>
                </a:lnTo>
                <a:lnTo>
                  <a:pt x="10986" y="4976"/>
                </a:lnTo>
                <a:lnTo>
                  <a:pt x="10980" y="4976"/>
                </a:lnTo>
                <a:lnTo>
                  <a:pt x="10978" y="4976"/>
                </a:lnTo>
                <a:lnTo>
                  <a:pt x="10976" y="4980"/>
                </a:lnTo>
                <a:lnTo>
                  <a:pt x="10974" y="4988"/>
                </a:lnTo>
                <a:lnTo>
                  <a:pt x="10968" y="4996"/>
                </a:lnTo>
                <a:lnTo>
                  <a:pt x="10966" y="4998"/>
                </a:lnTo>
                <a:lnTo>
                  <a:pt x="10962" y="5000"/>
                </a:lnTo>
                <a:lnTo>
                  <a:pt x="10960" y="4998"/>
                </a:lnTo>
                <a:lnTo>
                  <a:pt x="10958" y="4996"/>
                </a:lnTo>
                <a:lnTo>
                  <a:pt x="10954" y="4992"/>
                </a:lnTo>
                <a:lnTo>
                  <a:pt x="10952" y="4992"/>
                </a:lnTo>
                <a:lnTo>
                  <a:pt x="10950" y="4998"/>
                </a:lnTo>
                <a:lnTo>
                  <a:pt x="10946" y="5008"/>
                </a:lnTo>
                <a:lnTo>
                  <a:pt x="10940" y="5020"/>
                </a:lnTo>
                <a:lnTo>
                  <a:pt x="10936" y="5024"/>
                </a:lnTo>
                <a:lnTo>
                  <a:pt x="10936" y="5028"/>
                </a:lnTo>
                <a:lnTo>
                  <a:pt x="10936" y="5034"/>
                </a:lnTo>
                <a:lnTo>
                  <a:pt x="10936" y="5038"/>
                </a:lnTo>
                <a:lnTo>
                  <a:pt x="10936" y="5040"/>
                </a:lnTo>
                <a:lnTo>
                  <a:pt x="10932" y="5040"/>
                </a:lnTo>
                <a:lnTo>
                  <a:pt x="10928" y="5044"/>
                </a:lnTo>
                <a:lnTo>
                  <a:pt x="10930" y="5046"/>
                </a:lnTo>
                <a:lnTo>
                  <a:pt x="10932" y="5054"/>
                </a:lnTo>
                <a:lnTo>
                  <a:pt x="10932" y="5064"/>
                </a:lnTo>
                <a:lnTo>
                  <a:pt x="10928" y="5076"/>
                </a:lnTo>
                <a:lnTo>
                  <a:pt x="10922" y="5086"/>
                </a:lnTo>
                <a:lnTo>
                  <a:pt x="10918" y="5098"/>
                </a:lnTo>
                <a:lnTo>
                  <a:pt x="10918" y="5106"/>
                </a:lnTo>
                <a:lnTo>
                  <a:pt x="10918" y="5118"/>
                </a:lnTo>
                <a:lnTo>
                  <a:pt x="10918" y="5132"/>
                </a:lnTo>
                <a:lnTo>
                  <a:pt x="10916" y="5134"/>
                </a:lnTo>
                <a:lnTo>
                  <a:pt x="10916" y="5136"/>
                </a:lnTo>
                <a:lnTo>
                  <a:pt x="10914" y="5136"/>
                </a:lnTo>
                <a:lnTo>
                  <a:pt x="10912" y="5138"/>
                </a:lnTo>
                <a:lnTo>
                  <a:pt x="10910" y="5142"/>
                </a:lnTo>
                <a:lnTo>
                  <a:pt x="10910" y="5150"/>
                </a:lnTo>
                <a:close/>
                <a:moveTo>
                  <a:pt x="11186" y="5194"/>
                </a:moveTo>
                <a:lnTo>
                  <a:pt x="11186" y="5194"/>
                </a:lnTo>
                <a:lnTo>
                  <a:pt x="11188" y="5202"/>
                </a:lnTo>
                <a:lnTo>
                  <a:pt x="11192" y="5208"/>
                </a:lnTo>
                <a:lnTo>
                  <a:pt x="11200" y="5216"/>
                </a:lnTo>
                <a:lnTo>
                  <a:pt x="11210" y="5224"/>
                </a:lnTo>
                <a:lnTo>
                  <a:pt x="11214" y="5226"/>
                </a:lnTo>
                <a:lnTo>
                  <a:pt x="11220" y="5224"/>
                </a:lnTo>
                <a:lnTo>
                  <a:pt x="11226" y="5222"/>
                </a:lnTo>
                <a:lnTo>
                  <a:pt x="11230" y="5220"/>
                </a:lnTo>
                <a:lnTo>
                  <a:pt x="11232" y="5214"/>
                </a:lnTo>
                <a:lnTo>
                  <a:pt x="11234" y="5210"/>
                </a:lnTo>
                <a:lnTo>
                  <a:pt x="11234" y="5204"/>
                </a:lnTo>
                <a:lnTo>
                  <a:pt x="11230" y="5198"/>
                </a:lnTo>
                <a:lnTo>
                  <a:pt x="11226" y="5192"/>
                </a:lnTo>
                <a:lnTo>
                  <a:pt x="11218" y="5188"/>
                </a:lnTo>
                <a:lnTo>
                  <a:pt x="11212" y="5186"/>
                </a:lnTo>
                <a:lnTo>
                  <a:pt x="11204" y="5186"/>
                </a:lnTo>
                <a:lnTo>
                  <a:pt x="11198" y="5186"/>
                </a:lnTo>
                <a:lnTo>
                  <a:pt x="11192" y="5188"/>
                </a:lnTo>
                <a:lnTo>
                  <a:pt x="11188" y="5190"/>
                </a:lnTo>
                <a:lnTo>
                  <a:pt x="11186" y="5194"/>
                </a:lnTo>
                <a:close/>
                <a:moveTo>
                  <a:pt x="11302" y="5178"/>
                </a:moveTo>
                <a:lnTo>
                  <a:pt x="11302" y="5178"/>
                </a:lnTo>
                <a:lnTo>
                  <a:pt x="11294" y="5178"/>
                </a:lnTo>
                <a:lnTo>
                  <a:pt x="11284" y="5178"/>
                </a:lnTo>
                <a:lnTo>
                  <a:pt x="11278" y="5178"/>
                </a:lnTo>
                <a:lnTo>
                  <a:pt x="11272" y="5182"/>
                </a:lnTo>
                <a:lnTo>
                  <a:pt x="11268" y="5186"/>
                </a:lnTo>
                <a:lnTo>
                  <a:pt x="11264" y="5190"/>
                </a:lnTo>
                <a:lnTo>
                  <a:pt x="11262" y="5196"/>
                </a:lnTo>
                <a:lnTo>
                  <a:pt x="11262" y="5202"/>
                </a:lnTo>
                <a:lnTo>
                  <a:pt x="11264" y="5208"/>
                </a:lnTo>
                <a:lnTo>
                  <a:pt x="11266" y="5204"/>
                </a:lnTo>
                <a:lnTo>
                  <a:pt x="11270" y="5196"/>
                </a:lnTo>
                <a:lnTo>
                  <a:pt x="11272" y="5194"/>
                </a:lnTo>
                <a:lnTo>
                  <a:pt x="11272" y="5192"/>
                </a:lnTo>
                <a:lnTo>
                  <a:pt x="11274" y="5192"/>
                </a:lnTo>
                <a:lnTo>
                  <a:pt x="11276" y="5194"/>
                </a:lnTo>
                <a:lnTo>
                  <a:pt x="11282" y="5200"/>
                </a:lnTo>
                <a:lnTo>
                  <a:pt x="11284" y="5202"/>
                </a:lnTo>
                <a:lnTo>
                  <a:pt x="11288" y="5202"/>
                </a:lnTo>
                <a:lnTo>
                  <a:pt x="11292" y="5202"/>
                </a:lnTo>
                <a:lnTo>
                  <a:pt x="11296" y="5200"/>
                </a:lnTo>
                <a:lnTo>
                  <a:pt x="11302" y="5198"/>
                </a:lnTo>
                <a:lnTo>
                  <a:pt x="11306" y="5198"/>
                </a:lnTo>
                <a:lnTo>
                  <a:pt x="11316" y="5202"/>
                </a:lnTo>
                <a:lnTo>
                  <a:pt x="11324" y="5206"/>
                </a:lnTo>
                <a:lnTo>
                  <a:pt x="11328" y="5206"/>
                </a:lnTo>
                <a:lnTo>
                  <a:pt x="11330" y="5204"/>
                </a:lnTo>
                <a:lnTo>
                  <a:pt x="11332" y="5202"/>
                </a:lnTo>
                <a:lnTo>
                  <a:pt x="11334" y="5202"/>
                </a:lnTo>
                <a:lnTo>
                  <a:pt x="11344" y="5204"/>
                </a:lnTo>
                <a:lnTo>
                  <a:pt x="11356" y="5212"/>
                </a:lnTo>
                <a:lnTo>
                  <a:pt x="11370" y="5222"/>
                </a:lnTo>
                <a:lnTo>
                  <a:pt x="11376" y="5226"/>
                </a:lnTo>
                <a:lnTo>
                  <a:pt x="11380" y="5226"/>
                </a:lnTo>
                <a:lnTo>
                  <a:pt x="11384" y="5226"/>
                </a:lnTo>
                <a:lnTo>
                  <a:pt x="11384" y="5222"/>
                </a:lnTo>
                <a:lnTo>
                  <a:pt x="11382" y="5210"/>
                </a:lnTo>
                <a:lnTo>
                  <a:pt x="11372" y="5194"/>
                </a:lnTo>
                <a:lnTo>
                  <a:pt x="11368" y="5186"/>
                </a:lnTo>
                <a:lnTo>
                  <a:pt x="11364" y="5184"/>
                </a:lnTo>
                <a:lnTo>
                  <a:pt x="11360" y="5182"/>
                </a:lnTo>
                <a:lnTo>
                  <a:pt x="11358" y="5182"/>
                </a:lnTo>
                <a:lnTo>
                  <a:pt x="11352" y="5184"/>
                </a:lnTo>
                <a:lnTo>
                  <a:pt x="11346" y="5182"/>
                </a:lnTo>
                <a:lnTo>
                  <a:pt x="11340" y="5178"/>
                </a:lnTo>
                <a:lnTo>
                  <a:pt x="11328" y="5174"/>
                </a:lnTo>
                <a:lnTo>
                  <a:pt x="11326" y="5174"/>
                </a:lnTo>
                <a:lnTo>
                  <a:pt x="11324" y="5176"/>
                </a:lnTo>
                <a:lnTo>
                  <a:pt x="11318" y="5178"/>
                </a:lnTo>
                <a:lnTo>
                  <a:pt x="11312" y="5178"/>
                </a:lnTo>
                <a:lnTo>
                  <a:pt x="11302" y="5178"/>
                </a:lnTo>
                <a:close/>
                <a:moveTo>
                  <a:pt x="11158" y="5128"/>
                </a:moveTo>
                <a:lnTo>
                  <a:pt x="11158" y="5128"/>
                </a:lnTo>
                <a:lnTo>
                  <a:pt x="11156" y="5126"/>
                </a:lnTo>
                <a:lnTo>
                  <a:pt x="11152" y="5122"/>
                </a:lnTo>
                <a:lnTo>
                  <a:pt x="11138" y="5118"/>
                </a:lnTo>
                <a:lnTo>
                  <a:pt x="11132" y="5118"/>
                </a:lnTo>
                <a:lnTo>
                  <a:pt x="11126" y="5120"/>
                </a:lnTo>
                <a:lnTo>
                  <a:pt x="11120" y="5124"/>
                </a:lnTo>
                <a:lnTo>
                  <a:pt x="11118" y="5128"/>
                </a:lnTo>
                <a:lnTo>
                  <a:pt x="11120" y="5132"/>
                </a:lnTo>
                <a:lnTo>
                  <a:pt x="11124" y="5136"/>
                </a:lnTo>
                <a:lnTo>
                  <a:pt x="11132" y="5136"/>
                </a:lnTo>
                <a:lnTo>
                  <a:pt x="11138" y="5136"/>
                </a:lnTo>
                <a:lnTo>
                  <a:pt x="11152" y="5132"/>
                </a:lnTo>
                <a:lnTo>
                  <a:pt x="11156" y="5130"/>
                </a:lnTo>
                <a:lnTo>
                  <a:pt x="11158" y="5128"/>
                </a:lnTo>
                <a:close/>
                <a:moveTo>
                  <a:pt x="11162" y="5130"/>
                </a:moveTo>
                <a:lnTo>
                  <a:pt x="11162" y="5130"/>
                </a:lnTo>
                <a:lnTo>
                  <a:pt x="11162" y="5132"/>
                </a:lnTo>
                <a:lnTo>
                  <a:pt x="11166" y="5134"/>
                </a:lnTo>
                <a:lnTo>
                  <a:pt x="11176" y="5132"/>
                </a:lnTo>
                <a:lnTo>
                  <a:pt x="11200" y="5128"/>
                </a:lnTo>
                <a:lnTo>
                  <a:pt x="11200" y="5126"/>
                </a:lnTo>
                <a:lnTo>
                  <a:pt x="11198" y="5124"/>
                </a:lnTo>
                <a:lnTo>
                  <a:pt x="11184" y="5124"/>
                </a:lnTo>
                <a:lnTo>
                  <a:pt x="11170" y="5124"/>
                </a:lnTo>
                <a:lnTo>
                  <a:pt x="11164" y="5126"/>
                </a:lnTo>
                <a:lnTo>
                  <a:pt x="11162" y="5130"/>
                </a:lnTo>
                <a:close/>
                <a:moveTo>
                  <a:pt x="11242" y="5116"/>
                </a:moveTo>
                <a:lnTo>
                  <a:pt x="11242" y="5116"/>
                </a:lnTo>
                <a:lnTo>
                  <a:pt x="11242" y="5122"/>
                </a:lnTo>
                <a:lnTo>
                  <a:pt x="11246" y="5122"/>
                </a:lnTo>
                <a:lnTo>
                  <a:pt x="11254" y="5122"/>
                </a:lnTo>
                <a:lnTo>
                  <a:pt x="11270" y="5122"/>
                </a:lnTo>
                <a:lnTo>
                  <a:pt x="11272" y="5120"/>
                </a:lnTo>
                <a:lnTo>
                  <a:pt x="11268" y="5112"/>
                </a:lnTo>
                <a:lnTo>
                  <a:pt x="11262" y="5108"/>
                </a:lnTo>
                <a:lnTo>
                  <a:pt x="11258" y="5106"/>
                </a:lnTo>
                <a:lnTo>
                  <a:pt x="11254" y="5104"/>
                </a:lnTo>
                <a:lnTo>
                  <a:pt x="11250" y="5104"/>
                </a:lnTo>
                <a:lnTo>
                  <a:pt x="11246" y="5106"/>
                </a:lnTo>
                <a:lnTo>
                  <a:pt x="11244" y="5108"/>
                </a:lnTo>
                <a:lnTo>
                  <a:pt x="11242" y="5110"/>
                </a:lnTo>
                <a:lnTo>
                  <a:pt x="11242" y="5116"/>
                </a:lnTo>
                <a:close/>
                <a:moveTo>
                  <a:pt x="11340" y="5134"/>
                </a:moveTo>
                <a:lnTo>
                  <a:pt x="11340" y="5134"/>
                </a:lnTo>
                <a:lnTo>
                  <a:pt x="11344" y="5138"/>
                </a:lnTo>
                <a:lnTo>
                  <a:pt x="11352" y="5140"/>
                </a:lnTo>
                <a:lnTo>
                  <a:pt x="11358" y="5140"/>
                </a:lnTo>
                <a:lnTo>
                  <a:pt x="11360" y="5136"/>
                </a:lnTo>
                <a:lnTo>
                  <a:pt x="11362" y="5134"/>
                </a:lnTo>
                <a:lnTo>
                  <a:pt x="11362" y="5126"/>
                </a:lnTo>
                <a:lnTo>
                  <a:pt x="11360" y="5122"/>
                </a:lnTo>
                <a:lnTo>
                  <a:pt x="11354" y="5122"/>
                </a:lnTo>
                <a:lnTo>
                  <a:pt x="11346" y="5124"/>
                </a:lnTo>
                <a:lnTo>
                  <a:pt x="11336" y="5130"/>
                </a:lnTo>
                <a:lnTo>
                  <a:pt x="11336" y="5132"/>
                </a:lnTo>
                <a:lnTo>
                  <a:pt x="11340" y="5134"/>
                </a:lnTo>
                <a:close/>
                <a:moveTo>
                  <a:pt x="11380" y="5104"/>
                </a:moveTo>
                <a:lnTo>
                  <a:pt x="11380" y="5104"/>
                </a:lnTo>
                <a:lnTo>
                  <a:pt x="11382" y="5104"/>
                </a:lnTo>
                <a:lnTo>
                  <a:pt x="11384" y="5102"/>
                </a:lnTo>
                <a:lnTo>
                  <a:pt x="11386" y="5096"/>
                </a:lnTo>
                <a:lnTo>
                  <a:pt x="11386" y="5090"/>
                </a:lnTo>
                <a:lnTo>
                  <a:pt x="11386" y="5086"/>
                </a:lnTo>
                <a:lnTo>
                  <a:pt x="11386" y="5084"/>
                </a:lnTo>
                <a:lnTo>
                  <a:pt x="11380" y="5084"/>
                </a:lnTo>
                <a:lnTo>
                  <a:pt x="11374" y="5084"/>
                </a:lnTo>
                <a:lnTo>
                  <a:pt x="11370" y="5086"/>
                </a:lnTo>
                <a:lnTo>
                  <a:pt x="11370" y="5088"/>
                </a:lnTo>
                <a:lnTo>
                  <a:pt x="11370" y="5090"/>
                </a:lnTo>
                <a:lnTo>
                  <a:pt x="11374" y="5096"/>
                </a:lnTo>
                <a:lnTo>
                  <a:pt x="11380" y="5104"/>
                </a:lnTo>
                <a:close/>
                <a:moveTo>
                  <a:pt x="11362" y="5052"/>
                </a:moveTo>
                <a:lnTo>
                  <a:pt x="11362" y="5052"/>
                </a:lnTo>
                <a:lnTo>
                  <a:pt x="11368" y="5054"/>
                </a:lnTo>
                <a:lnTo>
                  <a:pt x="11372" y="5056"/>
                </a:lnTo>
                <a:lnTo>
                  <a:pt x="11378" y="5060"/>
                </a:lnTo>
                <a:lnTo>
                  <a:pt x="11384" y="5060"/>
                </a:lnTo>
                <a:lnTo>
                  <a:pt x="11386" y="5058"/>
                </a:lnTo>
                <a:lnTo>
                  <a:pt x="11382" y="5054"/>
                </a:lnTo>
                <a:lnTo>
                  <a:pt x="11380" y="5052"/>
                </a:lnTo>
                <a:lnTo>
                  <a:pt x="11380" y="5050"/>
                </a:lnTo>
                <a:lnTo>
                  <a:pt x="11384" y="5052"/>
                </a:lnTo>
                <a:lnTo>
                  <a:pt x="11388" y="5056"/>
                </a:lnTo>
                <a:lnTo>
                  <a:pt x="11394" y="5058"/>
                </a:lnTo>
                <a:lnTo>
                  <a:pt x="11398" y="5056"/>
                </a:lnTo>
                <a:lnTo>
                  <a:pt x="11400" y="5054"/>
                </a:lnTo>
                <a:lnTo>
                  <a:pt x="11400" y="5052"/>
                </a:lnTo>
                <a:lnTo>
                  <a:pt x="11394" y="5046"/>
                </a:lnTo>
                <a:lnTo>
                  <a:pt x="11384" y="5040"/>
                </a:lnTo>
                <a:lnTo>
                  <a:pt x="11378" y="5040"/>
                </a:lnTo>
                <a:lnTo>
                  <a:pt x="11372" y="5040"/>
                </a:lnTo>
                <a:lnTo>
                  <a:pt x="11364" y="5044"/>
                </a:lnTo>
                <a:lnTo>
                  <a:pt x="11358" y="5046"/>
                </a:lnTo>
                <a:lnTo>
                  <a:pt x="11358" y="5050"/>
                </a:lnTo>
                <a:lnTo>
                  <a:pt x="11362" y="5052"/>
                </a:lnTo>
                <a:close/>
                <a:moveTo>
                  <a:pt x="11246" y="4990"/>
                </a:moveTo>
                <a:lnTo>
                  <a:pt x="11246" y="4990"/>
                </a:lnTo>
                <a:lnTo>
                  <a:pt x="11248" y="4998"/>
                </a:lnTo>
                <a:lnTo>
                  <a:pt x="11246" y="5006"/>
                </a:lnTo>
                <a:lnTo>
                  <a:pt x="11246" y="5012"/>
                </a:lnTo>
                <a:lnTo>
                  <a:pt x="11248" y="5016"/>
                </a:lnTo>
                <a:lnTo>
                  <a:pt x="11250" y="5020"/>
                </a:lnTo>
                <a:lnTo>
                  <a:pt x="11252" y="5024"/>
                </a:lnTo>
                <a:lnTo>
                  <a:pt x="11254" y="5028"/>
                </a:lnTo>
                <a:lnTo>
                  <a:pt x="11252" y="5038"/>
                </a:lnTo>
                <a:lnTo>
                  <a:pt x="11252" y="5046"/>
                </a:lnTo>
                <a:lnTo>
                  <a:pt x="11254" y="5050"/>
                </a:lnTo>
                <a:lnTo>
                  <a:pt x="11256" y="5056"/>
                </a:lnTo>
                <a:lnTo>
                  <a:pt x="11270" y="5074"/>
                </a:lnTo>
                <a:lnTo>
                  <a:pt x="11276" y="5080"/>
                </a:lnTo>
                <a:lnTo>
                  <a:pt x="11278" y="5082"/>
                </a:lnTo>
                <a:lnTo>
                  <a:pt x="11282" y="5082"/>
                </a:lnTo>
                <a:lnTo>
                  <a:pt x="11284" y="5082"/>
                </a:lnTo>
                <a:lnTo>
                  <a:pt x="11282" y="5080"/>
                </a:lnTo>
                <a:lnTo>
                  <a:pt x="11278" y="5076"/>
                </a:lnTo>
                <a:lnTo>
                  <a:pt x="11272" y="5068"/>
                </a:lnTo>
                <a:lnTo>
                  <a:pt x="11268" y="5058"/>
                </a:lnTo>
                <a:lnTo>
                  <a:pt x="11264" y="5046"/>
                </a:lnTo>
                <a:lnTo>
                  <a:pt x="11262" y="5036"/>
                </a:lnTo>
                <a:lnTo>
                  <a:pt x="11262" y="5026"/>
                </a:lnTo>
                <a:lnTo>
                  <a:pt x="11266" y="5018"/>
                </a:lnTo>
                <a:lnTo>
                  <a:pt x="11268" y="5018"/>
                </a:lnTo>
                <a:lnTo>
                  <a:pt x="11270" y="5016"/>
                </a:lnTo>
                <a:lnTo>
                  <a:pt x="11278" y="5018"/>
                </a:lnTo>
                <a:lnTo>
                  <a:pt x="11290" y="5024"/>
                </a:lnTo>
                <a:lnTo>
                  <a:pt x="11294" y="5026"/>
                </a:lnTo>
                <a:lnTo>
                  <a:pt x="11298" y="5026"/>
                </a:lnTo>
                <a:lnTo>
                  <a:pt x="11298" y="5024"/>
                </a:lnTo>
                <a:lnTo>
                  <a:pt x="11298" y="5022"/>
                </a:lnTo>
                <a:lnTo>
                  <a:pt x="11294" y="5014"/>
                </a:lnTo>
                <a:lnTo>
                  <a:pt x="11288" y="5012"/>
                </a:lnTo>
                <a:lnTo>
                  <a:pt x="11282" y="5008"/>
                </a:lnTo>
                <a:lnTo>
                  <a:pt x="11278" y="5006"/>
                </a:lnTo>
                <a:lnTo>
                  <a:pt x="11276" y="5004"/>
                </a:lnTo>
                <a:lnTo>
                  <a:pt x="11274" y="5002"/>
                </a:lnTo>
                <a:lnTo>
                  <a:pt x="11276" y="5000"/>
                </a:lnTo>
                <a:lnTo>
                  <a:pt x="11282" y="4994"/>
                </a:lnTo>
                <a:lnTo>
                  <a:pt x="11290" y="4990"/>
                </a:lnTo>
                <a:lnTo>
                  <a:pt x="11292" y="4988"/>
                </a:lnTo>
                <a:lnTo>
                  <a:pt x="11294" y="4984"/>
                </a:lnTo>
                <a:lnTo>
                  <a:pt x="11296" y="4974"/>
                </a:lnTo>
                <a:lnTo>
                  <a:pt x="11294" y="4970"/>
                </a:lnTo>
                <a:lnTo>
                  <a:pt x="11292" y="4966"/>
                </a:lnTo>
                <a:lnTo>
                  <a:pt x="11290" y="4964"/>
                </a:lnTo>
                <a:lnTo>
                  <a:pt x="11284" y="4964"/>
                </a:lnTo>
                <a:lnTo>
                  <a:pt x="11278" y="4968"/>
                </a:lnTo>
                <a:lnTo>
                  <a:pt x="11274" y="4974"/>
                </a:lnTo>
                <a:lnTo>
                  <a:pt x="11266" y="4988"/>
                </a:lnTo>
                <a:lnTo>
                  <a:pt x="11262" y="4998"/>
                </a:lnTo>
                <a:lnTo>
                  <a:pt x="11260" y="5000"/>
                </a:lnTo>
                <a:lnTo>
                  <a:pt x="11258" y="4998"/>
                </a:lnTo>
                <a:lnTo>
                  <a:pt x="11256" y="4992"/>
                </a:lnTo>
                <a:lnTo>
                  <a:pt x="11258" y="4988"/>
                </a:lnTo>
                <a:lnTo>
                  <a:pt x="11262" y="4982"/>
                </a:lnTo>
                <a:lnTo>
                  <a:pt x="11266" y="4972"/>
                </a:lnTo>
                <a:lnTo>
                  <a:pt x="11268" y="4966"/>
                </a:lnTo>
                <a:lnTo>
                  <a:pt x="11268" y="4962"/>
                </a:lnTo>
                <a:lnTo>
                  <a:pt x="11264" y="4954"/>
                </a:lnTo>
                <a:lnTo>
                  <a:pt x="11262" y="4950"/>
                </a:lnTo>
                <a:lnTo>
                  <a:pt x="11262" y="4946"/>
                </a:lnTo>
                <a:lnTo>
                  <a:pt x="11262" y="4944"/>
                </a:lnTo>
                <a:lnTo>
                  <a:pt x="11266" y="4932"/>
                </a:lnTo>
                <a:lnTo>
                  <a:pt x="11258" y="4936"/>
                </a:lnTo>
                <a:lnTo>
                  <a:pt x="11254" y="4940"/>
                </a:lnTo>
                <a:lnTo>
                  <a:pt x="11250" y="4946"/>
                </a:lnTo>
                <a:lnTo>
                  <a:pt x="11246" y="4960"/>
                </a:lnTo>
                <a:lnTo>
                  <a:pt x="11244" y="4976"/>
                </a:lnTo>
                <a:lnTo>
                  <a:pt x="11244" y="4984"/>
                </a:lnTo>
                <a:lnTo>
                  <a:pt x="11246" y="4990"/>
                </a:lnTo>
                <a:close/>
                <a:moveTo>
                  <a:pt x="11276" y="4936"/>
                </a:moveTo>
                <a:lnTo>
                  <a:pt x="11276" y="4936"/>
                </a:lnTo>
                <a:lnTo>
                  <a:pt x="11276" y="4940"/>
                </a:lnTo>
                <a:lnTo>
                  <a:pt x="11280" y="4942"/>
                </a:lnTo>
                <a:lnTo>
                  <a:pt x="11284" y="4940"/>
                </a:lnTo>
                <a:lnTo>
                  <a:pt x="11288" y="4936"/>
                </a:lnTo>
                <a:lnTo>
                  <a:pt x="11290" y="4930"/>
                </a:lnTo>
                <a:lnTo>
                  <a:pt x="11292" y="4924"/>
                </a:lnTo>
                <a:lnTo>
                  <a:pt x="11294" y="4918"/>
                </a:lnTo>
                <a:lnTo>
                  <a:pt x="11292" y="4914"/>
                </a:lnTo>
                <a:lnTo>
                  <a:pt x="11288" y="4912"/>
                </a:lnTo>
                <a:lnTo>
                  <a:pt x="11286" y="4912"/>
                </a:lnTo>
                <a:lnTo>
                  <a:pt x="11282" y="4912"/>
                </a:lnTo>
                <a:lnTo>
                  <a:pt x="11280" y="4916"/>
                </a:lnTo>
                <a:lnTo>
                  <a:pt x="11276" y="4926"/>
                </a:lnTo>
                <a:lnTo>
                  <a:pt x="11276" y="4936"/>
                </a:lnTo>
                <a:close/>
                <a:moveTo>
                  <a:pt x="11022" y="5302"/>
                </a:moveTo>
                <a:lnTo>
                  <a:pt x="11022" y="5302"/>
                </a:lnTo>
                <a:lnTo>
                  <a:pt x="11024" y="5306"/>
                </a:lnTo>
                <a:lnTo>
                  <a:pt x="11026" y="5302"/>
                </a:lnTo>
                <a:lnTo>
                  <a:pt x="11026" y="5296"/>
                </a:lnTo>
                <a:lnTo>
                  <a:pt x="11022" y="5288"/>
                </a:lnTo>
                <a:lnTo>
                  <a:pt x="11020" y="5284"/>
                </a:lnTo>
                <a:lnTo>
                  <a:pt x="11018" y="5288"/>
                </a:lnTo>
                <a:lnTo>
                  <a:pt x="11018" y="5294"/>
                </a:lnTo>
                <a:lnTo>
                  <a:pt x="11022" y="5302"/>
                </a:lnTo>
                <a:close/>
                <a:moveTo>
                  <a:pt x="11040" y="5304"/>
                </a:moveTo>
                <a:lnTo>
                  <a:pt x="11040" y="5304"/>
                </a:lnTo>
                <a:lnTo>
                  <a:pt x="11048" y="5300"/>
                </a:lnTo>
                <a:lnTo>
                  <a:pt x="11050" y="5296"/>
                </a:lnTo>
                <a:lnTo>
                  <a:pt x="11050" y="5292"/>
                </a:lnTo>
                <a:lnTo>
                  <a:pt x="11050" y="5288"/>
                </a:lnTo>
                <a:lnTo>
                  <a:pt x="11050" y="5284"/>
                </a:lnTo>
                <a:lnTo>
                  <a:pt x="11052" y="5278"/>
                </a:lnTo>
                <a:lnTo>
                  <a:pt x="11054" y="5270"/>
                </a:lnTo>
                <a:lnTo>
                  <a:pt x="11054" y="5266"/>
                </a:lnTo>
                <a:lnTo>
                  <a:pt x="11052" y="5264"/>
                </a:lnTo>
                <a:lnTo>
                  <a:pt x="11048" y="5264"/>
                </a:lnTo>
                <a:lnTo>
                  <a:pt x="11046" y="5264"/>
                </a:lnTo>
                <a:lnTo>
                  <a:pt x="11040" y="5270"/>
                </a:lnTo>
                <a:lnTo>
                  <a:pt x="11038" y="5274"/>
                </a:lnTo>
                <a:lnTo>
                  <a:pt x="11038" y="5278"/>
                </a:lnTo>
                <a:lnTo>
                  <a:pt x="11038" y="5288"/>
                </a:lnTo>
                <a:lnTo>
                  <a:pt x="11036" y="5298"/>
                </a:lnTo>
                <a:lnTo>
                  <a:pt x="11036" y="5304"/>
                </a:lnTo>
                <a:lnTo>
                  <a:pt x="11038" y="5304"/>
                </a:lnTo>
                <a:lnTo>
                  <a:pt x="11040" y="5304"/>
                </a:lnTo>
                <a:close/>
                <a:moveTo>
                  <a:pt x="11052" y="5316"/>
                </a:moveTo>
                <a:lnTo>
                  <a:pt x="11052" y="5316"/>
                </a:lnTo>
                <a:lnTo>
                  <a:pt x="11056" y="5318"/>
                </a:lnTo>
                <a:lnTo>
                  <a:pt x="11058" y="5316"/>
                </a:lnTo>
                <a:lnTo>
                  <a:pt x="11060" y="5308"/>
                </a:lnTo>
                <a:lnTo>
                  <a:pt x="11062" y="5306"/>
                </a:lnTo>
                <a:lnTo>
                  <a:pt x="11066" y="5304"/>
                </a:lnTo>
                <a:lnTo>
                  <a:pt x="11072" y="5302"/>
                </a:lnTo>
                <a:lnTo>
                  <a:pt x="11074" y="5302"/>
                </a:lnTo>
                <a:lnTo>
                  <a:pt x="11074" y="5300"/>
                </a:lnTo>
                <a:lnTo>
                  <a:pt x="11068" y="5292"/>
                </a:lnTo>
                <a:lnTo>
                  <a:pt x="11064" y="5286"/>
                </a:lnTo>
                <a:lnTo>
                  <a:pt x="11064" y="5282"/>
                </a:lnTo>
                <a:lnTo>
                  <a:pt x="11064" y="5278"/>
                </a:lnTo>
                <a:lnTo>
                  <a:pt x="11068" y="5274"/>
                </a:lnTo>
                <a:lnTo>
                  <a:pt x="11072" y="5268"/>
                </a:lnTo>
                <a:lnTo>
                  <a:pt x="11072" y="5264"/>
                </a:lnTo>
                <a:lnTo>
                  <a:pt x="11070" y="5258"/>
                </a:lnTo>
                <a:lnTo>
                  <a:pt x="11068" y="5254"/>
                </a:lnTo>
                <a:lnTo>
                  <a:pt x="11066" y="5252"/>
                </a:lnTo>
                <a:lnTo>
                  <a:pt x="11064" y="5252"/>
                </a:lnTo>
                <a:lnTo>
                  <a:pt x="11062" y="5256"/>
                </a:lnTo>
                <a:lnTo>
                  <a:pt x="11058" y="5270"/>
                </a:lnTo>
                <a:lnTo>
                  <a:pt x="11056" y="5286"/>
                </a:lnTo>
                <a:lnTo>
                  <a:pt x="11056" y="5294"/>
                </a:lnTo>
                <a:lnTo>
                  <a:pt x="11052" y="5300"/>
                </a:lnTo>
                <a:lnTo>
                  <a:pt x="11048" y="5306"/>
                </a:lnTo>
                <a:lnTo>
                  <a:pt x="11046" y="5310"/>
                </a:lnTo>
                <a:lnTo>
                  <a:pt x="11046" y="5312"/>
                </a:lnTo>
                <a:lnTo>
                  <a:pt x="11052" y="5316"/>
                </a:lnTo>
                <a:close/>
                <a:moveTo>
                  <a:pt x="11240" y="5058"/>
                </a:moveTo>
                <a:lnTo>
                  <a:pt x="11240" y="5058"/>
                </a:lnTo>
                <a:lnTo>
                  <a:pt x="11240" y="5062"/>
                </a:lnTo>
                <a:lnTo>
                  <a:pt x="11242" y="5068"/>
                </a:lnTo>
                <a:lnTo>
                  <a:pt x="11246" y="5074"/>
                </a:lnTo>
                <a:lnTo>
                  <a:pt x="11250" y="5076"/>
                </a:lnTo>
                <a:lnTo>
                  <a:pt x="11252" y="5072"/>
                </a:lnTo>
                <a:lnTo>
                  <a:pt x="11252" y="5064"/>
                </a:lnTo>
                <a:lnTo>
                  <a:pt x="11250" y="5058"/>
                </a:lnTo>
                <a:lnTo>
                  <a:pt x="11248" y="5054"/>
                </a:lnTo>
                <a:lnTo>
                  <a:pt x="11244" y="5054"/>
                </a:lnTo>
                <a:lnTo>
                  <a:pt x="11240" y="5058"/>
                </a:lnTo>
                <a:close/>
                <a:moveTo>
                  <a:pt x="11412" y="5392"/>
                </a:moveTo>
                <a:lnTo>
                  <a:pt x="11412" y="5392"/>
                </a:lnTo>
                <a:lnTo>
                  <a:pt x="11412" y="5390"/>
                </a:lnTo>
                <a:lnTo>
                  <a:pt x="11410" y="5390"/>
                </a:lnTo>
                <a:lnTo>
                  <a:pt x="11406" y="5392"/>
                </a:lnTo>
                <a:lnTo>
                  <a:pt x="11402" y="5398"/>
                </a:lnTo>
                <a:lnTo>
                  <a:pt x="11398" y="5406"/>
                </a:lnTo>
                <a:lnTo>
                  <a:pt x="11394" y="5420"/>
                </a:lnTo>
                <a:lnTo>
                  <a:pt x="11394" y="5426"/>
                </a:lnTo>
                <a:lnTo>
                  <a:pt x="11396" y="5426"/>
                </a:lnTo>
                <a:lnTo>
                  <a:pt x="11406" y="5420"/>
                </a:lnTo>
                <a:lnTo>
                  <a:pt x="11412" y="5412"/>
                </a:lnTo>
                <a:lnTo>
                  <a:pt x="11414" y="5402"/>
                </a:lnTo>
                <a:lnTo>
                  <a:pt x="11412" y="5392"/>
                </a:lnTo>
                <a:close/>
                <a:moveTo>
                  <a:pt x="11514" y="5376"/>
                </a:moveTo>
                <a:lnTo>
                  <a:pt x="11514" y="5376"/>
                </a:lnTo>
                <a:lnTo>
                  <a:pt x="11522" y="5372"/>
                </a:lnTo>
                <a:lnTo>
                  <a:pt x="11526" y="5366"/>
                </a:lnTo>
                <a:lnTo>
                  <a:pt x="11526" y="5360"/>
                </a:lnTo>
                <a:lnTo>
                  <a:pt x="11520" y="5352"/>
                </a:lnTo>
                <a:lnTo>
                  <a:pt x="11516" y="5346"/>
                </a:lnTo>
                <a:lnTo>
                  <a:pt x="11512" y="5346"/>
                </a:lnTo>
                <a:lnTo>
                  <a:pt x="11510" y="5350"/>
                </a:lnTo>
                <a:lnTo>
                  <a:pt x="11510" y="5356"/>
                </a:lnTo>
                <a:lnTo>
                  <a:pt x="11510" y="5370"/>
                </a:lnTo>
                <a:lnTo>
                  <a:pt x="11512" y="5374"/>
                </a:lnTo>
                <a:lnTo>
                  <a:pt x="11514" y="5376"/>
                </a:lnTo>
                <a:close/>
                <a:moveTo>
                  <a:pt x="10442" y="5192"/>
                </a:moveTo>
                <a:lnTo>
                  <a:pt x="10442" y="5192"/>
                </a:lnTo>
                <a:lnTo>
                  <a:pt x="10446" y="5198"/>
                </a:lnTo>
                <a:lnTo>
                  <a:pt x="10448" y="5198"/>
                </a:lnTo>
                <a:lnTo>
                  <a:pt x="10450" y="5194"/>
                </a:lnTo>
                <a:lnTo>
                  <a:pt x="10452" y="5192"/>
                </a:lnTo>
                <a:lnTo>
                  <a:pt x="10454" y="5192"/>
                </a:lnTo>
                <a:lnTo>
                  <a:pt x="10458" y="5194"/>
                </a:lnTo>
                <a:lnTo>
                  <a:pt x="10462" y="5194"/>
                </a:lnTo>
                <a:lnTo>
                  <a:pt x="10468" y="5188"/>
                </a:lnTo>
                <a:lnTo>
                  <a:pt x="10470" y="5180"/>
                </a:lnTo>
                <a:lnTo>
                  <a:pt x="10470" y="5176"/>
                </a:lnTo>
                <a:lnTo>
                  <a:pt x="10470" y="5174"/>
                </a:lnTo>
                <a:lnTo>
                  <a:pt x="10464" y="5168"/>
                </a:lnTo>
                <a:lnTo>
                  <a:pt x="10456" y="5164"/>
                </a:lnTo>
                <a:lnTo>
                  <a:pt x="10450" y="5162"/>
                </a:lnTo>
                <a:lnTo>
                  <a:pt x="10448" y="5164"/>
                </a:lnTo>
                <a:lnTo>
                  <a:pt x="10444" y="5166"/>
                </a:lnTo>
                <a:lnTo>
                  <a:pt x="10442" y="5170"/>
                </a:lnTo>
                <a:lnTo>
                  <a:pt x="10440" y="5182"/>
                </a:lnTo>
                <a:lnTo>
                  <a:pt x="10440" y="5186"/>
                </a:lnTo>
                <a:lnTo>
                  <a:pt x="10442" y="5192"/>
                </a:lnTo>
                <a:close/>
                <a:moveTo>
                  <a:pt x="10396" y="5160"/>
                </a:moveTo>
                <a:lnTo>
                  <a:pt x="10396" y="5160"/>
                </a:lnTo>
                <a:lnTo>
                  <a:pt x="10392" y="5156"/>
                </a:lnTo>
                <a:lnTo>
                  <a:pt x="10388" y="5150"/>
                </a:lnTo>
                <a:lnTo>
                  <a:pt x="10386" y="5132"/>
                </a:lnTo>
                <a:lnTo>
                  <a:pt x="10382" y="5124"/>
                </a:lnTo>
                <a:lnTo>
                  <a:pt x="10380" y="5116"/>
                </a:lnTo>
                <a:lnTo>
                  <a:pt x="10372" y="5112"/>
                </a:lnTo>
                <a:lnTo>
                  <a:pt x="10364" y="5112"/>
                </a:lnTo>
                <a:lnTo>
                  <a:pt x="10356" y="5116"/>
                </a:lnTo>
                <a:lnTo>
                  <a:pt x="10352" y="5120"/>
                </a:lnTo>
                <a:lnTo>
                  <a:pt x="10352" y="5124"/>
                </a:lnTo>
                <a:lnTo>
                  <a:pt x="10352" y="5128"/>
                </a:lnTo>
                <a:lnTo>
                  <a:pt x="10348" y="5130"/>
                </a:lnTo>
                <a:lnTo>
                  <a:pt x="10344" y="5134"/>
                </a:lnTo>
                <a:lnTo>
                  <a:pt x="10342" y="5138"/>
                </a:lnTo>
                <a:lnTo>
                  <a:pt x="10344" y="5140"/>
                </a:lnTo>
                <a:lnTo>
                  <a:pt x="10346" y="5142"/>
                </a:lnTo>
                <a:lnTo>
                  <a:pt x="10354" y="5142"/>
                </a:lnTo>
                <a:lnTo>
                  <a:pt x="10362" y="5142"/>
                </a:lnTo>
                <a:lnTo>
                  <a:pt x="10366" y="5144"/>
                </a:lnTo>
                <a:lnTo>
                  <a:pt x="10368" y="5146"/>
                </a:lnTo>
                <a:lnTo>
                  <a:pt x="10372" y="5158"/>
                </a:lnTo>
                <a:lnTo>
                  <a:pt x="10376" y="5170"/>
                </a:lnTo>
                <a:lnTo>
                  <a:pt x="10378" y="5176"/>
                </a:lnTo>
                <a:lnTo>
                  <a:pt x="10384" y="5178"/>
                </a:lnTo>
                <a:lnTo>
                  <a:pt x="10392" y="5182"/>
                </a:lnTo>
                <a:lnTo>
                  <a:pt x="10396" y="5186"/>
                </a:lnTo>
                <a:lnTo>
                  <a:pt x="10400" y="5190"/>
                </a:lnTo>
                <a:lnTo>
                  <a:pt x="10404" y="5190"/>
                </a:lnTo>
                <a:lnTo>
                  <a:pt x="10406" y="5188"/>
                </a:lnTo>
                <a:lnTo>
                  <a:pt x="10408" y="5186"/>
                </a:lnTo>
                <a:lnTo>
                  <a:pt x="10406" y="5182"/>
                </a:lnTo>
                <a:lnTo>
                  <a:pt x="10404" y="5178"/>
                </a:lnTo>
                <a:lnTo>
                  <a:pt x="10404" y="5176"/>
                </a:lnTo>
                <a:lnTo>
                  <a:pt x="10404" y="5172"/>
                </a:lnTo>
                <a:lnTo>
                  <a:pt x="10406" y="5168"/>
                </a:lnTo>
                <a:lnTo>
                  <a:pt x="10406" y="5166"/>
                </a:lnTo>
                <a:lnTo>
                  <a:pt x="10402" y="5162"/>
                </a:lnTo>
                <a:lnTo>
                  <a:pt x="10396" y="5160"/>
                </a:lnTo>
                <a:close/>
                <a:moveTo>
                  <a:pt x="10682" y="5374"/>
                </a:moveTo>
                <a:lnTo>
                  <a:pt x="10682" y="5374"/>
                </a:lnTo>
                <a:lnTo>
                  <a:pt x="10670" y="5374"/>
                </a:lnTo>
                <a:lnTo>
                  <a:pt x="10658" y="5376"/>
                </a:lnTo>
                <a:lnTo>
                  <a:pt x="10652" y="5378"/>
                </a:lnTo>
                <a:lnTo>
                  <a:pt x="10652" y="5382"/>
                </a:lnTo>
                <a:lnTo>
                  <a:pt x="10652" y="5384"/>
                </a:lnTo>
                <a:lnTo>
                  <a:pt x="10656" y="5388"/>
                </a:lnTo>
                <a:lnTo>
                  <a:pt x="10668" y="5390"/>
                </a:lnTo>
                <a:lnTo>
                  <a:pt x="10680" y="5392"/>
                </a:lnTo>
                <a:lnTo>
                  <a:pt x="10684" y="5390"/>
                </a:lnTo>
                <a:lnTo>
                  <a:pt x="10686" y="5390"/>
                </a:lnTo>
                <a:lnTo>
                  <a:pt x="10692" y="5386"/>
                </a:lnTo>
                <a:lnTo>
                  <a:pt x="10700" y="5382"/>
                </a:lnTo>
                <a:lnTo>
                  <a:pt x="10706" y="5378"/>
                </a:lnTo>
                <a:lnTo>
                  <a:pt x="10706" y="5376"/>
                </a:lnTo>
                <a:lnTo>
                  <a:pt x="10702" y="5374"/>
                </a:lnTo>
                <a:lnTo>
                  <a:pt x="10700" y="5374"/>
                </a:lnTo>
                <a:lnTo>
                  <a:pt x="10694" y="5374"/>
                </a:lnTo>
                <a:lnTo>
                  <a:pt x="10682" y="5374"/>
                </a:lnTo>
                <a:close/>
                <a:moveTo>
                  <a:pt x="11090" y="5452"/>
                </a:moveTo>
                <a:lnTo>
                  <a:pt x="11090" y="5452"/>
                </a:lnTo>
                <a:lnTo>
                  <a:pt x="11092" y="5450"/>
                </a:lnTo>
                <a:lnTo>
                  <a:pt x="11094" y="5448"/>
                </a:lnTo>
                <a:lnTo>
                  <a:pt x="11096" y="5446"/>
                </a:lnTo>
                <a:lnTo>
                  <a:pt x="11098" y="5444"/>
                </a:lnTo>
                <a:lnTo>
                  <a:pt x="11102" y="5440"/>
                </a:lnTo>
                <a:lnTo>
                  <a:pt x="11100" y="5440"/>
                </a:lnTo>
                <a:lnTo>
                  <a:pt x="11096" y="5438"/>
                </a:lnTo>
                <a:lnTo>
                  <a:pt x="11086" y="5440"/>
                </a:lnTo>
                <a:lnTo>
                  <a:pt x="11082" y="5442"/>
                </a:lnTo>
                <a:lnTo>
                  <a:pt x="11082" y="5444"/>
                </a:lnTo>
                <a:lnTo>
                  <a:pt x="11082" y="5446"/>
                </a:lnTo>
                <a:lnTo>
                  <a:pt x="11082" y="5448"/>
                </a:lnTo>
                <a:lnTo>
                  <a:pt x="11076" y="5452"/>
                </a:lnTo>
                <a:lnTo>
                  <a:pt x="11074" y="5454"/>
                </a:lnTo>
                <a:lnTo>
                  <a:pt x="11074" y="5456"/>
                </a:lnTo>
                <a:lnTo>
                  <a:pt x="11086" y="5456"/>
                </a:lnTo>
                <a:lnTo>
                  <a:pt x="11088" y="5456"/>
                </a:lnTo>
                <a:lnTo>
                  <a:pt x="11088" y="5454"/>
                </a:lnTo>
                <a:lnTo>
                  <a:pt x="11088" y="5452"/>
                </a:lnTo>
                <a:lnTo>
                  <a:pt x="11090" y="5452"/>
                </a:lnTo>
                <a:close/>
                <a:moveTo>
                  <a:pt x="11138" y="5436"/>
                </a:moveTo>
                <a:lnTo>
                  <a:pt x="11138" y="5436"/>
                </a:lnTo>
                <a:lnTo>
                  <a:pt x="11130" y="5436"/>
                </a:lnTo>
                <a:lnTo>
                  <a:pt x="11126" y="5434"/>
                </a:lnTo>
                <a:lnTo>
                  <a:pt x="11124" y="5434"/>
                </a:lnTo>
                <a:lnTo>
                  <a:pt x="11122" y="5434"/>
                </a:lnTo>
                <a:lnTo>
                  <a:pt x="11120" y="5442"/>
                </a:lnTo>
                <a:lnTo>
                  <a:pt x="11118" y="5448"/>
                </a:lnTo>
                <a:lnTo>
                  <a:pt x="11120" y="5450"/>
                </a:lnTo>
                <a:lnTo>
                  <a:pt x="11122" y="5450"/>
                </a:lnTo>
                <a:lnTo>
                  <a:pt x="11132" y="5448"/>
                </a:lnTo>
                <a:lnTo>
                  <a:pt x="11146" y="5446"/>
                </a:lnTo>
                <a:lnTo>
                  <a:pt x="11148" y="5446"/>
                </a:lnTo>
                <a:lnTo>
                  <a:pt x="11152" y="5444"/>
                </a:lnTo>
                <a:lnTo>
                  <a:pt x="11152" y="5442"/>
                </a:lnTo>
                <a:lnTo>
                  <a:pt x="11152" y="5440"/>
                </a:lnTo>
                <a:lnTo>
                  <a:pt x="11146" y="5438"/>
                </a:lnTo>
                <a:lnTo>
                  <a:pt x="11142" y="5436"/>
                </a:lnTo>
                <a:lnTo>
                  <a:pt x="11138" y="5436"/>
                </a:lnTo>
                <a:close/>
                <a:moveTo>
                  <a:pt x="10372" y="5326"/>
                </a:moveTo>
                <a:lnTo>
                  <a:pt x="10372" y="5326"/>
                </a:lnTo>
                <a:lnTo>
                  <a:pt x="10374" y="5322"/>
                </a:lnTo>
                <a:lnTo>
                  <a:pt x="10374" y="5318"/>
                </a:lnTo>
                <a:lnTo>
                  <a:pt x="10376" y="5306"/>
                </a:lnTo>
                <a:lnTo>
                  <a:pt x="10376" y="5292"/>
                </a:lnTo>
                <a:lnTo>
                  <a:pt x="10376" y="5274"/>
                </a:lnTo>
                <a:lnTo>
                  <a:pt x="10376" y="5262"/>
                </a:lnTo>
                <a:lnTo>
                  <a:pt x="10374" y="5254"/>
                </a:lnTo>
                <a:lnTo>
                  <a:pt x="10374" y="5250"/>
                </a:lnTo>
                <a:lnTo>
                  <a:pt x="10376" y="5238"/>
                </a:lnTo>
                <a:lnTo>
                  <a:pt x="10376" y="5226"/>
                </a:lnTo>
                <a:lnTo>
                  <a:pt x="10376" y="5220"/>
                </a:lnTo>
                <a:lnTo>
                  <a:pt x="10376" y="5214"/>
                </a:lnTo>
                <a:lnTo>
                  <a:pt x="10380" y="5204"/>
                </a:lnTo>
                <a:lnTo>
                  <a:pt x="10382" y="5198"/>
                </a:lnTo>
                <a:lnTo>
                  <a:pt x="10384" y="5192"/>
                </a:lnTo>
                <a:lnTo>
                  <a:pt x="10382" y="5190"/>
                </a:lnTo>
                <a:lnTo>
                  <a:pt x="10380" y="5186"/>
                </a:lnTo>
                <a:lnTo>
                  <a:pt x="10374" y="5180"/>
                </a:lnTo>
                <a:lnTo>
                  <a:pt x="10372" y="5176"/>
                </a:lnTo>
                <a:lnTo>
                  <a:pt x="10368" y="5172"/>
                </a:lnTo>
                <a:lnTo>
                  <a:pt x="10364" y="5160"/>
                </a:lnTo>
                <a:lnTo>
                  <a:pt x="10360" y="5154"/>
                </a:lnTo>
                <a:lnTo>
                  <a:pt x="10356" y="5154"/>
                </a:lnTo>
                <a:lnTo>
                  <a:pt x="10348" y="5156"/>
                </a:lnTo>
                <a:lnTo>
                  <a:pt x="10344" y="5158"/>
                </a:lnTo>
                <a:lnTo>
                  <a:pt x="10342" y="5156"/>
                </a:lnTo>
                <a:lnTo>
                  <a:pt x="10338" y="5154"/>
                </a:lnTo>
                <a:lnTo>
                  <a:pt x="10334" y="5158"/>
                </a:lnTo>
                <a:lnTo>
                  <a:pt x="10330" y="5162"/>
                </a:lnTo>
                <a:lnTo>
                  <a:pt x="10328" y="5162"/>
                </a:lnTo>
                <a:lnTo>
                  <a:pt x="10330" y="5154"/>
                </a:lnTo>
                <a:lnTo>
                  <a:pt x="10334" y="5144"/>
                </a:lnTo>
                <a:lnTo>
                  <a:pt x="10334" y="5142"/>
                </a:lnTo>
                <a:lnTo>
                  <a:pt x="10330" y="5140"/>
                </a:lnTo>
                <a:lnTo>
                  <a:pt x="10326" y="5136"/>
                </a:lnTo>
                <a:lnTo>
                  <a:pt x="10324" y="5130"/>
                </a:lnTo>
                <a:lnTo>
                  <a:pt x="10320" y="5114"/>
                </a:lnTo>
                <a:lnTo>
                  <a:pt x="10316" y="5104"/>
                </a:lnTo>
                <a:lnTo>
                  <a:pt x="10314" y="5096"/>
                </a:lnTo>
                <a:lnTo>
                  <a:pt x="10310" y="5092"/>
                </a:lnTo>
                <a:lnTo>
                  <a:pt x="10308" y="5090"/>
                </a:lnTo>
                <a:lnTo>
                  <a:pt x="10304" y="5090"/>
                </a:lnTo>
                <a:lnTo>
                  <a:pt x="10298" y="5090"/>
                </a:lnTo>
                <a:lnTo>
                  <a:pt x="10292" y="5088"/>
                </a:lnTo>
                <a:lnTo>
                  <a:pt x="10282" y="5084"/>
                </a:lnTo>
                <a:lnTo>
                  <a:pt x="10278" y="5080"/>
                </a:lnTo>
                <a:lnTo>
                  <a:pt x="10276" y="5076"/>
                </a:lnTo>
                <a:lnTo>
                  <a:pt x="10276" y="5072"/>
                </a:lnTo>
                <a:lnTo>
                  <a:pt x="10278" y="5066"/>
                </a:lnTo>
                <a:lnTo>
                  <a:pt x="10280" y="5062"/>
                </a:lnTo>
                <a:lnTo>
                  <a:pt x="10280" y="5058"/>
                </a:lnTo>
                <a:lnTo>
                  <a:pt x="10278" y="5052"/>
                </a:lnTo>
                <a:lnTo>
                  <a:pt x="10278" y="5048"/>
                </a:lnTo>
                <a:lnTo>
                  <a:pt x="10280" y="5046"/>
                </a:lnTo>
                <a:lnTo>
                  <a:pt x="10284" y="5044"/>
                </a:lnTo>
                <a:lnTo>
                  <a:pt x="10288" y="5040"/>
                </a:lnTo>
                <a:lnTo>
                  <a:pt x="10290" y="5036"/>
                </a:lnTo>
                <a:lnTo>
                  <a:pt x="10290" y="5030"/>
                </a:lnTo>
                <a:lnTo>
                  <a:pt x="10288" y="5026"/>
                </a:lnTo>
                <a:lnTo>
                  <a:pt x="10284" y="5020"/>
                </a:lnTo>
                <a:lnTo>
                  <a:pt x="10280" y="5018"/>
                </a:lnTo>
                <a:lnTo>
                  <a:pt x="10274" y="5016"/>
                </a:lnTo>
                <a:lnTo>
                  <a:pt x="10270" y="5018"/>
                </a:lnTo>
                <a:lnTo>
                  <a:pt x="10264" y="5020"/>
                </a:lnTo>
                <a:lnTo>
                  <a:pt x="10262" y="5018"/>
                </a:lnTo>
                <a:lnTo>
                  <a:pt x="10262" y="5014"/>
                </a:lnTo>
                <a:lnTo>
                  <a:pt x="10260" y="5010"/>
                </a:lnTo>
                <a:lnTo>
                  <a:pt x="10258" y="5008"/>
                </a:lnTo>
                <a:lnTo>
                  <a:pt x="10252" y="5004"/>
                </a:lnTo>
                <a:lnTo>
                  <a:pt x="10244" y="5004"/>
                </a:lnTo>
                <a:lnTo>
                  <a:pt x="10236" y="5000"/>
                </a:lnTo>
                <a:lnTo>
                  <a:pt x="10232" y="4996"/>
                </a:lnTo>
                <a:lnTo>
                  <a:pt x="10228" y="4990"/>
                </a:lnTo>
                <a:lnTo>
                  <a:pt x="10226" y="4982"/>
                </a:lnTo>
                <a:lnTo>
                  <a:pt x="10224" y="4974"/>
                </a:lnTo>
                <a:lnTo>
                  <a:pt x="10220" y="4968"/>
                </a:lnTo>
                <a:lnTo>
                  <a:pt x="10212" y="4962"/>
                </a:lnTo>
                <a:lnTo>
                  <a:pt x="10202" y="4958"/>
                </a:lnTo>
                <a:lnTo>
                  <a:pt x="10196" y="4956"/>
                </a:lnTo>
                <a:lnTo>
                  <a:pt x="10194" y="4952"/>
                </a:lnTo>
                <a:lnTo>
                  <a:pt x="10190" y="4948"/>
                </a:lnTo>
                <a:lnTo>
                  <a:pt x="10190" y="4940"/>
                </a:lnTo>
                <a:lnTo>
                  <a:pt x="10188" y="4936"/>
                </a:lnTo>
                <a:lnTo>
                  <a:pt x="10184" y="4932"/>
                </a:lnTo>
                <a:lnTo>
                  <a:pt x="10176" y="4928"/>
                </a:lnTo>
                <a:lnTo>
                  <a:pt x="10172" y="4926"/>
                </a:lnTo>
                <a:lnTo>
                  <a:pt x="10172" y="4928"/>
                </a:lnTo>
                <a:lnTo>
                  <a:pt x="10170" y="4932"/>
                </a:lnTo>
                <a:lnTo>
                  <a:pt x="10172" y="4940"/>
                </a:lnTo>
                <a:lnTo>
                  <a:pt x="10170" y="4940"/>
                </a:lnTo>
                <a:lnTo>
                  <a:pt x="10168" y="4938"/>
                </a:lnTo>
                <a:lnTo>
                  <a:pt x="10162" y="4934"/>
                </a:lnTo>
                <a:lnTo>
                  <a:pt x="10158" y="4932"/>
                </a:lnTo>
                <a:lnTo>
                  <a:pt x="10154" y="4928"/>
                </a:lnTo>
                <a:lnTo>
                  <a:pt x="10150" y="4918"/>
                </a:lnTo>
                <a:lnTo>
                  <a:pt x="10146" y="4908"/>
                </a:lnTo>
                <a:lnTo>
                  <a:pt x="10144" y="4908"/>
                </a:lnTo>
                <a:lnTo>
                  <a:pt x="10140" y="4908"/>
                </a:lnTo>
                <a:lnTo>
                  <a:pt x="10138" y="4902"/>
                </a:lnTo>
                <a:lnTo>
                  <a:pt x="10132" y="4892"/>
                </a:lnTo>
                <a:lnTo>
                  <a:pt x="10122" y="4880"/>
                </a:lnTo>
                <a:lnTo>
                  <a:pt x="10110" y="4868"/>
                </a:lnTo>
                <a:lnTo>
                  <a:pt x="10104" y="4866"/>
                </a:lnTo>
                <a:lnTo>
                  <a:pt x="10098" y="4862"/>
                </a:lnTo>
                <a:lnTo>
                  <a:pt x="10092" y="4860"/>
                </a:lnTo>
                <a:lnTo>
                  <a:pt x="10088" y="4858"/>
                </a:lnTo>
                <a:lnTo>
                  <a:pt x="10084" y="4852"/>
                </a:lnTo>
                <a:lnTo>
                  <a:pt x="10080" y="4844"/>
                </a:lnTo>
                <a:lnTo>
                  <a:pt x="10078" y="4842"/>
                </a:lnTo>
                <a:lnTo>
                  <a:pt x="10074" y="4842"/>
                </a:lnTo>
                <a:lnTo>
                  <a:pt x="10070" y="4840"/>
                </a:lnTo>
                <a:lnTo>
                  <a:pt x="10068" y="4838"/>
                </a:lnTo>
                <a:lnTo>
                  <a:pt x="10068" y="4832"/>
                </a:lnTo>
                <a:lnTo>
                  <a:pt x="10068" y="4826"/>
                </a:lnTo>
                <a:lnTo>
                  <a:pt x="10066" y="4824"/>
                </a:lnTo>
                <a:lnTo>
                  <a:pt x="10062" y="4822"/>
                </a:lnTo>
                <a:lnTo>
                  <a:pt x="10058" y="4820"/>
                </a:lnTo>
                <a:lnTo>
                  <a:pt x="10056" y="4818"/>
                </a:lnTo>
                <a:lnTo>
                  <a:pt x="10056" y="4812"/>
                </a:lnTo>
                <a:lnTo>
                  <a:pt x="10054" y="4804"/>
                </a:lnTo>
                <a:lnTo>
                  <a:pt x="10050" y="4798"/>
                </a:lnTo>
                <a:lnTo>
                  <a:pt x="10046" y="4790"/>
                </a:lnTo>
                <a:lnTo>
                  <a:pt x="10038" y="4782"/>
                </a:lnTo>
                <a:lnTo>
                  <a:pt x="10036" y="4782"/>
                </a:lnTo>
                <a:lnTo>
                  <a:pt x="10034" y="4782"/>
                </a:lnTo>
                <a:lnTo>
                  <a:pt x="10030" y="4786"/>
                </a:lnTo>
                <a:lnTo>
                  <a:pt x="10028" y="4786"/>
                </a:lnTo>
                <a:lnTo>
                  <a:pt x="10024" y="4784"/>
                </a:lnTo>
                <a:lnTo>
                  <a:pt x="10020" y="4780"/>
                </a:lnTo>
                <a:lnTo>
                  <a:pt x="10016" y="4780"/>
                </a:lnTo>
                <a:lnTo>
                  <a:pt x="10010" y="4782"/>
                </a:lnTo>
                <a:lnTo>
                  <a:pt x="10002" y="4784"/>
                </a:lnTo>
                <a:lnTo>
                  <a:pt x="9996" y="4784"/>
                </a:lnTo>
                <a:lnTo>
                  <a:pt x="9988" y="4784"/>
                </a:lnTo>
                <a:lnTo>
                  <a:pt x="9976" y="4780"/>
                </a:lnTo>
                <a:lnTo>
                  <a:pt x="9974" y="4778"/>
                </a:lnTo>
                <a:lnTo>
                  <a:pt x="9972" y="4776"/>
                </a:lnTo>
                <a:lnTo>
                  <a:pt x="9970" y="4770"/>
                </a:lnTo>
                <a:lnTo>
                  <a:pt x="9966" y="4768"/>
                </a:lnTo>
                <a:lnTo>
                  <a:pt x="9960" y="4764"/>
                </a:lnTo>
                <a:lnTo>
                  <a:pt x="9952" y="4764"/>
                </a:lnTo>
                <a:lnTo>
                  <a:pt x="9946" y="4764"/>
                </a:lnTo>
                <a:lnTo>
                  <a:pt x="9944" y="4770"/>
                </a:lnTo>
                <a:lnTo>
                  <a:pt x="9944" y="4776"/>
                </a:lnTo>
                <a:lnTo>
                  <a:pt x="9946" y="4784"/>
                </a:lnTo>
                <a:lnTo>
                  <a:pt x="9950" y="4792"/>
                </a:lnTo>
                <a:lnTo>
                  <a:pt x="9958" y="4812"/>
                </a:lnTo>
                <a:lnTo>
                  <a:pt x="9968" y="4826"/>
                </a:lnTo>
                <a:lnTo>
                  <a:pt x="9976" y="4834"/>
                </a:lnTo>
                <a:lnTo>
                  <a:pt x="9982" y="4840"/>
                </a:lnTo>
                <a:lnTo>
                  <a:pt x="9990" y="4850"/>
                </a:lnTo>
                <a:lnTo>
                  <a:pt x="9994" y="4854"/>
                </a:lnTo>
                <a:lnTo>
                  <a:pt x="9996" y="4856"/>
                </a:lnTo>
                <a:lnTo>
                  <a:pt x="10002" y="4856"/>
                </a:lnTo>
                <a:lnTo>
                  <a:pt x="10004" y="4858"/>
                </a:lnTo>
                <a:lnTo>
                  <a:pt x="10008" y="4860"/>
                </a:lnTo>
                <a:lnTo>
                  <a:pt x="10012" y="4864"/>
                </a:lnTo>
                <a:lnTo>
                  <a:pt x="10018" y="4872"/>
                </a:lnTo>
                <a:lnTo>
                  <a:pt x="10026" y="4884"/>
                </a:lnTo>
                <a:lnTo>
                  <a:pt x="10026" y="4890"/>
                </a:lnTo>
                <a:lnTo>
                  <a:pt x="10028" y="4892"/>
                </a:lnTo>
                <a:lnTo>
                  <a:pt x="10034" y="4896"/>
                </a:lnTo>
                <a:lnTo>
                  <a:pt x="10040" y="4902"/>
                </a:lnTo>
                <a:lnTo>
                  <a:pt x="10042" y="4906"/>
                </a:lnTo>
                <a:lnTo>
                  <a:pt x="10042" y="4914"/>
                </a:lnTo>
                <a:lnTo>
                  <a:pt x="10044" y="4920"/>
                </a:lnTo>
                <a:lnTo>
                  <a:pt x="10046" y="4924"/>
                </a:lnTo>
                <a:lnTo>
                  <a:pt x="10050" y="4930"/>
                </a:lnTo>
                <a:lnTo>
                  <a:pt x="10060" y="4934"/>
                </a:lnTo>
                <a:lnTo>
                  <a:pt x="10070" y="4940"/>
                </a:lnTo>
                <a:lnTo>
                  <a:pt x="10080" y="4948"/>
                </a:lnTo>
                <a:lnTo>
                  <a:pt x="10086" y="4954"/>
                </a:lnTo>
                <a:lnTo>
                  <a:pt x="10088" y="4958"/>
                </a:lnTo>
                <a:lnTo>
                  <a:pt x="10088" y="4962"/>
                </a:lnTo>
                <a:lnTo>
                  <a:pt x="10086" y="4966"/>
                </a:lnTo>
                <a:lnTo>
                  <a:pt x="10088" y="4970"/>
                </a:lnTo>
                <a:lnTo>
                  <a:pt x="10096" y="4994"/>
                </a:lnTo>
                <a:lnTo>
                  <a:pt x="10102" y="5020"/>
                </a:lnTo>
                <a:lnTo>
                  <a:pt x="10106" y="5026"/>
                </a:lnTo>
                <a:lnTo>
                  <a:pt x="10116" y="5032"/>
                </a:lnTo>
                <a:lnTo>
                  <a:pt x="10122" y="5038"/>
                </a:lnTo>
                <a:lnTo>
                  <a:pt x="10124" y="5044"/>
                </a:lnTo>
                <a:lnTo>
                  <a:pt x="10130" y="5054"/>
                </a:lnTo>
                <a:lnTo>
                  <a:pt x="10144" y="5070"/>
                </a:lnTo>
                <a:lnTo>
                  <a:pt x="10148" y="5076"/>
                </a:lnTo>
                <a:lnTo>
                  <a:pt x="10152" y="5080"/>
                </a:lnTo>
                <a:lnTo>
                  <a:pt x="10152" y="5086"/>
                </a:lnTo>
                <a:lnTo>
                  <a:pt x="10152" y="5090"/>
                </a:lnTo>
                <a:lnTo>
                  <a:pt x="10150" y="5096"/>
                </a:lnTo>
                <a:lnTo>
                  <a:pt x="10152" y="5100"/>
                </a:lnTo>
                <a:lnTo>
                  <a:pt x="10154" y="5104"/>
                </a:lnTo>
                <a:lnTo>
                  <a:pt x="10162" y="5112"/>
                </a:lnTo>
                <a:lnTo>
                  <a:pt x="10166" y="5122"/>
                </a:lnTo>
                <a:lnTo>
                  <a:pt x="10170" y="5132"/>
                </a:lnTo>
                <a:lnTo>
                  <a:pt x="10174" y="5146"/>
                </a:lnTo>
                <a:lnTo>
                  <a:pt x="10178" y="5160"/>
                </a:lnTo>
                <a:lnTo>
                  <a:pt x="10188" y="5176"/>
                </a:lnTo>
                <a:lnTo>
                  <a:pt x="10200" y="5192"/>
                </a:lnTo>
                <a:lnTo>
                  <a:pt x="10214" y="5206"/>
                </a:lnTo>
                <a:lnTo>
                  <a:pt x="10224" y="5218"/>
                </a:lnTo>
                <a:lnTo>
                  <a:pt x="10230" y="5226"/>
                </a:lnTo>
                <a:lnTo>
                  <a:pt x="10238" y="5238"/>
                </a:lnTo>
                <a:lnTo>
                  <a:pt x="10252" y="5254"/>
                </a:lnTo>
                <a:lnTo>
                  <a:pt x="10270" y="5272"/>
                </a:lnTo>
                <a:lnTo>
                  <a:pt x="10282" y="5284"/>
                </a:lnTo>
                <a:lnTo>
                  <a:pt x="10294" y="5294"/>
                </a:lnTo>
                <a:lnTo>
                  <a:pt x="10304" y="5306"/>
                </a:lnTo>
                <a:lnTo>
                  <a:pt x="10314" y="5322"/>
                </a:lnTo>
                <a:lnTo>
                  <a:pt x="10322" y="5332"/>
                </a:lnTo>
                <a:lnTo>
                  <a:pt x="10326" y="5334"/>
                </a:lnTo>
                <a:lnTo>
                  <a:pt x="10326" y="5332"/>
                </a:lnTo>
                <a:lnTo>
                  <a:pt x="10324" y="5320"/>
                </a:lnTo>
                <a:lnTo>
                  <a:pt x="10322" y="5312"/>
                </a:lnTo>
                <a:lnTo>
                  <a:pt x="10322" y="5310"/>
                </a:lnTo>
                <a:lnTo>
                  <a:pt x="10326" y="5310"/>
                </a:lnTo>
                <a:lnTo>
                  <a:pt x="10332" y="5314"/>
                </a:lnTo>
                <a:lnTo>
                  <a:pt x="10338" y="5316"/>
                </a:lnTo>
                <a:lnTo>
                  <a:pt x="10342" y="5318"/>
                </a:lnTo>
                <a:lnTo>
                  <a:pt x="10348" y="5318"/>
                </a:lnTo>
                <a:lnTo>
                  <a:pt x="10348" y="5312"/>
                </a:lnTo>
                <a:lnTo>
                  <a:pt x="10350" y="5308"/>
                </a:lnTo>
                <a:lnTo>
                  <a:pt x="10352" y="5308"/>
                </a:lnTo>
                <a:lnTo>
                  <a:pt x="10358" y="5314"/>
                </a:lnTo>
                <a:lnTo>
                  <a:pt x="10366" y="5324"/>
                </a:lnTo>
                <a:lnTo>
                  <a:pt x="10368" y="5328"/>
                </a:lnTo>
                <a:lnTo>
                  <a:pt x="10372" y="5326"/>
                </a:lnTo>
                <a:close/>
                <a:moveTo>
                  <a:pt x="10716" y="5464"/>
                </a:moveTo>
                <a:lnTo>
                  <a:pt x="10716" y="5464"/>
                </a:lnTo>
                <a:lnTo>
                  <a:pt x="10722" y="5468"/>
                </a:lnTo>
                <a:lnTo>
                  <a:pt x="10724" y="5466"/>
                </a:lnTo>
                <a:lnTo>
                  <a:pt x="10726" y="5466"/>
                </a:lnTo>
                <a:lnTo>
                  <a:pt x="10724" y="5462"/>
                </a:lnTo>
                <a:lnTo>
                  <a:pt x="10722" y="5458"/>
                </a:lnTo>
                <a:lnTo>
                  <a:pt x="10718" y="5454"/>
                </a:lnTo>
                <a:lnTo>
                  <a:pt x="10716" y="5448"/>
                </a:lnTo>
                <a:lnTo>
                  <a:pt x="10720" y="5432"/>
                </a:lnTo>
                <a:lnTo>
                  <a:pt x="10720" y="5426"/>
                </a:lnTo>
                <a:lnTo>
                  <a:pt x="10720" y="5418"/>
                </a:lnTo>
                <a:lnTo>
                  <a:pt x="10716" y="5414"/>
                </a:lnTo>
                <a:lnTo>
                  <a:pt x="10708" y="5410"/>
                </a:lnTo>
                <a:lnTo>
                  <a:pt x="10696" y="5412"/>
                </a:lnTo>
                <a:lnTo>
                  <a:pt x="10686" y="5414"/>
                </a:lnTo>
                <a:lnTo>
                  <a:pt x="10676" y="5416"/>
                </a:lnTo>
                <a:lnTo>
                  <a:pt x="10668" y="5414"/>
                </a:lnTo>
                <a:lnTo>
                  <a:pt x="10660" y="5412"/>
                </a:lnTo>
                <a:lnTo>
                  <a:pt x="10650" y="5406"/>
                </a:lnTo>
                <a:lnTo>
                  <a:pt x="10650" y="5404"/>
                </a:lnTo>
                <a:lnTo>
                  <a:pt x="10650" y="5402"/>
                </a:lnTo>
                <a:lnTo>
                  <a:pt x="10652" y="5396"/>
                </a:lnTo>
                <a:lnTo>
                  <a:pt x="10650" y="5390"/>
                </a:lnTo>
                <a:lnTo>
                  <a:pt x="10648" y="5382"/>
                </a:lnTo>
                <a:lnTo>
                  <a:pt x="10644" y="5376"/>
                </a:lnTo>
                <a:lnTo>
                  <a:pt x="10640" y="5374"/>
                </a:lnTo>
                <a:lnTo>
                  <a:pt x="10636" y="5374"/>
                </a:lnTo>
                <a:lnTo>
                  <a:pt x="10634" y="5374"/>
                </a:lnTo>
                <a:lnTo>
                  <a:pt x="10630" y="5378"/>
                </a:lnTo>
                <a:lnTo>
                  <a:pt x="10626" y="5376"/>
                </a:lnTo>
                <a:lnTo>
                  <a:pt x="10624" y="5374"/>
                </a:lnTo>
                <a:lnTo>
                  <a:pt x="10618" y="5368"/>
                </a:lnTo>
                <a:lnTo>
                  <a:pt x="10616" y="5368"/>
                </a:lnTo>
                <a:lnTo>
                  <a:pt x="10614" y="5370"/>
                </a:lnTo>
                <a:lnTo>
                  <a:pt x="10608" y="5366"/>
                </a:lnTo>
                <a:lnTo>
                  <a:pt x="10606" y="5362"/>
                </a:lnTo>
                <a:lnTo>
                  <a:pt x="10602" y="5362"/>
                </a:lnTo>
                <a:lnTo>
                  <a:pt x="10596" y="5364"/>
                </a:lnTo>
                <a:lnTo>
                  <a:pt x="10592" y="5366"/>
                </a:lnTo>
                <a:lnTo>
                  <a:pt x="10590" y="5366"/>
                </a:lnTo>
                <a:lnTo>
                  <a:pt x="10588" y="5362"/>
                </a:lnTo>
                <a:lnTo>
                  <a:pt x="10582" y="5352"/>
                </a:lnTo>
                <a:lnTo>
                  <a:pt x="10580" y="5350"/>
                </a:lnTo>
                <a:lnTo>
                  <a:pt x="10578" y="5348"/>
                </a:lnTo>
                <a:lnTo>
                  <a:pt x="10574" y="5348"/>
                </a:lnTo>
                <a:lnTo>
                  <a:pt x="10572" y="5352"/>
                </a:lnTo>
                <a:lnTo>
                  <a:pt x="10568" y="5356"/>
                </a:lnTo>
                <a:lnTo>
                  <a:pt x="10564" y="5364"/>
                </a:lnTo>
                <a:lnTo>
                  <a:pt x="10560" y="5378"/>
                </a:lnTo>
                <a:lnTo>
                  <a:pt x="10556" y="5380"/>
                </a:lnTo>
                <a:lnTo>
                  <a:pt x="10554" y="5380"/>
                </a:lnTo>
                <a:lnTo>
                  <a:pt x="10548" y="5376"/>
                </a:lnTo>
                <a:lnTo>
                  <a:pt x="10542" y="5374"/>
                </a:lnTo>
                <a:lnTo>
                  <a:pt x="10536" y="5372"/>
                </a:lnTo>
                <a:lnTo>
                  <a:pt x="10524" y="5372"/>
                </a:lnTo>
                <a:lnTo>
                  <a:pt x="10518" y="5374"/>
                </a:lnTo>
                <a:lnTo>
                  <a:pt x="10514" y="5374"/>
                </a:lnTo>
                <a:lnTo>
                  <a:pt x="10508" y="5374"/>
                </a:lnTo>
                <a:lnTo>
                  <a:pt x="10500" y="5372"/>
                </a:lnTo>
                <a:lnTo>
                  <a:pt x="10492" y="5372"/>
                </a:lnTo>
                <a:lnTo>
                  <a:pt x="10488" y="5370"/>
                </a:lnTo>
                <a:lnTo>
                  <a:pt x="10484" y="5366"/>
                </a:lnTo>
                <a:lnTo>
                  <a:pt x="10482" y="5362"/>
                </a:lnTo>
                <a:lnTo>
                  <a:pt x="10478" y="5352"/>
                </a:lnTo>
                <a:lnTo>
                  <a:pt x="10476" y="5346"/>
                </a:lnTo>
                <a:lnTo>
                  <a:pt x="10474" y="5344"/>
                </a:lnTo>
                <a:lnTo>
                  <a:pt x="10472" y="5342"/>
                </a:lnTo>
                <a:lnTo>
                  <a:pt x="10470" y="5342"/>
                </a:lnTo>
                <a:lnTo>
                  <a:pt x="10464" y="5344"/>
                </a:lnTo>
                <a:lnTo>
                  <a:pt x="10462" y="5344"/>
                </a:lnTo>
                <a:lnTo>
                  <a:pt x="10458" y="5342"/>
                </a:lnTo>
                <a:lnTo>
                  <a:pt x="10454" y="5340"/>
                </a:lnTo>
                <a:lnTo>
                  <a:pt x="10452" y="5338"/>
                </a:lnTo>
                <a:lnTo>
                  <a:pt x="10446" y="5340"/>
                </a:lnTo>
                <a:lnTo>
                  <a:pt x="10442" y="5340"/>
                </a:lnTo>
                <a:lnTo>
                  <a:pt x="10440" y="5340"/>
                </a:lnTo>
                <a:lnTo>
                  <a:pt x="10438" y="5336"/>
                </a:lnTo>
                <a:lnTo>
                  <a:pt x="10432" y="5330"/>
                </a:lnTo>
                <a:lnTo>
                  <a:pt x="10426" y="5326"/>
                </a:lnTo>
                <a:lnTo>
                  <a:pt x="10420" y="5326"/>
                </a:lnTo>
                <a:lnTo>
                  <a:pt x="10418" y="5328"/>
                </a:lnTo>
                <a:lnTo>
                  <a:pt x="10418" y="5332"/>
                </a:lnTo>
                <a:lnTo>
                  <a:pt x="10416" y="5334"/>
                </a:lnTo>
                <a:lnTo>
                  <a:pt x="10414" y="5336"/>
                </a:lnTo>
                <a:lnTo>
                  <a:pt x="10410" y="5334"/>
                </a:lnTo>
                <a:lnTo>
                  <a:pt x="10400" y="5332"/>
                </a:lnTo>
                <a:lnTo>
                  <a:pt x="10386" y="5328"/>
                </a:lnTo>
                <a:lnTo>
                  <a:pt x="10380" y="5328"/>
                </a:lnTo>
                <a:lnTo>
                  <a:pt x="10376" y="5330"/>
                </a:lnTo>
                <a:lnTo>
                  <a:pt x="10374" y="5334"/>
                </a:lnTo>
                <a:lnTo>
                  <a:pt x="10372" y="5340"/>
                </a:lnTo>
                <a:lnTo>
                  <a:pt x="10370" y="5348"/>
                </a:lnTo>
                <a:lnTo>
                  <a:pt x="10368" y="5352"/>
                </a:lnTo>
                <a:lnTo>
                  <a:pt x="10366" y="5354"/>
                </a:lnTo>
                <a:lnTo>
                  <a:pt x="10362" y="5356"/>
                </a:lnTo>
                <a:lnTo>
                  <a:pt x="10362" y="5360"/>
                </a:lnTo>
                <a:lnTo>
                  <a:pt x="10360" y="5362"/>
                </a:lnTo>
                <a:lnTo>
                  <a:pt x="10354" y="5364"/>
                </a:lnTo>
                <a:lnTo>
                  <a:pt x="10350" y="5366"/>
                </a:lnTo>
                <a:lnTo>
                  <a:pt x="10348" y="5368"/>
                </a:lnTo>
                <a:lnTo>
                  <a:pt x="10348" y="5370"/>
                </a:lnTo>
                <a:lnTo>
                  <a:pt x="10354" y="5374"/>
                </a:lnTo>
                <a:lnTo>
                  <a:pt x="10362" y="5374"/>
                </a:lnTo>
                <a:lnTo>
                  <a:pt x="10370" y="5372"/>
                </a:lnTo>
                <a:lnTo>
                  <a:pt x="10378" y="5372"/>
                </a:lnTo>
                <a:lnTo>
                  <a:pt x="10382" y="5374"/>
                </a:lnTo>
                <a:lnTo>
                  <a:pt x="10386" y="5376"/>
                </a:lnTo>
                <a:lnTo>
                  <a:pt x="10388" y="5380"/>
                </a:lnTo>
                <a:lnTo>
                  <a:pt x="10392" y="5380"/>
                </a:lnTo>
                <a:lnTo>
                  <a:pt x="10398" y="5378"/>
                </a:lnTo>
                <a:lnTo>
                  <a:pt x="10400" y="5378"/>
                </a:lnTo>
                <a:lnTo>
                  <a:pt x="10400" y="5380"/>
                </a:lnTo>
                <a:lnTo>
                  <a:pt x="10398" y="5388"/>
                </a:lnTo>
                <a:lnTo>
                  <a:pt x="10396" y="5394"/>
                </a:lnTo>
                <a:lnTo>
                  <a:pt x="10396" y="5396"/>
                </a:lnTo>
                <a:lnTo>
                  <a:pt x="10398" y="5398"/>
                </a:lnTo>
                <a:lnTo>
                  <a:pt x="10404" y="5400"/>
                </a:lnTo>
                <a:lnTo>
                  <a:pt x="10424" y="5404"/>
                </a:lnTo>
                <a:lnTo>
                  <a:pt x="10440" y="5408"/>
                </a:lnTo>
                <a:lnTo>
                  <a:pt x="10458" y="5416"/>
                </a:lnTo>
                <a:lnTo>
                  <a:pt x="10464" y="5420"/>
                </a:lnTo>
                <a:lnTo>
                  <a:pt x="10472" y="5420"/>
                </a:lnTo>
                <a:lnTo>
                  <a:pt x="10478" y="5418"/>
                </a:lnTo>
                <a:lnTo>
                  <a:pt x="10482" y="5416"/>
                </a:lnTo>
                <a:lnTo>
                  <a:pt x="10490" y="5412"/>
                </a:lnTo>
                <a:lnTo>
                  <a:pt x="10494" y="5412"/>
                </a:lnTo>
                <a:lnTo>
                  <a:pt x="10496" y="5414"/>
                </a:lnTo>
                <a:lnTo>
                  <a:pt x="10502" y="5416"/>
                </a:lnTo>
                <a:lnTo>
                  <a:pt x="10508" y="5416"/>
                </a:lnTo>
                <a:lnTo>
                  <a:pt x="10516" y="5416"/>
                </a:lnTo>
                <a:lnTo>
                  <a:pt x="10530" y="5418"/>
                </a:lnTo>
                <a:lnTo>
                  <a:pt x="10536" y="5420"/>
                </a:lnTo>
                <a:lnTo>
                  <a:pt x="10542" y="5422"/>
                </a:lnTo>
                <a:lnTo>
                  <a:pt x="10550" y="5430"/>
                </a:lnTo>
                <a:lnTo>
                  <a:pt x="10556" y="5434"/>
                </a:lnTo>
                <a:lnTo>
                  <a:pt x="10566" y="5438"/>
                </a:lnTo>
                <a:lnTo>
                  <a:pt x="10578" y="5440"/>
                </a:lnTo>
                <a:lnTo>
                  <a:pt x="10594" y="5444"/>
                </a:lnTo>
                <a:lnTo>
                  <a:pt x="10610" y="5446"/>
                </a:lnTo>
                <a:lnTo>
                  <a:pt x="10614" y="5444"/>
                </a:lnTo>
                <a:lnTo>
                  <a:pt x="10616" y="5444"/>
                </a:lnTo>
                <a:lnTo>
                  <a:pt x="10620" y="5444"/>
                </a:lnTo>
                <a:lnTo>
                  <a:pt x="10640" y="5446"/>
                </a:lnTo>
                <a:lnTo>
                  <a:pt x="10652" y="5448"/>
                </a:lnTo>
                <a:lnTo>
                  <a:pt x="10658" y="5448"/>
                </a:lnTo>
                <a:lnTo>
                  <a:pt x="10662" y="5446"/>
                </a:lnTo>
                <a:lnTo>
                  <a:pt x="10662" y="5444"/>
                </a:lnTo>
                <a:lnTo>
                  <a:pt x="10662" y="5442"/>
                </a:lnTo>
                <a:lnTo>
                  <a:pt x="10664" y="5442"/>
                </a:lnTo>
                <a:lnTo>
                  <a:pt x="10682" y="5450"/>
                </a:lnTo>
                <a:lnTo>
                  <a:pt x="10694" y="5456"/>
                </a:lnTo>
                <a:lnTo>
                  <a:pt x="10702" y="5458"/>
                </a:lnTo>
                <a:lnTo>
                  <a:pt x="10708" y="5460"/>
                </a:lnTo>
                <a:lnTo>
                  <a:pt x="10716" y="5464"/>
                </a:lnTo>
                <a:close/>
                <a:moveTo>
                  <a:pt x="10750" y="5470"/>
                </a:moveTo>
                <a:lnTo>
                  <a:pt x="10750" y="5470"/>
                </a:lnTo>
                <a:lnTo>
                  <a:pt x="10754" y="5468"/>
                </a:lnTo>
                <a:lnTo>
                  <a:pt x="10756" y="5464"/>
                </a:lnTo>
                <a:lnTo>
                  <a:pt x="10760" y="5460"/>
                </a:lnTo>
                <a:lnTo>
                  <a:pt x="10766" y="5454"/>
                </a:lnTo>
                <a:lnTo>
                  <a:pt x="10770" y="5448"/>
                </a:lnTo>
                <a:lnTo>
                  <a:pt x="10770" y="5446"/>
                </a:lnTo>
                <a:lnTo>
                  <a:pt x="10770" y="5444"/>
                </a:lnTo>
                <a:lnTo>
                  <a:pt x="10764" y="5440"/>
                </a:lnTo>
                <a:lnTo>
                  <a:pt x="10758" y="5434"/>
                </a:lnTo>
                <a:lnTo>
                  <a:pt x="10754" y="5432"/>
                </a:lnTo>
                <a:lnTo>
                  <a:pt x="10752" y="5432"/>
                </a:lnTo>
                <a:lnTo>
                  <a:pt x="10748" y="5434"/>
                </a:lnTo>
                <a:lnTo>
                  <a:pt x="10742" y="5436"/>
                </a:lnTo>
                <a:lnTo>
                  <a:pt x="10738" y="5436"/>
                </a:lnTo>
                <a:lnTo>
                  <a:pt x="10734" y="5436"/>
                </a:lnTo>
                <a:lnTo>
                  <a:pt x="10726" y="5432"/>
                </a:lnTo>
                <a:lnTo>
                  <a:pt x="10724" y="5434"/>
                </a:lnTo>
                <a:lnTo>
                  <a:pt x="10722" y="5434"/>
                </a:lnTo>
                <a:lnTo>
                  <a:pt x="10724" y="5440"/>
                </a:lnTo>
                <a:lnTo>
                  <a:pt x="10726" y="5446"/>
                </a:lnTo>
                <a:lnTo>
                  <a:pt x="10728" y="5448"/>
                </a:lnTo>
                <a:lnTo>
                  <a:pt x="10732" y="5448"/>
                </a:lnTo>
                <a:lnTo>
                  <a:pt x="10738" y="5450"/>
                </a:lnTo>
                <a:lnTo>
                  <a:pt x="10744" y="5456"/>
                </a:lnTo>
                <a:lnTo>
                  <a:pt x="10748" y="5462"/>
                </a:lnTo>
                <a:lnTo>
                  <a:pt x="10748" y="5466"/>
                </a:lnTo>
                <a:lnTo>
                  <a:pt x="10748" y="5468"/>
                </a:lnTo>
                <a:lnTo>
                  <a:pt x="10750" y="5470"/>
                </a:lnTo>
                <a:close/>
                <a:moveTo>
                  <a:pt x="10784" y="5464"/>
                </a:moveTo>
                <a:lnTo>
                  <a:pt x="10784" y="5464"/>
                </a:lnTo>
                <a:lnTo>
                  <a:pt x="10778" y="5466"/>
                </a:lnTo>
                <a:lnTo>
                  <a:pt x="10778" y="5468"/>
                </a:lnTo>
                <a:lnTo>
                  <a:pt x="10782" y="5472"/>
                </a:lnTo>
                <a:lnTo>
                  <a:pt x="10792" y="5474"/>
                </a:lnTo>
                <a:lnTo>
                  <a:pt x="10802" y="5474"/>
                </a:lnTo>
                <a:lnTo>
                  <a:pt x="10804" y="5472"/>
                </a:lnTo>
                <a:lnTo>
                  <a:pt x="10806" y="5470"/>
                </a:lnTo>
                <a:lnTo>
                  <a:pt x="10806" y="5466"/>
                </a:lnTo>
                <a:lnTo>
                  <a:pt x="10810" y="5456"/>
                </a:lnTo>
                <a:lnTo>
                  <a:pt x="10812" y="5448"/>
                </a:lnTo>
                <a:lnTo>
                  <a:pt x="10814" y="5444"/>
                </a:lnTo>
                <a:lnTo>
                  <a:pt x="10810" y="5442"/>
                </a:lnTo>
                <a:lnTo>
                  <a:pt x="10804" y="5440"/>
                </a:lnTo>
                <a:lnTo>
                  <a:pt x="10800" y="5440"/>
                </a:lnTo>
                <a:lnTo>
                  <a:pt x="10796" y="5440"/>
                </a:lnTo>
                <a:lnTo>
                  <a:pt x="10790" y="5442"/>
                </a:lnTo>
                <a:lnTo>
                  <a:pt x="10786" y="5448"/>
                </a:lnTo>
                <a:lnTo>
                  <a:pt x="10784" y="5452"/>
                </a:lnTo>
                <a:lnTo>
                  <a:pt x="10786" y="5460"/>
                </a:lnTo>
                <a:lnTo>
                  <a:pt x="10784" y="5464"/>
                </a:lnTo>
                <a:close/>
                <a:moveTo>
                  <a:pt x="10826" y="5482"/>
                </a:moveTo>
                <a:lnTo>
                  <a:pt x="10826" y="5482"/>
                </a:lnTo>
                <a:lnTo>
                  <a:pt x="10836" y="5480"/>
                </a:lnTo>
                <a:lnTo>
                  <a:pt x="10848" y="5476"/>
                </a:lnTo>
                <a:lnTo>
                  <a:pt x="10860" y="5472"/>
                </a:lnTo>
                <a:lnTo>
                  <a:pt x="10866" y="5472"/>
                </a:lnTo>
                <a:lnTo>
                  <a:pt x="10872" y="5470"/>
                </a:lnTo>
                <a:lnTo>
                  <a:pt x="10874" y="5468"/>
                </a:lnTo>
                <a:lnTo>
                  <a:pt x="10878" y="5466"/>
                </a:lnTo>
                <a:lnTo>
                  <a:pt x="10878" y="5468"/>
                </a:lnTo>
                <a:lnTo>
                  <a:pt x="10880" y="5470"/>
                </a:lnTo>
                <a:lnTo>
                  <a:pt x="10884" y="5470"/>
                </a:lnTo>
                <a:lnTo>
                  <a:pt x="10888" y="5468"/>
                </a:lnTo>
                <a:lnTo>
                  <a:pt x="10892" y="5470"/>
                </a:lnTo>
                <a:lnTo>
                  <a:pt x="10902" y="5472"/>
                </a:lnTo>
                <a:lnTo>
                  <a:pt x="10904" y="5470"/>
                </a:lnTo>
                <a:lnTo>
                  <a:pt x="10902" y="5468"/>
                </a:lnTo>
                <a:lnTo>
                  <a:pt x="10896" y="5466"/>
                </a:lnTo>
                <a:lnTo>
                  <a:pt x="10894" y="5464"/>
                </a:lnTo>
                <a:lnTo>
                  <a:pt x="10896" y="5462"/>
                </a:lnTo>
                <a:lnTo>
                  <a:pt x="10900" y="5462"/>
                </a:lnTo>
                <a:lnTo>
                  <a:pt x="10908" y="5466"/>
                </a:lnTo>
                <a:lnTo>
                  <a:pt x="10910" y="5464"/>
                </a:lnTo>
                <a:lnTo>
                  <a:pt x="10912" y="5462"/>
                </a:lnTo>
                <a:lnTo>
                  <a:pt x="10910" y="5458"/>
                </a:lnTo>
                <a:lnTo>
                  <a:pt x="10908" y="5450"/>
                </a:lnTo>
                <a:lnTo>
                  <a:pt x="10902" y="5444"/>
                </a:lnTo>
                <a:lnTo>
                  <a:pt x="10900" y="5442"/>
                </a:lnTo>
                <a:lnTo>
                  <a:pt x="10896" y="5444"/>
                </a:lnTo>
                <a:lnTo>
                  <a:pt x="10894" y="5444"/>
                </a:lnTo>
                <a:lnTo>
                  <a:pt x="10892" y="5444"/>
                </a:lnTo>
                <a:lnTo>
                  <a:pt x="10888" y="5442"/>
                </a:lnTo>
                <a:lnTo>
                  <a:pt x="10886" y="5440"/>
                </a:lnTo>
                <a:lnTo>
                  <a:pt x="10884" y="5440"/>
                </a:lnTo>
                <a:lnTo>
                  <a:pt x="10880" y="5442"/>
                </a:lnTo>
                <a:lnTo>
                  <a:pt x="10878" y="5444"/>
                </a:lnTo>
                <a:lnTo>
                  <a:pt x="10874" y="5444"/>
                </a:lnTo>
                <a:lnTo>
                  <a:pt x="10870" y="5440"/>
                </a:lnTo>
                <a:lnTo>
                  <a:pt x="10866" y="5434"/>
                </a:lnTo>
                <a:lnTo>
                  <a:pt x="10862" y="5434"/>
                </a:lnTo>
                <a:lnTo>
                  <a:pt x="10858" y="5434"/>
                </a:lnTo>
                <a:lnTo>
                  <a:pt x="10854" y="5434"/>
                </a:lnTo>
                <a:lnTo>
                  <a:pt x="10852" y="5436"/>
                </a:lnTo>
                <a:lnTo>
                  <a:pt x="10852" y="5440"/>
                </a:lnTo>
                <a:lnTo>
                  <a:pt x="10854" y="5444"/>
                </a:lnTo>
                <a:lnTo>
                  <a:pt x="10858" y="5450"/>
                </a:lnTo>
                <a:lnTo>
                  <a:pt x="10862" y="5450"/>
                </a:lnTo>
                <a:lnTo>
                  <a:pt x="10866" y="5452"/>
                </a:lnTo>
                <a:lnTo>
                  <a:pt x="10872" y="5454"/>
                </a:lnTo>
                <a:lnTo>
                  <a:pt x="10874" y="5458"/>
                </a:lnTo>
                <a:lnTo>
                  <a:pt x="10874" y="5460"/>
                </a:lnTo>
                <a:lnTo>
                  <a:pt x="10870" y="5460"/>
                </a:lnTo>
                <a:lnTo>
                  <a:pt x="10864" y="5460"/>
                </a:lnTo>
                <a:lnTo>
                  <a:pt x="10862" y="5462"/>
                </a:lnTo>
                <a:lnTo>
                  <a:pt x="10858" y="5464"/>
                </a:lnTo>
                <a:lnTo>
                  <a:pt x="10854" y="5460"/>
                </a:lnTo>
                <a:lnTo>
                  <a:pt x="10848" y="5452"/>
                </a:lnTo>
                <a:lnTo>
                  <a:pt x="10846" y="5450"/>
                </a:lnTo>
                <a:lnTo>
                  <a:pt x="10842" y="5450"/>
                </a:lnTo>
                <a:lnTo>
                  <a:pt x="10838" y="5450"/>
                </a:lnTo>
                <a:lnTo>
                  <a:pt x="10832" y="5448"/>
                </a:lnTo>
                <a:lnTo>
                  <a:pt x="10828" y="5446"/>
                </a:lnTo>
                <a:lnTo>
                  <a:pt x="10826" y="5446"/>
                </a:lnTo>
                <a:lnTo>
                  <a:pt x="10824" y="5448"/>
                </a:lnTo>
                <a:lnTo>
                  <a:pt x="10820" y="5452"/>
                </a:lnTo>
                <a:lnTo>
                  <a:pt x="10818" y="5456"/>
                </a:lnTo>
                <a:lnTo>
                  <a:pt x="10814" y="5458"/>
                </a:lnTo>
                <a:lnTo>
                  <a:pt x="10814" y="5464"/>
                </a:lnTo>
                <a:lnTo>
                  <a:pt x="10814" y="5470"/>
                </a:lnTo>
                <a:lnTo>
                  <a:pt x="10814" y="5474"/>
                </a:lnTo>
                <a:lnTo>
                  <a:pt x="10814" y="5476"/>
                </a:lnTo>
                <a:lnTo>
                  <a:pt x="10816" y="5480"/>
                </a:lnTo>
                <a:lnTo>
                  <a:pt x="10826" y="5482"/>
                </a:lnTo>
                <a:close/>
                <a:moveTo>
                  <a:pt x="10994" y="5474"/>
                </a:moveTo>
                <a:lnTo>
                  <a:pt x="10994" y="5474"/>
                </a:lnTo>
                <a:lnTo>
                  <a:pt x="10996" y="5474"/>
                </a:lnTo>
                <a:lnTo>
                  <a:pt x="10998" y="5472"/>
                </a:lnTo>
                <a:lnTo>
                  <a:pt x="11000" y="5470"/>
                </a:lnTo>
                <a:lnTo>
                  <a:pt x="11008" y="5470"/>
                </a:lnTo>
                <a:lnTo>
                  <a:pt x="11012" y="5472"/>
                </a:lnTo>
                <a:lnTo>
                  <a:pt x="11016" y="5472"/>
                </a:lnTo>
                <a:lnTo>
                  <a:pt x="11022" y="5470"/>
                </a:lnTo>
                <a:lnTo>
                  <a:pt x="11028" y="5466"/>
                </a:lnTo>
                <a:lnTo>
                  <a:pt x="11032" y="5466"/>
                </a:lnTo>
                <a:lnTo>
                  <a:pt x="11038" y="5466"/>
                </a:lnTo>
                <a:lnTo>
                  <a:pt x="11046" y="5462"/>
                </a:lnTo>
                <a:lnTo>
                  <a:pt x="11054" y="5458"/>
                </a:lnTo>
                <a:lnTo>
                  <a:pt x="11058" y="5456"/>
                </a:lnTo>
                <a:lnTo>
                  <a:pt x="11058" y="5454"/>
                </a:lnTo>
                <a:lnTo>
                  <a:pt x="11058" y="5450"/>
                </a:lnTo>
                <a:lnTo>
                  <a:pt x="11062" y="5448"/>
                </a:lnTo>
                <a:lnTo>
                  <a:pt x="11064" y="5444"/>
                </a:lnTo>
                <a:lnTo>
                  <a:pt x="11064" y="5436"/>
                </a:lnTo>
                <a:lnTo>
                  <a:pt x="11062" y="5434"/>
                </a:lnTo>
                <a:lnTo>
                  <a:pt x="11060" y="5432"/>
                </a:lnTo>
                <a:lnTo>
                  <a:pt x="11056" y="5434"/>
                </a:lnTo>
                <a:lnTo>
                  <a:pt x="11054" y="5438"/>
                </a:lnTo>
                <a:lnTo>
                  <a:pt x="11056" y="5440"/>
                </a:lnTo>
                <a:lnTo>
                  <a:pt x="11058" y="5440"/>
                </a:lnTo>
                <a:lnTo>
                  <a:pt x="11058" y="5442"/>
                </a:lnTo>
                <a:lnTo>
                  <a:pt x="11056" y="5444"/>
                </a:lnTo>
                <a:lnTo>
                  <a:pt x="11050" y="5448"/>
                </a:lnTo>
                <a:lnTo>
                  <a:pt x="11044" y="5452"/>
                </a:lnTo>
                <a:lnTo>
                  <a:pt x="11044" y="5454"/>
                </a:lnTo>
                <a:lnTo>
                  <a:pt x="11044" y="5456"/>
                </a:lnTo>
                <a:lnTo>
                  <a:pt x="11040" y="5460"/>
                </a:lnTo>
                <a:lnTo>
                  <a:pt x="11036" y="5460"/>
                </a:lnTo>
                <a:lnTo>
                  <a:pt x="11034" y="5458"/>
                </a:lnTo>
                <a:lnTo>
                  <a:pt x="11030" y="5454"/>
                </a:lnTo>
                <a:lnTo>
                  <a:pt x="11026" y="5450"/>
                </a:lnTo>
                <a:lnTo>
                  <a:pt x="11024" y="5450"/>
                </a:lnTo>
                <a:lnTo>
                  <a:pt x="11020" y="5450"/>
                </a:lnTo>
                <a:lnTo>
                  <a:pt x="11016" y="5454"/>
                </a:lnTo>
                <a:lnTo>
                  <a:pt x="11012" y="5454"/>
                </a:lnTo>
                <a:lnTo>
                  <a:pt x="11010" y="5454"/>
                </a:lnTo>
                <a:lnTo>
                  <a:pt x="11006" y="5456"/>
                </a:lnTo>
                <a:lnTo>
                  <a:pt x="11002" y="5456"/>
                </a:lnTo>
                <a:lnTo>
                  <a:pt x="11000" y="5456"/>
                </a:lnTo>
                <a:lnTo>
                  <a:pt x="10994" y="5452"/>
                </a:lnTo>
                <a:lnTo>
                  <a:pt x="10988" y="5448"/>
                </a:lnTo>
                <a:lnTo>
                  <a:pt x="10980" y="5446"/>
                </a:lnTo>
                <a:lnTo>
                  <a:pt x="10966" y="5440"/>
                </a:lnTo>
                <a:lnTo>
                  <a:pt x="10956" y="5440"/>
                </a:lnTo>
                <a:lnTo>
                  <a:pt x="10952" y="5442"/>
                </a:lnTo>
                <a:lnTo>
                  <a:pt x="10948" y="5446"/>
                </a:lnTo>
                <a:lnTo>
                  <a:pt x="10944" y="5448"/>
                </a:lnTo>
                <a:lnTo>
                  <a:pt x="10940" y="5452"/>
                </a:lnTo>
                <a:lnTo>
                  <a:pt x="10936" y="5454"/>
                </a:lnTo>
                <a:lnTo>
                  <a:pt x="10936" y="5462"/>
                </a:lnTo>
                <a:lnTo>
                  <a:pt x="10938" y="5470"/>
                </a:lnTo>
                <a:lnTo>
                  <a:pt x="10940" y="5470"/>
                </a:lnTo>
                <a:lnTo>
                  <a:pt x="10944" y="5468"/>
                </a:lnTo>
                <a:lnTo>
                  <a:pt x="10950" y="5468"/>
                </a:lnTo>
                <a:lnTo>
                  <a:pt x="10966" y="5470"/>
                </a:lnTo>
                <a:lnTo>
                  <a:pt x="10974" y="5470"/>
                </a:lnTo>
                <a:lnTo>
                  <a:pt x="10980" y="5474"/>
                </a:lnTo>
                <a:lnTo>
                  <a:pt x="10984" y="5476"/>
                </a:lnTo>
                <a:lnTo>
                  <a:pt x="10988" y="5476"/>
                </a:lnTo>
                <a:lnTo>
                  <a:pt x="10990" y="5474"/>
                </a:lnTo>
                <a:lnTo>
                  <a:pt x="10994" y="5474"/>
                </a:lnTo>
                <a:close/>
                <a:moveTo>
                  <a:pt x="10934" y="5522"/>
                </a:moveTo>
                <a:lnTo>
                  <a:pt x="10934" y="5522"/>
                </a:lnTo>
                <a:lnTo>
                  <a:pt x="10942" y="5528"/>
                </a:lnTo>
                <a:lnTo>
                  <a:pt x="10946" y="5534"/>
                </a:lnTo>
                <a:lnTo>
                  <a:pt x="10950" y="5538"/>
                </a:lnTo>
                <a:lnTo>
                  <a:pt x="10952" y="5538"/>
                </a:lnTo>
                <a:lnTo>
                  <a:pt x="10956" y="5540"/>
                </a:lnTo>
                <a:lnTo>
                  <a:pt x="10958" y="5540"/>
                </a:lnTo>
                <a:lnTo>
                  <a:pt x="10962" y="5542"/>
                </a:lnTo>
                <a:lnTo>
                  <a:pt x="10964" y="5540"/>
                </a:lnTo>
                <a:lnTo>
                  <a:pt x="10966" y="5538"/>
                </a:lnTo>
                <a:lnTo>
                  <a:pt x="10968" y="5536"/>
                </a:lnTo>
                <a:lnTo>
                  <a:pt x="10970" y="5536"/>
                </a:lnTo>
                <a:lnTo>
                  <a:pt x="10974" y="5532"/>
                </a:lnTo>
                <a:lnTo>
                  <a:pt x="10974" y="5530"/>
                </a:lnTo>
                <a:lnTo>
                  <a:pt x="10974" y="5526"/>
                </a:lnTo>
                <a:lnTo>
                  <a:pt x="10970" y="5518"/>
                </a:lnTo>
                <a:lnTo>
                  <a:pt x="10964" y="5512"/>
                </a:lnTo>
                <a:lnTo>
                  <a:pt x="10958" y="5508"/>
                </a:lnTo>
                <a:lnTo>
                  <a:pt x="10956" y="5508"/>
                </a:lnTo>
                <a:lnTo>
                  <a:pt x="10954" y="5506"/>
                </a:lnTo>
                <a:lnTo>
                  <a:pt x="10952" y="5502"/>
                </a:lnTo>
                <a:lnTo>
                  <a:pt x="10948" y="5498"/>
                </a:lnTo>
                <a:lnTo>
                  <a:pt x="10942" y="5494"/>
                </a:lnTo>
                <a:lnTo>
                  <a:pt x="10938" y="5494"/>
                </a:lnTo>
                <a:lnTo>
                  <a:pt x="10934" y="5494"/>
                </a:lnTo>
                <a:lnTo>
                  <a:pt x="10930" y="5494"/>
                </a:lnTo>
                <a:lnTo>
                  <a:pt x="10924" y="5494"/>
                </a:lnTo>
                <a:lnTo>
                  <a:pt x="10914" y="5494"/>
                </a:lnTo>
                <a:lnTo>
                  <a:pt x="10910" y="5496"/>
                </a:lnTo>
                <a:lnTo>
                  <a:pt x="10906" y="5498"/>
                </a:lnTo>
                <a:lnTo>
                  <a:pt x="10902" y="5500"/>
                </a:lnTo>
                <a:lnTo>
                  <a:pt x="10902" y="5506"/>
                </a:lnTo>
                <a:lnTo>
                  <a:pt x="10902" y="5508"/>
                </a:lnTo>
                <a:lnTo>
                  <a:pt x="10906" y="5512"/>
                </a:lnTo>
                <a:lnTo>
                  <a:pt x="10914" y="5514"/>
                </a:lnTo>
                <a:lnTo>
                  <a:pt x="10924" y="5518"/>
                </a:lnTo>
                <a:lnTo>
                  <a:pt x="10934" y="5522"/>
                </a:lnTo>
                <a:close/>
                <a:moveTo>
                  <a:pt x="11090" y="5546"/>
                </a:moveTo>
                <a:lnTo>
                  <a:pt x="11090" y="5546"/>
                </a:lnTo>
                <a:lnTo>
                  <a:pt x="11094" y="5544"/>
                </a:lnTo>
                <a:lnTo>
                  <a:pt x="11098" y="5544"/>
                </a:lnTo>
                <a:lnTo>
                  <a:pt x="11104" y="5540"/>
                </a:lnTo>
                <a:lnTo>
                  <a:pt x="11108" y="5536"/>
                </a:lnTo>
                <a:lnTo>
                  <a:pt x="11112" y="5534"/>
                </a:lnTo>
                <a:lnTo>
                  <a:pt x="11114" y="5534"/>
                </a:lnTo>
                <a:lnTo>
                  <a:pt x="11118" y="5536"/>
                </a:lnTo>
                <a:lnTo>
                  <a:pt x="11122" y="5534"/>
                </a:lnTo>
                <a:lnTo>
                  <a:pt x="11134" y="5520"/>
                </a:lnTo>
                <a:lnTo>
                  <a:pt x="11140" y="5512"/>
                </a:lnTo>
                <a:lnTo>
                  <a:pt x="11144" y="5506"/>
                </a:lnTo>
                <a:lnTo>
                  <a:pt x="11148" y="5500"/>
                </a:lnTo>
                <a:lnTo>
                  <a:pt x="11156" y="5494"/>
                </a:lnTo>
                <a:lnTo>
                  <a:pt x="11168" y="5488"/>
                </a:lnTo>
                <a:lnTo>
                  <a:pt x="11176" y="5484"/>
                </a:lnTo>
                <a:lnTo>
                  <a:pt x="11182" y="5484"/>
                </a:lnTo>
                <a:lnTo>
                  <a:pt x="11188" y="5480"/>
                </a:lnTo>
                <a:lnTo>
                  <a:pt x="11192" y="5476"/>
                </a:lnTo>
                <a:lnTo>
                  <a:pt x="11196" y="5476"/>
                </a:lnTo>
                <a:lnTo>
                  <a:pt x="11202" y="5476"/>
                </a:lnTo>
                <a:lnTo>
                  <a:pt x="11206" y="5470"/>
                </a:lnTo>
                <a:lnTo>
                  <a:pt x="11212" y="5466"/>
                </a:lnTo>
                <a:lnTo>
                  <a:pt x="11218" y="5464"/>
                </a:lnTo>
                <a:lnTo>
                  <a:pt x="11222" y="5464"/>
                </a:lnTo>
                <a:lnTo>
                  <a:pt x="11228" y="5460"/>
                </a:lnTo>
                <a:lnTo>
                  <a:pt x="11236" y="5450"/>
                </a:lnTo>
                <a:lnTo>
                  <a:pt x="11238" y="5448"/>
                </a:lnTo>
                <a:lnTo>
                  <a:pt x="11232" y="5444"/>
                </a:lnTo>
                <a:lnTo>
                  <a:pt x="11230" y="5444"/>
                </a:lnTo>
                <a:lnTo>
                  <a:pt x="11226" y="5444"/>
                </a:lnTo>
                <a:lnTo>
                  <a:pt x="11218" y="5446"/>
                </a:lnTo>
                <a:lnTo>
                  <a:pt x="11210" y="5450"/>
                </a:lnTo>
                <a:lnTo>
                  <a:pt x="11204" y="5450"/>
                </a:lnTo>
                <a:lnTo>
                  <a:pt x="11200" y="5450"/>
                </a:lnTo>
                <a:lnTo>
                  <a:pt x="11194" y="5452"/>
                </a:lnTo>
                <a:lnTo>
                  <a:pt x="11188" y="5454"/>
                </a:lnTo>
                <a:lnTo>
                  <a:pt x="11184" y="5454"/>
                </a:lnTo>
                <a:lnTo>
                  <a:pt x="11180" y="5452"/>
                </a:lnTo>
                <a:lnTo>
                  <a:pt x="11176" y="5452"/>
                </a:lnTo>
                <a:lnTo>
                  <a:pt x="11158" y="5458"/>
                </a:lnTo>
                <a:lnTo>
                  <a:pt x="11150" y="5460"/>
                </a:lnTo>
                <a:lnTo>
                  <a:pt x="11146" y="5466"/>
                </a:lnTo>
                <a:lnTo>
                  <a:pt x="11144" y="5470"/>
                </a:lnTo>
                <a:lnTo>
                  <a:pt x="11138" y="5478"/>
                </a:lnTo>
                <a:lnTo>
                  <a:pt x="11128" y="5484"/>
                </a:lnTo>
                <a:lnTo>
                  <a:pt x="11122" y="5486"/>
                </a:lnTo>
                <a:lnTo>
                  <a:pt x="11114" y="5488"/>
                </a:lnTo>
                <a:lnTo>
                  <a:pt x="11104" y="5496"/>
                </a:lnTo>
                <a:lnTo>
                  <a:pt x="11094" y="5504"/>
                </a:lnTo>
                <a:lnTo>
                  <a:pt x="11090" y="5510"/>
                </a:lnTo>
                <a:lnTo>
                  <a:pt x="11088" y="5522"/>
                </a:lnTo>
                <a:lnTo>
                  <a:pt x="11088" y="5524"/>
                </a:lnTo>
                <a:lnTo>
                  <a:pt x="11088" y="5526"/>
                </a:lnTo>
                <a:lnTo>
                  <a:pt x="11092" y="5528"/>
                </a:lnTo>
                <a:lnTo>
                  <a:pt x="11094" y="5530"/>
                </a:lnTo>
                <a:lnTo>
                  <a:pt x="11092" y="5532"/>
                </a:lnTo>
                <a:lnTo>
                  <a:pt x="11086" y="5536"/>
                </a:lnTo>
                <a:lnTo>
                  <a:pt x="11082" y="5540"/>
                </a:lnTo>
                <a:lnTo>
                  <a:pt x="11082" y="5542"/>
                </a:lnTo>
                <a:lnTo>
                  <a:pt x="11090" y="5546"/>
                </a:lnTo>
                <a:close/>
                <a:moveTo>
                  <a:pt x="11218" y="5414"/>
                </a:moveTo>
                <a:lnTo>
                  <a:pt x="11218" y="5414"/>
                </a:lnTo>
                <a:lnTo>
                  <a:pt x="11218" y="5412"/>
                </a:lnTo>
                <a:lnTo>
                  <a:pt x="11214" y="5410"/>
                </a:lnTo>
                <a:lnTo>
                  <a:pt x="11202" y="5410"/>
                </a:lnTo>
                <a:lnTo>
                  <a:pt x="11190" y="5414"/>
                </a:lnTo>
                <a:lnTo>
                  <a:pt x="11184" y="5416"/>
                </a:lnTo>
                <a:lnTo>
                  <a:pt x="11180" y="5420"/>
                </a:lnTo>
                <a:lnTo>
                  <a:pt x="11178" y="5422"/>
                </a:lnTo>
                <a:lnTo>
                  <a:pt x="11180" y="5424"/>
                </a:lnTo>
                <a:lnTo>
                  <a:pt x="11194" y="5424"/>
                </a:lnTo>
                <a:lnTo>
                  <a:pt x="11210" y="5418"/>
                </a:lnTo>
                <a:lnTo>
                  <a:pt x="11216" y="5416"/>
                </a:lnTo>
                <a:lnTo>
                  <a:pt x="11218" y="5414"/>
                </a:lnTo>
                <a:close/>
                <a:moveTo>
                  <a:pt x="9966" y="4902"/>
                </a:moveTo>
                <a:lnTo>
                  <a:pt x="9966" y="4902"/>
                </a:lnTo>
                <a:lnTo>
                  <a:pt x="9966" y="4906"/>
                </a:lnTo>
                <a:lnTo>
                  <a:pt x="9968" y="4910"/>
                </a:lnTo>
                <a:lnTo>
                  <a:pt x="9972" y="4914"/>
                </a:lnTo>
                <a:lnTo>
                  <a:pt x="9980" y="4918"/>
                </a:lnTo>
                <a:lnTo>
                  <a:pt x="9990" y="4928"/>
                </a:lnTo>
                <a:lnTo>
                  <a:pt x="9994" y="4928"/>
                </a:lnTo>
                <a:lnTo>
                  <a:pt x="9994" y="4926"/>
                </a:lnTo>
                <a:lnTo>
                  <a:pt x="9990" y="4916"/>
                </a:lnTo>
                <a:lnTo>
                  <a:pt x="9982" y="4906"/>
                </a:lnTo>
                <a:lnTo>
                  <a:pt x="9972" y="4900"/>
                </a:lnTo>
                <a:lnTo>
                  <a:pt x="9970" y="4900"/>
                </a:lnTo>
                <a:lnTo>
                  <a:pt x="9966" y="4902"/>
                </a:lnTo>
                <a:close/>
                <a:moveTo>
                  <a:pt x="10026" y="4966"/>
                </a:moveTo>
                <a:lnTo>
                  <a:pt x="10026" y="4966"/>
                </a:lnTo>
                <a:lnTo>
                  <a:pt x="10022" y="4968"/>
                </a:lnTo>
                <a:lnTo>
                  <a:pt x="10022" y="4970"/>
                </a:lnTo>
                <a:lnTo>
                  <a:pt x="10026" y="4980"/>
                </a:lnTo>
                <a:lnTo>
                  <a:pt x="10044" y="5006"/>
                </a:lnTo>
                <a:lnTo>
                  <a:pt x="10046" y="5010"/>
                </a:lnTo>
                <a:lnTo>
                  <a:pt x="10050" y="5012"/>
                </a:lnTo>
                <a:lnTo>
                  <a:pt x="10052" y="5008"/>
                </a:lnTo>
                <a:lnTo>
                  <a:pt x="10054" y="5004"/>
                </a:lnTo>
                <a:lnTo>
                  <a:pt x="10054" y="4994"/>
                </a:lnTo>
                <a:lnTo>
                  <a:pt x="10052" y="4988"/>
                </a:lnTo>
                <a:lnTo>
                  <a:pt x="10050" y="4984"/>
                </a:lnTo>
                <a:lnTo>
                  <a:pt x="10044" y="4978"/>
                </a:lnTo>
                <a:lnTo>
                  <a:pt x="10038" y="4972"/>
                </a:lnTo>
                <a:lnTo>
                  <a:pt x="10032" y="4966"/>
                </a:lnTo>
                <a:lnTo>
                  <a:pt x="10030" y="4966"/>
                </a:lnTo>
                <a:lnTo>
                  <a:pt x="10026" y="4966"/>
                </a:lnTo>
                <a:close/>
                <a:moveTo>
                  <a:pt x="10084" y="5086"/>
                </a:moveTo>
                <a:lnTo>
                  <a:pt x="10084" y="5086"/>
                </a:lnTo>
                <a:lnTo>
                  <a:pt x="10080" y="5090"/>
                </a:lnTo>
                <a:lnTo>
                  <a:pt x="10080" y="5096"/>
                </a:lnTo>
                <a:lnTo>
                  <a:pt x="10082" y="5102"/>
                </a:lnTo>
                <a:lnTo>
                  <a:pt x="10086" y="5110"/>
                </a:lnTo>
                <a:lnTo>
                  <a:pt x="10098" y="5120"/>
                </a:lnTo>
                <a:lnTo>
                  <a:pt x="10102" y="5122"/>
                </a:lnTo>
                <a:lnTo>
                  <a:pt x="10106" y="5122"/>
                </a:lnTo>
                <a:lnTo>
                  <a:pt x="10108" y="5120"/>
                </a:lnTo>
                <a:lnTo>
                  <a:pt x="10108" y="5114"/>
                </a:lnTo>
                <a:lnTo>
                  <a:pt x="10102" y="5100"/>
                </a:lnTo>
                <a:lnTo>
                  <a:pt x="10098" y="5092"/>
                </a:lnTo>
                <a:lnTo>
                  <a:pt x="10092" y="5088"/>
                </a:lnTo>
                <a:lnTo>
                  <a:pt x="10088" y="5084"/>
                </a:lnTo>
                <a:lnTo>
                  <a:pt x="10084" y="5086"/>
                </a:lnTo>
                <a:close/>
                <a:moveTo>
                  <a:pt x="10070" y="5066"/>
                </a:moveTo>
                <a:lnTo>
                  <a:pt x="10070" y="5066"/>
                </a:lnTo>
                <a:lnTo>
                  <a:pt x="10072" y="5066"/>
                </a:lnTo>
                <a:lnTo>
                  <a:pt x="10074" y="5066"/>
                </a:lnTo>
                <a:lnTo>
                  <a:pt x="10076" y="5060"/>
                </a:lnTo>
                <a:lnTo>
                  <a:pt x="10076" y="5054"/>
                </a:lnTo>
                <a:lnTo>
                  <a:pt x="10074" y="5050"/>
                </a:lnTo>
                <a:lnTo>
                  <a:pt x="10072" y="5048"/>
                </a:lnTo>
                <a:lnTo>
                  <a:pt x="10070" y="5048"/>
                </a:lnTo>
                <a:lnTo>
                  <a:pt x="10068" y="5054"/>
                </a:lnTo>
                <a:lnTo>
                  <a:pt x="10068" y="5060"/>
                </a:lnTo>
                <a:lnTo>
                  <a:pt x="10068" y="5062"/>
                </a:lnTo>
                <a:lnTo>
                  <a:pt x="10070" y="5066"/>
                </a:lnTo>
                <a:close/>
                <a:moveTo>
                  <a:pt x="11590" y="5128"/>
                </a:moveTo>
                <a:lnTo>
                  <a:pt x="11590" y="5128"/>
                </a:lnTo>
                <a:lnTo>
                  <a:pt x="11592" y="5130"/>
                </a:lnTo>
                <a:lnTo>
                  <a:pt x="11598" y="5130"/>
                </a:lnTo>
                <a:lnTo>
                  <a:pt x="11618" y="5128"/>
                </a:lnTo>
                <a:lnTo>
                  <a:pt x="11628" y="5124"/>
                </a:lnTo>
                <a:lnTo>
                  <a:pt x="11628" y="5122"/>
                </a:lnTo>
                <a:lnTo>
                  <a:pt x="11624" y="5122"/>
                </a:lnTo>
                <a:lnTo>
                  <a:pt x="11590" y="5118"/>
                </a:lnTo>
                <a:lnTo>
                  <a:pt x="11576" y="5116"/>
                </a:lnTo>
                <a:lnTo>
                  <a:pt x="11572" y="5116"/>
                </a:lnTo>
                <a:lnTo>
                  <a:pt x="11578" y="5120"/>
                </a:lnTo>
                <a:lnTo>
                  <a:pt x="11590" y="5128"/>
                </a:lnTo>
                <a:close/>
                <a:moveTo>
                  <a:pt x="11600" y="5086"/>
                </a:moveTo>
                <a:lnTo>
                  <a:pt x="11600" y="5086"/>
                </a:lnTo>
                <a:lnTo>
                  <a:pt x="11594" y="5082"/>
                </a:lnTo>
                <a:lnTo>
                  <a:pt x="11592" y="5078"/>
                </a:lnTo>
                <a:lnTo>
                  <a:pt x="11586" y="5074"/>
                </a:lnTo>
                <a:lnTo>
                  <a:pt x="11576" y="5070"/>
                </a:lnTo>
                <a:lnTo>
                  <a:pt x="11566" y="5068"/>
                </a:lnTo>
                <a:lnTo>
                  <a:pt x="11566" y="5070"/>
                </a:lnTo>
                <a:lnTo>
                  <a:pt x="11566" y="5072"/>
                </a:lnTo>
                <a:lnTo>
                  <a:pt x="11572" y="5078"/>
                </a:lnTo>
                <a:lnTo>
                  <a:pt x="11580" y="5082"/>
                </a:lnTo>
                <a:lnTo>
                  <a:pt x="11582" y="5084"/>
                </a:lnTo>
                <a:lnTo>
                  <a:pt x="11584" y="5088"/>
                </a:lnTo>
                <a:lnTo>
                  <a:pt x="11584" y="5092"/>
                </a:lnTo>
                <a:lnTo>
                  <a:pt x="11586" y="5094"/>
                </a:lnTo>
                <a:lnTo>
                  <a:pt x="11588" y="5096"/>
                </a:lnTo>
                <a:lnTo>
                  <a:pt x="11592" y="5096"/>
                </a:lnTo>
                <a:lnTo>
                  <a:pt x="11600" y="5096"/>
                </a:lnTo>
                <a:lnTo>
                  <a:pt x="11606" y="5094"/>
                </a:lnTo>
                <a:lnTo>
                  <a:pt x="11608" y="5092"/>
                </a:lnTo>
                <a:lnTo>
                  <a:pt x="11606" y="5090"/>
                </a:lnTo>
                <a:lnTo>
                  <a:pt x="11600" y="5086"/>
                </a:lnTo>
                <a:close/>
                <a:moveTo>
                  <a:pt x="11538" y="5324"/>
                </a:moveTo>
                <a:lnTo>
                  <a:pt x="11538" y="5324"/>
                </a:lnTo>
                <a:lnTo>
                  <a:pt x="11536" y="5310"/>
                </a:lnTo>
                <a:lnTo>
                  <a:pt x="11532" y="5304"/>
                </a:lnTo>
                <a:lnTo>
                  <a:pt x="11530" y="5304"/>
                </a:lnTo>
                <a:lnTo>
                  <a:pt x="11528" y="5304"/>
                </a:lnTo>
                <a:lnTo>
                  <a:pt x="11526" y="5310"/>
                </a:lnTo>
                <a:lnTo>
                  <a:pt x="11524" y="5316"/>
                </a:lnTo>
                <a:lnTo>
                  <a:pt x="11520" y="5316"/>
                </a:lnTo>
                <a:lnTo>
                  <a:pt x="11518" y="5316"/>
                </a:lnTo>
                <a:lnTo>
                  <a:pt x="11518" y="5318"/>
                </a:lnTo>
                <a:lnTo>
                  <a:pt x="11518" y="5320"/>
                </a:lnTo>
                <a:lnTo>
                  <a:pt x="11520" y="5320"/>
                </a:lnTo>
                <a:lnTo>
                  <a:pt x="11520" y="5322"/>
                </a:lnTo>
                <a:lnTo>
                  <a:pt x="11520" y="5328"/>
                </a:lnTo>
                <a:lnTo>
                  <a:pt x="11520" y="5334"/>
                </a:lnTo>
                <a:lnTo>
                  <a:pt x="11522" y="5340"/>
                </a:lnTo>
                <a:lnTo>
                  <a:pt x="11530" y="5348"/>
                </a:lnTo>
                <a:lnTo>
                  <a:pt x="11534" y="5348"/>
                </a:lnTo>
                <a:lnTo>
                  <a:pt x="11536" y="5344"/>
                </a:lnTo>
                <a:lnTo>
                  <a:pt x="11538" y="5336"/>
                </a:lnTo>
                <a:lnTo>
                  <a:pt x="11538" y="5324"/>
                </a:lnTo>
                <a:close/>
                <a:moveTo>
                  <a:pt x="11188" y="5150"/>
                </a:moveTo>
                <a:lnTo>
                  <a:pt x="11188" y="5150"/>
                </a:lnTo>
                <a:lnTo>
                  <a:pt x="11186" y="5144"/>
                </a:lnTo>
                <a:lnTo>
                  <a:pt x="11186" y="5138"/>
                </a:lnTo>
                <a:lnTo>
                  <a:pt x="11184" y="5136"/>
                </a:lnTo>
                <a:lnTo>
                  <a:pt x="11182" y="5136"/>
                </a:lnTo>
                <a:lnTo>
                  <a:pt x="11180" y="5138"/>
                </a:lnTo>
                <a:lnTo>
                  <a:pt x="11180" y="5142"/>
                </a:lnTo>
                <a:lnTo>
                  <a:pt x="11184" y="5154"/>
                </a:lnTo>
                <a:lnTo>
                  <a:pt x="11186" y="5160"/>
                </a:lnTo>
                <a:lnTo>
                  <a:pt x="11188" y="5160"/>
                </a:lnTo>
                <a:lnTo>
                  <a:pt x="11188" y="5156"/>
                </a:lnTo>
                <a:lnTo>
                  <a:pt x="11188" y="5150"/>
                </a:lnTo>
                <a:close/>
                <a:moveTo>
                  <a:pt x="11232" y="5052"/>
                </a:moveTo>
                <a:lnTo>
                  <a:pt x="11232" y="5052"/>
                </a:lnTo>
                <a:lnTo>
                  <a:pt x="11232" y="5054"/>
                </a:lnTo>
                <a:lnTo>
                  <a:pt x="11230" y="5060"/>
                </a:lnTo>
                <a:lnTo>
                  <a:pt x="11232" y="5064"/>
                </a:lnTo>
                <a:lnTo>
                  <a:pt x="11234" y="5064"/>
                </a:lnTo>
                <a:lnTo>
                  <a:pt x="11236" y="5062"/>
                </a:lnTo>
                <a:lnTo>
                  <a:pt x="11238" y="5056"/>
                </a:lnTo>
                <a:lnTo>
                  <a:pt x="11236" y="5052"/>
                </a:lnTo>
                <a:lnTo>
                  <a:pt x="11234" y="5052"/>
                </a:lnTo>
                <a:lnTo>
                  <a:pt x="11232" y="5052"/>
                </a:lnTo>
                <a:close/>
                <a:moveTo>
                  <a:pt x="11262" y="5078"/>
                </a:moveTo>
                <a:lnTo>
                  <a:pt x="11262" y="5078"/>
                </a:lnTo>
                <a:lnTo>
                  <a:pt x="11262" y="5076"/>
                </a:lnTo>
                <a:lnTo>
                  <a:pt x="11260" y="5072"/>
                </a:lnTo>
                <a:lnTo>
                  <a:pt x="11256" y="5072"/>
                </a:lnTo>
                <a:lnTo>
                  <a:pt x="11254" y="5076"/>
                </a:lnTo>
                <a:lnTo>
                  <a:pt x="11254" y="5078"/>
                </a:lnTo>
                <a:lnTo>
                  <a:pt x="11256" y="5080"/>
                </a:lnTo>
                <a:lnTo>
                  <a:pt x="11258" y="5080"/>
                </a:lnTo>
                <a:lnTo>
                  <a:pt x="11262" y="5078"/>
                </a:lnTo>
                <a:close/>
                <a:moveTo>
                  <a:pt x="11280" y="5212"/>
                </a:moveTo>
                <a:lnTo>
                  <a:pt x="11280" y="5212"/>
                </a:lnTo>
                <a:lnTo>
                  <a:pt x="11278" y="5210"/>
                </a:lnTo>
                <a:lnTo>
                  <a:pt x="11276" y="5210"/>
                </a:lnTo>
                <a:lnTo>
                  <a:pt x="11270" y="5212"/>
                </a:lnTo>
                <a:lnTo>
                  <a:pt x="11264" y="5218"/>
                </a:lnTo>
                <a:lnTo>
                  <a:pt x="11262" y="5220"/>
                </a:lnTo>
                <a:lnTo>
                  <a:pt x="11264" y="5222"/>
                </a:lnTo>
                <a:lnTo>
                  <a:pt x="11266" y="5222"/>
                </a:lnTo>
                <a:lnTo>
                  <a:pt x="11272" y="5222"/>
                </a:lnTo>
                <a:lnTo>
                  <a:pt x="11276" y="5218"/>
                </a:lnTo>
                <a:lnTo>
                  <a:pt x="11280" y="5212"/>
                </a:lnTo>
                <a:close/>
                <a:moveTo>
                  <a:pt x="11234" y="5078"/>
                </a:moveTo>
                <a:lnTo>
                  <a:pt x="11234" y="5078"/>
                </a:lnTo>
                <a:lnTo>
                  <a:pt x="11238" y="5078"/>
                </a:lnTo>
                <a:lnTo>
                  <a:pt x="11240" y="5076"/>
                </a:lnTo>
                <a:lnTo>
                  <a:pt x="11238" y="5074"/>
                </a:lnTo>
                <a:lnTo>
                  <a:pt x="11236" y="5072"/>
                </a:lnTo>
                <a:lnTo>
                  <a:pt x="11234" y="5070"/>
                </a:lnTo>
                <a:lnTo>
                  <a:pt x="11232" y="5072"/>
                </a:lnTo>
                <a:lnTo>
                  <a:pt x="11232" y="5076"/>
                </a:lnTo>
                <a:lnTo>
                  <a:pt x="11234" y="5078"/>
                </a:lnTo>
                <a:close/>
                <a:moveTo>
                  <a:pt x="11378" y="5078"/>
                </a:moveTo>
                <a:lnTo>
                  <a:pt x="11378" y="5078"/>
                </a:lnTo>
                <a:lnTo>
                  <a:pt x="11366" y="5078"/>
                </a:lnTo>
                <a:lnTo>
                  <a:pt x="11360" y="5080"/>
                </a:lnTo>
                <a:lnTo>
                  <a:pt x="11360" y="5082"/>
                </a:lnTo>
                <a:lnTo>
                  <a:pt x="11362" y="5084"/>
                </a:lnTo>
                <a:lnTo>
                  <a:pt x="11364" y="5084"/>
                </a:lnTo>
                <a:lnTo>
                  <a:pt x="11372" y="5082"/>
                </a:lnTo>
                <a:lnTo>
                  <a:pt x="11378" y="5078"/>
                </a:lnTo>
                <a:close/>
                <a:moveTo>
                  <a:pt x="11216" y="4816"/>
                </a:moveTo>
                <a:lnTo>
                  <a:pt x="11216" y="4816"/>
                </a:lnTo>
                <a:lnTo>
                  <a:pt x="11214" y="4820"/>
                </a:lnTo>
                <a:lnTo>
                  <a:pt x="11214" y="4828"/>
                </a:lnTo>
                <a:lnTo>
                  <a:pt x="11214" y="4830"/>
                </a:lnTo>
                <a:lnTo>
                  <a:pt x="11216" y="4830"/>
                </a:lnTo>
                <a:lnTo>
                  <a:pt x="11216" y="4834"/>
                </a:lnTo>
                <a:lnTo>
                  <a:pt x="11214" y="4838"/>
                </a:lnTo>
                <a:lnTo>
                  <a:pt x="11212" y="4842"/>
                </a:lnTo>
                <a:lnTo>
                  <a:pt x="11214" y="4844"/>
                </a:lnTo>
                <a:lnTo>
                  <a:pt x="11218" y="4842"/>
                </a:lnTo>
                <a:lnTo>
                  <a:pt x="11220" y="4838"/>
                </a:lnTo>
                <a:lnTo>
                  <a:pt x="11220" y="4836"/>
                </a:lnTo>
                <a:lnTo>
                  <a:pt x="11222" y="4832"/>
                </a:lnTo>
                <a:lnTo>
                  <a:pt x="11222" y="4830"/>
                </a:lnTo>
                <a:lnTo>
                  <a:pt x="11222" y="4826"/>
                </a:lnTo>
                <a:lnTo>
                  <a:pt x="11220" y="4824"/>
                </a:lnTo>
                <a:lnTo>
                  <a:pt x="11220" y="4820"/>
                </a:lnTo>
                <a:lnTo>
                  <a:pt x="11220" y="4816"/>
                </a:lnTo>
                <a:lnTo>
                  <a:pt x="11216" y="4816"/>
                </a:lnTo>
                <a:close/>
                <a:moveTo>
                  <a:pt x="13306" y="5908"/>
                </a:moveTo>
                <a:lnTo>
                  <a:pt x="13306" y="5908"/>
                </a:lnTo>
                <a:lnTo>
                  <a:pt x="13306" y="5902"/>
                </a:lnTo>
                <a:lnTo>
                  <a:pt x="13304" y="5898"/>
                </a:lnTo>
                <a:lnTo>
                  <a:pt x="13302" y="5896"/>
                </a:lnTo>
                <a:lnTo>
                  <a:pt x="13296" y="5892"/>
                </a:lnTo>
                <a:lnTo>
                  <a:pt x="13286" y="5890"/>
                </a:lnTo>
                <a:lnTo>
                  <a:pt x="13278" y="5890"/>
                </a:lnTo>
                <a:lnTo>
                  <a:pt x="13266" y="5898"/>
                </a:lnTo>
                <a:lnTo>
                  <a:pt x="13260" y="5904"/>
                </a:lnTo>
                <a:lnTo>
                  <a:pt x="13254" y="5910"/>
                </a:lnTo>
                <a:lnTo>
                  <a:pt x="13250" y="5916"/>
                </a:lnTo>
                <a:lnTo>
                  <a:pt x="13250" y="5918"/>
                </a:lnTo>
                <a:lnTo>
                  <a:pt x="13250" y="5922"/>
                </a:lnTo>
                <a:lnTo>
                  <a:pt x="13252" y="5924"/>
                </a:lnTo>
                <a:lnTo>
                  <a:pt x="13256" y="5928"/>
                </a:lnTo>
                <a:lnTo>
                  <a:pt x="13270" y="5932"/>
                </a:lnTo>
                <a:lnTo>
                  <a:pt x="13280" y="5934"/>
                </a:lnTo>
                <a:lnTo>
                  <a:pt x="13286" y="5934"/>
                </a:lnTo>
                <a:lnTo>
                  <a:pt x="13292" y="5930"/>
                </a:lnTo>
                <a:lnTo>
                  <a:pt x="13294" y="5926"/>
                </a:lnTo>
                <a:lnTo>
                  <a:pt x="13296" y="5926"/>
                </a:lnTo>
                <a:lnTo>
                  <a:pt x="13302" y="5926"/>
                </a:lnTo>
                <a:lnTo>
                  <a:pt x="13306" y="5930"/>
                </a:lnTo>
                <a:lnTo>
                  <a:pt x="13308" y="5930"/>
                </a:lnTo>
                <a:lnTo>
                  <a:pt x="13312" y="5928"/>
                </a:lnTo>
                <a:lnTo>
                  <a:pt x="13312" y="5926"/>
                </a:lnTo>
                <a:lnTo>
                  <a:pt x="13312" y="5924"/>
                </a:lnTo>
                <a:lnTo>
                  <a:pt x="13310" y="5920"/>
                </a:lnTo>
                <a:lnTo>
                  <a:pt x="13308" y="5914"/>
                </a:lnTo>
                <a:lnTo>
                  <a:pt x="13306" y="5912"/>
                </a:lnTo>
                <a:lnTo>
                  <a:pt x="13306" y="5908"/>
                </a:lnTo>
                <a:close/>
                <a:moveTo>
                  <a:pt x="13336" y="5840"/>
                </a:moveTo>
                <a:lnTo>
                  <a:pt x="13336" y="5840"/>
                </a:lnTo>
                <a:lnTo>
                  <a:pt x="13328" y="5844"/>
                </a:lnTo>
                <a:lnTo>
                  <a:pt x="13322" y="5844"/>
                </a:lnTo>
                <a:lnTo>
                  <a:pt x="13318" y="5846"/>
                </a:lnTo>
                <a:lnTo>
                  <a:pt x="13316" y="5850"/>
                </a:lnTo>
                <a:lnTo>
                  <a:pt x="13314" y="5854"/>
                </a:lnTo>
                <a:lnTo>
                  <a:pt x="13312" y="5854"/>
                </a:lnTo>
                <a:lnTo>
                  <a:pt x="13306" y="5854"/>
                </a:lnTo>
                <a:lnTo>
                  <a:pt x="13304" y="5854"/>
                </a:lnTo>
                <a:lnTo>
                  <a:pt x="13306" y="5864"/>
                </a:lnTo>
                <a:lnTo>
                  <a:pt x="13310" y="5870"/>
                </a:lnTo>
                <a:lnTo>
                  <a:pt x="13312" y="5872"/>
                </a:lnTo>
                <a:lnTo>
                  <a:pt x="13326" y="5862"/>
                </a:lnTo>
                <a:lnTo>
                  <a:pt x="13330" y="5860"/>
                </a:lnTo>
                <a:lnTo>
                  <a:pt x="13334" y="5858"/>
                </a:lnTo>
                <a:lnTo>
                  <a:pt x="13336" y="5860"/>
                </a:lnTo>
                <a:lnTo>
                  <a:pt x="13338" y="5864"/>
                </a:lnTo>
                <a:lnTo>
                  <a:pt x="13340" y="5862"/>
                </a:lnTo>
                <a:lnTo>
                  <a:pt x="13348" y="5860"/>
                </a:lnTo>
                <a:lnTo>
                  <a:pt x="13354" y="5858"/>
                </a:lnTo>
                <a:lnTo>
                  <a:pt x="13360" y="5860"/>
                </a:lnTo>
                <a:lnTo>
                  <a:pt x="13360" y="5858"/>
                </a:lnTo>
                <a:lnTo>
                  <a:pt x="13358" y="5854"/>
                </a:lnTo>
                <a:lnTo>
                  <a:pt x="13360" y="5848"/>
                </a:lnTo>
                <a:lnTo>
                  <a:pt x="13358" y="5846"/>
                </a:lnTo>
                <a:lnTo>
                  <a:pt x="13354" y="5848"/>
                </a:lnTo>
                <a:lnTo>
                  <a:pt x="13350" y="5850"/>
                </a:lnTo>
                <a:lnTo>
                  <a:pt x="13350" y="5848"/>
                </a:lnTo>
                <a:lnTo>
                  <a:pt x="13352" y="5842"/>
                </a:lnTo>
                <a:lnTo>
                  <a:pt x="13358" y="5834"/>
                </a:lnTo>
                <a:lnTo>
                  <a:pt x="13360" y="5830"/>
                </a:lnTo>
                <a:lnTo>
                  <a:pt x="13360" y="5828"/>
                </a:lnTo>
                <a:lnTo>
                  <a:pt x="13358" y="5828"/>
                </a:lnTo>
                <a:lnTo>
                  <a:pt x="13356" y="5828"/>
                </a:lnTo>
                <a:lnTo>
                  <a:pt x="13346" y="5832"/>
                </a:lnTo>
                <a:lnTo>
                  <a:pt x="13336" y="5840"/>
                </a:lnTo>
                <a:close/>
                <a:moveTo>
                  <a:pt x="12084" y="5310"/>
                </a:moveTo>
                <a:lnTo>
                  <a:pt x="12084" y="5310"/>
                </a:lnTo>
                <a:lnTo>
                  <a:pt x="12086" y="5316"/>
                </a:lnTo>
                <a:lnTo>
                  <a:pt x="12090" y="5320"/>
                </a:lnTo>
                <a:lnTo>
                  <a:pt x="12098" y="5324"/>
                </a:lnTo>
                <a:lnTo>
                  <a:pt x="12106" y="5330"/>
                </a:lnTo>
                <a:lnTo>
                  <a:pt x="12112" y="5336"/>
                </a:lnTo>
                <a:lnTo>
                  <a:pt x="12116" y="5338"/>
                </a:lnTo>
                <a:lnTo>
                  <a:pt x="12120" y="5338"/>
                </a:lnTo>
                <a:lnTo>
                  <a:pt x="12122" y="5336"/>
                </a:lnTo>
                <a:lnTo>
                  <a:pt x="12124" y="5336"/>
                </a:lnTo>
                <a:lnTo>
                  <a:pt x="12126" y="5336"/>
                </a:lnTo>
                <a:lnTo>
                  <a:pt x="12128" y="5336"/>
                </a:lnTo>
                <a:lnTo>
                  <a:pt x="12132" y="5342"/>
                </a:lnTo>
                <a:lnTo>
                  <a:pt x="12140" y="5346"/>
                </a:lnTo>
                <a:lnTo>
                  <a:pt x="12148" y="5346"/>
                </a:lnTo>
                <a:lnTo>
                  <a:pt x="12160" y="5346"/>
                </a:lnTo>
                <a:lnTo>
                  <a:pt x="12172" y="5342"/>
                </a:lnTo>
                <a:lnTo>
                  <a:pt x="12184" y="5336"/>
                </a:lnTo>
                <a:lnTo>
                  <a:pt x="12196" y="5330"/>
                </a:lnTo>
                <a:lnTo>
                  <a:pt x="12204" y="5324"/>
                </a:lnTo>
                <a:lnTo>
                  <a:pt x="12208" y="5318"/>
                </a:lnTo>
                <a:lnTo>
                  <a:pt x="12212" y="5312"/>
                </a:lnTo>
                <a:lnTo>
                  <a:pt x="12214" y="5310"/>
                </a:lnTo>
                <a:lnTo>
                  <a:pt x="12218" y="5308"/>
                </a:lnTo>
                <a:lnTo>
                  <a:pt x="12220" y="5310"/>
                </a:lnTo>
                <a:lnTo>
                  <a:pt x="12228" y="5310"/>
                </a:lnTo>
                <a:lnTo>
                  <a:pt x="12232" y="5310"/>
                </a:lnTo>
                <a:lnTo>
                  <a:pt x="12236" y="5306"/>
                </a:lnTo>
                <a:lnTo>
                  <a:pt x="12238" y="5302"/>
                </a:lnTo>
                <a:lnTo>
                  <a:pt x="12240" y="5298"/>
                </a:lnTo>
                <a:lnTo>
                  <a:pt x="12236" y="5290"/>
                </a:lnTo>
                <a:lnTo>
                  <a:pt x="12234" y="5284"/>
                </a:lnTo>
                <a:lnTo>
                  <a:pt x="12234" y="5282"/>
                </a:lnTo>
                <a:lnTo>
                  <a:pt x="12238" y="5282"/>
                </a:lnTo>
                <a:lnTo>
                  <a:pt x="12242" y="5280"/>
                </a:lnTo>
                <a:lnTo>
                  <a:pt x="12246" y="5276"/>
                </a:lnTo>
                <a:lnTo>
                  <a:pt x="12250" y="5266"/>
                </a:lnTo>
                <a:lnTo>
                  <a:pt x="12250" y="5256"/>
                </a:lnTo>
                <a:lnTo>
                  <a:pt x="12250" y="5250"/>
                </a:lnTo>
                <a:lnTo>
                  <a:pt x="12246" y="5246"/>
                </a:lnTo>
                <a:lnTo>
                  <a:pt x="12242" y="5242"/>
                </a:lnTo>
                <a:lnTo>
                  <a:pt x="12236" y="5240"/>
                </a:lnTo>
                <a:lnTo>
                  <a:pt x="12218" y="5242"/>
                </a:lnTo>
                <a:lnTo>
                  <a:pt x="12216" y="5242"/>
                </a:lnTo>
                <a:lnTo>
                  <a:pt x="12214" y="5244"/>
                </a:lnTo>
                <a:lnTo>
                  <a:pt x="12212" y="5250"/>
                </a:lnTo>
                <a:lnTo>
                  <a:pt x="12216" y="5264"/>
                </a:lnTo>
                <a:lnTo>
                  <a:pt x="12220" y="5276"/>
                </a:lnTo>
                <a:lnTo>
                  <a:pt x="12218" y="5280"/>
                </a:lnTo>
                <a:lnTo>
                  <a:pt x="12214" y="5278"/>
                </a:lnTo>
                <a:lnTo>
                  <a:pt x="12206" y="5278"/>
                </a:lnTo>
                <a:lnTo>
                  <a:pt x="12202" y="5282"/>
                </a:lnTo>
                <a:lnTo>
                  <a:pt x="12196" y="5286"/>
                </a:lnTo>
                <a:lnTo>
                  <a:pt x="12194" y="5294"/>
                </a:lnTo>
                <a:lnTo>
                  <a:pt x="12190" y="5300"/>
                </a:lnTo>
                <a:lnTo>
                  <a:pt x="12186" y="5306"/>
                </a:lnTo>
                <a:lnTo>
                  <a:pt x="12180" y="5308"/>
                </a:lnTo>
                <a:lnTo>
                  <a:pt x="12174" y="5306"/>
                </a:lnTo>
                <a:lnTo>
                  <a:pt x="12170" y="5304"/>
                </a:lnTo>
                <a:lnTo>
                  <a:pt x="12168" y="5304"/>
                </a:lnTo>
                <a:lnTo>
                  <a:pt x="12164" y="5306"/>
                </a:lnTo>
                <a:lnTo>
                  <a:pt x="12162" y="5308"/>
                </a:lnTo>
                <a:lnTo>
                  <a:pt x="12158" y="5302"/>
                </a:lnTo>
                <a:lnTo>
                  <a:pt x="12156" y="5294"/>
                </a:lnTo>
                <a:lnTo>
                  <a:pt x="12158" y="5290"/>
                </a:lnTo>
                <a:lnTo>
                  <a:pt x="12160" y="5288"/>
                </a:lnTo>
                <a:lnTo>
                  <a:pt x="12160" y="5284"/>
                </a:lnTo>
                <a:lnTo>
                  <a:pt x="12160" y="5282"/>
                </a:lnTo>
                <a:lnTo>
                  <a:pt x="12158" y="5282"/>
                </a:lnTo>
                <a:lnTo>
                  <a:pt x="12154" y="5284"/>
                </a:lnTo>
                <a:lnTo>
                  <a:pt x="12150" y="5290"/>
                </a:lnTo>
                <a:lnTo>
                  <a:pt x="12150" y="5302"/>
                </a:lnTo>
                <a:lnTo>
                  <a:pt x="12150" y="5304"/>
                </a:lnTo>
                <a:lnTo>
                  <a:pt x="12148" y="5306"/>
                </a:lnTo>
                <a:lnTo>
                  <a:pt x="12140" y="5308"/>
                </a:lnTo>
                <a:lnTo>
                  <a:pt x="12130" y="5308"/>
                </a:lnTo>
                <a:lnTo>
                  <a:pt x="12118" y="5306"/>
                </a:lnTo>
                <a:lnTo>
                  <a:pt x="12106" y="5304"/>
                </a:lnTo>
                <a:lnTo>
                  <a:pt x="12094" y="5304"/>
                </a:lnTo>
                <a:lnTo>
                  <a:pt x="12088" y="5306"/>
                </a:lnTo>
                <a:lnTo>
                  <a:pt x="12086" y="5308"/>
                </a:lnTo>
                <a:lnTo>
                  <a:pt x="12084" y="5310"/>
                </a:lnTo>
                <a:close/>
                <a:moveTo>
                  <a:pt x="12010" y="5142"/>
                </a:moveTo>
                <a:lnTo>
                  <a:pt x="12010" y="5142"/>
                </a:lnTo>
                <a:lnTo>
                  <a:pt x="12010" y="5148"/>
                </a:lnTo>
                <a:lnTo>
                  <a:pt x="12014" y="5148"/>
                </a:lnTo>
                <a:lnTo>
                  <a:pt x="12022" y="5146"/>
                </a:lnTo>
                <a:lnTo>
                  <a:pt x="12032" y="5146"/>
                </a:lnTo>
                <a:lnTo>
                  <a:pt x="12040" y="5146"/>
                </a:lnTo>
                <a:lnTo>
                  <a:pt x="12046" y="5142"/>
                </a:lnTo>
                <a:lnTo>
                  <a:pt x="12046" y="5140"/>
                </a:lnTo>
                <a:lnTo>
                  <a:pt x="12046" y="5138"/>
                </a:lnTo>
                <a:lnTo>
                  <a:pt x="12044" y="5136"/>
                </a:lnTo>
                <a:lnTo>
                  <a:pt x="12042" y="5136"/>
                </a:lnTo>
                <a:lnTo>
                  <a:pt x="12032" y="5134"/>
                </a:lnTo>
                <a:lnTo>
                  <a:pt x="12022" y="5134"/>
                </a:lnTo>
                <a:lnTo>
                  <a:pt x="12014" y="5136"/>
                </a:lnTo>
                <a:lnTo>
                  <a:pt x="12012" y="5138"/>
                </a:lnTo>
                <a:lnTo>
                  <a:pt x="12010" y="5142"/>
                </a:lnTo>
                <a:close/>
                <a:moveTo>
                  <a:pt x="12154" y="5158"/>
                </a:moveTo>
                <a:lnTo>
                  <a:pt x="12154" y="5158"/>
                </a:lnTo>
                <a:lnTo>
                  <a:pt x="12154" y="5160"/>
                </a:lnTo>
                <a:lnTo>
                  <a:pt x="12154" y="5164"/>
                </a:lnTo>
                <a:lnTo>
                  <a:pt x="12158" y="5168"/>
                </a:lnTo>
                <a:lnTo>
                  <a:pt x="12166" y="5170"/>
                </a:lnTo>
                <a:lnTo>
                  <a:pt x="12168" y="5168"/>
                </a:lnTo>
                <a:lnTo>
                  <a:pt x="12170" y="5168"/>
                </a:lnTo>
                <a:lnTo>
                  <a:pt x="12172" y="5164"/>
                </a:lnTo>
                <a:lnTo>
                  <a:pt x="12172" y="5162"/>
                </a:lnTo>
                <a:lnTo>
                  <a:pt x="12166" y="5156"/>
                </a:lnTo>
                <a:lnTo>
                  <a:pt x="12164" y="5154"/>
                </a:lnTo>
                <a:lnTo>
                  <a:pt x="12160" y="5152"/>
                </a:lnTo>
                <a:lnTo>
                  <a:pt x="12156" y="5154"/>
                </a:lnTo>
                <a:lnTo>
                  <a:pt x="12154" y="5158"/>
                </a:lnTo>
                <a:close/>
                <a:moveTo>
                  <a:pt x="12228" y="5192"/>
                </a:moveTo>
                <a:lnTo>
                  <a:pt x="12228" y="5192"/>
                </a:lnTo>
                <a:lnTo>
                  <a:pt x="12208" y="5182"/>
                </a:lnTo>
                <a:lnTo>
                  <a:pt x="12196" y="5172"/>
                </a:lnTo>
                <a:lnTo>
                  <a:pt x="12190" y="5166"/>
                </a:lnTo>
                <a:lnTo>
                  <a:pt x="12186" y="5166"/>
                </a:lnTo>
                <a:lnTo>
                  <a:pt x="12186" y="5168"/>
                </a:lnTo>
                <a:lnTo>
                  <a:pt x="12180" y="5170"/>
                </a:lnTo>
                <a:lnTo>
                  <a:pt x="12178" y="5172"/>
                </a:lnTo>
                <a:lnTo>
                  <a:pt x="12182" y="5174"/>
                </a:lnTo>
                <a:lnTo>
                  <a:pt x="12186" y="5178"/>
                </a:lnTo>
                <a:lnTo>
                  <a:pt x="12200" y="5184"/>
                </a:lnTo>
                <a:lnTo>
                  <a:pt x="12208" y="5190"/>
                </a:lnTo>
                <a:lnTo>
                  <a:pt x="12216" y="5196"/>
                </a:lnTo>
                <a:lnTo>
                  <a:pt x="12222" y="5202"/>
                </a:lnTo>
                <a:lnTo>
                  <a:pt x="12232" y="5210"/>
                </a:lnTo>
                <a:lnTo>
                  <a:pt x="12242" y="5218"/>
                </a:lnTo>
                <a:lnTo>
                  <a:pt x="12254" y="5230"/>
                </a:lnTo>
                <a:lnTo>
                  <a:pt x="12258" y="5236"/>
                </a:lnTo>
                <a:lnTo>
                  <a:pt x="12260" y="5242"/>
                </a:lnTo>
                <a:lnTo>
                  <a:pt x="12260" y="5250"/>
                </a:lnTo>
                <a:lnTo>
                  <a:pt x="12260" y="5258"/>
                </a:lnTo>
                <a:lnTo>
                  <a:pt x="12262" y="5264"/>
                </a:lnTo>
                <a:lnTo>
                  <a:pt x="12264" y="5272"/>
                </a:lnTo>
                <a:lnTo>
                  <a:pt x="12268" y="5274"/>
                </a:lnTo>
                <a:lnTo>
                  <a:pt x="12272" y="5274"/>
                </a:lnTo>
                <a:lnTo>
                  <a:pt x="12276" y="5270"/>
                </a:lnTo>
                <a:lnTo>
                  <a:pt x="12278" y="5262"/>
                </a:lnTo>
                <a:lnTo>
                  <a:pt x="12278" y="5254"/>
                </a:lnTo>
                <a:lnTo>
                  <a:pt x="12278" y="5244"/>
                </a:lnTo>
                <a:lnTo>
                  <a:pt x="12274" y="5236"/>
                </a:lnTo>
                <a:lnTo>
                  <a:pt x="12266" y="5230"/>
                </a:lnTo>
                <a:lnTo>
                  <a:pt x="12252" y="5218"/>
                </a:lnTo>
                <a:lnTo>
                  <a:pt x="12244" y="5208"/>
                </a:lnTo>
                <a:lnTo>
                  <a:pt x="12236" y="5200"/>
                </a:lnTo>
                <a:lnTo>
                  <a:pt x="12228" y="5192"/>
                </a:lnTo>
                <a:close/>
                <a:moveTo>
                  <a:pt x="12134" y="5108"/>
                </a:moveTo>
                <a:lnTo>
                  <a:pt x="12134" y="5108"/>
                </a:lnTo>
                <a:lnTo>
                  <a:pt x="12134" y="5112"/>
                </a:lnTo>
                <a:lnTo>
                  <a:pt x="12136" y="5116"/>
                </a:lnTo>
                <a:lnTo>
                  <a:pt x="12138" y="5118"/>
                </a:lnTo>
                <a:lnTo>
                  <a:pt x="12144" y="5120"/>
                </a:lnTo>
                <a:lnTo>
                  <a:pt x="12146" y="5118"/>
                </a:lnTo>
                <a:lnTo>
                  <a:pt x="12144" y="5112"/>
                </a:lnTo>
                <a:lnTo>
                  <a:pt x="12140" y="5108"/>
                </a:lnTo>
                <a:lnTo>
                  <a:pt x="12136" y="5106"/>
                </a:lnTo>
                <a:lnTo>
                  <a:pt x="12134" y="5108"/>
                </a:lnTo>
                <a:close/>
                <a:moveTo>
                  <a:pt x="12378" y="5340"/>
                </a:moveTo>
                <a:lnTo>
                  <a:pt x="12378" y="5340"/>
                </a:lnTo>
                <a:lnTo>
                  <a:pt x="12374" y="5338"/>
                </a:lnTo>
                <a:lnTo>
                  <a:pt x="12370" y="5334"/>
                </a:lnTo>
                <a:lnTo>
                  <a:pt x="12364" y="5324"/>
                </a:lnTo>
                <a:lnTo>
                  <a:pt x="12360" y="5314"/>
                </a:lnTo>
                <a:lnTo>
                  <a:pt x="12356" y="5310"/>
                </a:lnTo>
                <a:lnTo>
                  <a:pt x="12352" y="5308"/>
                </a:lnTo>
                <a:lnTo>
                  <a:pt x="12348" y="5306"/>
                </a:lnTo>
                <a:lnTo>
                  <a:pt x="12346" y="5302"/>
                </a:lnTo>
                <a:lnTo>
                  <a:pt x="12342" y="5290"/>
                </a:lnTo>
                <a:lnTo>
                  <a:pt x="12340" y="5284"/>
                </a:lnTo>
                <a:lnTo>
                  <a:pt x="12338" y="5282"/>
                </a:lnTo>
                <a:lnTo>
                  <a:pt x="12334" y="5284"/>
                </a:lnTo>
                <a:lnTo>
                  <a:pt x="12334" y="5288"/>
                </a:lnTo>
                <a:lnTo>
                  <a:pt x="12334" y="5290"/>
                </a:lnTo>
                <a:lnTo>
                  <a:pt x="12336" y="5296"/>
                </a:lnTo>
                <a:lnTo>
                  <a:pt x="12342" y="5304"/>
                </a:lnTo>
                <a:lnTo>
                  <a:pt x="12342" y="5308"/>
                </a:lnTo>
                <a:lnTo>
                  <a:pt x="12342" y="5314"/>
                </a:lnTo>
                <a:lnTo>
                  <a:pt x="12342" y="5322"/>
                </a:lnTo>
                <a:lnTo>
                  <a:pt x="12344" y="5328"/>
                </a:lnTo>
                <a:lnTo>
                  <a:pt x="12350" y="5336"/>
                </a:lnTo>
                <a:lnTo>
                  <a:pt x="12358" y="5346"/>
                </a:lnTo>
                <a:lnTo>
                  <a:pt x="12362" y="5350"/>
                </a:lnTo>
                <a:lnTo>
                  <a:pt x="12362" y="5354"/>
                </a:lnTo>
                <a:lnTo>
                  <a:pt x="12364" y="5364"/>
                </a:lnTo>
                <a:lnTo>
                  <a:pt x="12370" y="5368"/>
                </a:lnTo>
                <a:lnTo>
                  <a:pt x="12378" y="5370"/>
                </a:lnTo>
                <a:lnTo>
                  <a:pt x="12388" y="5370"/>
                </a:lnTo>
                <a:lnTo>
                  <a:pt x="12390" y="5368"/>
                </a:lnTo>
                <a:lnTo>
                  <a:pt x="12392" y="5364"/>
                </a:lnTo>
                <a:lnTo>
                  <a:pt x="12392" y="5360"/>
                </a:lnTo>
                <a:lnTo>
                  <a:pt x="12392" y="5356"/>
                </a:lnTo>
                <a:lnTo>
                  <a:pt x="12386" y="5346"/>
                </a:lnTo>
                <a:lnTo>
                  <a:pt x="12382" y="5342"/>
                </a:lnTo>
                <a:lnTo>
                  <a:pt x="12378" y="5340"/>
                </a:lnTo>
                <a:close/>
                <a:moveTo>
                  <a:pt x="12070" y="5308"/>
                </a:moveTo>
                <a:lnTo>
                  <a:pt x="12070" y="5308"/>
                </a:lnTo>
                <a:lnTo>
                  <a:pt x="12064" y="5304"/>
                </a:lnTo>
                <a:lnTo>
                  <a:pt x="12062" y="5304"/>
                </a:lnTo>
                <a:lnTo>
                  <a:pt x="12062" y="5306"/>
                </a:lnTo>
                <a:lnTo>
                  <a:pt x="12062" y="5310"/>
                </a:lnTo>
                <a:lnTo>
                  <a:pt x="12066" y="5320"/>
                </a:lnTo>
                <a:lnTo>
                  <a:pt x="12068" y="5322"/>
                </a:lnTo>
                <a:lnTo>
                  <a:pt x="12070" y="5322"/>
                </a:lnTo>
                <a:lnTo>
                  <a:pt x="12072" y="5322"/>
                </a:lnTo>
                <a:lnTo>
                  <a:pt x="12074" y="5320"/>
                </a:lnTo>
                <a:lnTo>
                  <a:pt x="12074" y="5314"/>
                </a:lnTo>
                <a:lnTo>
                  <a:pt x="12074" y="5310"/>
                </a:lnTo>
                <a:lnTo>
                  <a:pt x="12070" y="5308"/>
                </a:lnTo>
                <a:close/>
                <a:moveTo>
                  <a:pt x="12042" y="5304"/>
                </a:moveTo>
                <a:lnTo>
                  <a:pt x="12042" y="5304"/>
                </a:lnTo>
                <a:lnTo>
                  <a:pt x="12044" y="5302"/>
                </a:lnTo>
                <a:lnTo>
                  <a:pt x="12044" y="5300"/>
                </a:lnTo>
                <a:lnTo>
                  <a:pt x="12040" y="5294"/>
                </a:lnTo>
                <a:lnTo>
                  <a:pt x="12036" y="5290"/>
                </a:lnTo>
                <a:lnTo>
                  <a:pt x="12034" y="5292"/>
                </a:lnTo>
                <a:lnTo>
                  <a:pt x="12032" y="5292"/>
                </a:lnTo>
                <a:lnTo>
                  <a:pt x="12030" y="5296"/>
                </a:lnTo>
                <a:lnTo>
                  <a:pt x="12030" y="5298"/>
                </a:lnTo>
                <a:lnTo>
                  <a:pt x="12032" y="5304"/>
                </a:lnTo>
                <a:lnTo>
                  <a:pt x="12038" y="5306"/>
                </a:lnTo>
                <a:lnTo>
                  <a:pt x="12042" y="5304"/>
                </a:lnTo>
                <a:close/>
                <a:moveTo>
                  <a:pt x="11990" y="5256"/>
                </a:moveTo>
                <a:lnTo>
                  <a:pt x="11990" y="5256"/>
                </a:lnTo>
                <a:lnTo>
                  <a:pt x="11988" y="5256"/>
                </a:lnTo>
                <a:lnTo>
                  <a:pt x="11986" y="5256"/>
                </a:lnTo>
                <a:lnTo>
                  <a:pt x="11984" y="5260"/>
                </a:lnTo>
                <a:lnTo>
                  <a:pt x="11984" y="5266"/>
                </a:lnTo>
                <a:lnTo>
                  <a:pt x="11986" y="5270"/>
                </a:lnTo>
                <a:lnTo>
                  <a:pt x="11988" y="5272"/>
                </a:lnTo>
                <a:lnTo>
                  <a:pt x="11990" y="5272"/>
                </a:lnTo>
                <a:lnTo>
                  <a:pt x="11994" y="5268"/>
                </a:lnTo>
                <a:lnTo>
                  <a:pt x="11994" y="5262"/>
                </a:lnTo>
                <a:lnTo>
                  <a:pt x="11994" y="5260"/>
                </a:lnTo>
                <a:lnTo>
                  <a:pt x="11990" y="5256"/>
                </a:lnTo>
                <a:close/>
                <a:moveTo>
                  <a:pt x="12272" y="5478"/>
                </a:moveTo>
                <a:lnTo>
                  <a:pt x="12272" y="5478"/>
                </a:lnTo>
                <a:lnTo>
                  <a:pt x="12264" y="5474"/>
                </a:lnTo>
                <a:lnTo>
                  <a:pt x="12258" y="5474"/>
                </a:lnTo>
                <a:lnTo>
                  <a:pt x="12256" y="5476"/>
                </a:lnTo>
                <a:lnTo>
                  <a:pt x="12258" y="5478"/>
                </a:lnTo>
                <a:lnTo>
                  <a:pt x="12260" y="5480"/>
                </a:lnTo>
                <a:lnTo>
                  <a:pt x="12260" y="5482"/>
                </a:lnTo>
                <a:lnTo>
                  <a:pt x="12262" y="5486"/>
                </a:lnTo>
                <a:lnTo>
                  <a:pt x="12266" y="5486"/>
                </a:lnTo>
                <a:lnTo>
                  <a:pt x="12270" y="5488"/>
                </a:lnTo>
                <a:lnTo>
                  <a:pt x="12274" y="5486"/>
                </a:lnTo>
                <a:lnTo>
                  <a:pt x="12276" y="5482"/>
                </a:lnTo>
                <a:lnTo>
                  <a:pt x="12272" y="5478"/>
                </a:lnTo>
                <a:close/>
                <a:moveTo>
                  <a:pt x="12280" y="5594"/>
                </a:moveTo>
                <a:lnTo>
                  <a:pt x="12280" y="5594"/>
                </a:lnTo>
                <a:lnTo>
                  <a:pt x="12286" y="5598"/>
                </a:lnTo>
                <a:lnTo>
                  <a:pt x="12296" y="5602"/>
                </a:lnTo>
                <a:lnTo>
                  <a:pt x="12302" y="5604"/>
                </a:lnTo>
                <a:lnTo>
                  <a:pt x="12304" y="5604"/>
                </a:lnTo>
                <a:lnTo>
                  <a:pt x="12304" y="5602"/>
                </a:lnTo>
                <a:lnTo>
                  <a:pt x="12298" y="5596"/>
                </a:lnTo>
                <a:lnTo>
                  <a:pt x="12288" y="5592"/>
                </a:lnTo>
                <a:lnTo>
                  <a:pt x="12280" y="5590"/>
                </a:lnTo>
                <a:lnTo>
                  <a:pt x="12280" y="5594"/>
                </a:lnTo>
                <a:close/>
                <a:moveTo>
                  <a:pt x="12164" y="5488"/>
                </a:moveTo>
                <a:lnTo>
                  <a:pt x="12164" y="5488"/>
                </a:lnTo>
                <a:lnTo>
                  <a:pt x="12160" y="5486"/>
                </a:lnTo>
                <a:lnTo>
                  <a:pt x="12158" y="5486"/>
                </a:lnTo>
                <a:lnTo>
                  <a:pt x="12156" y="5492"/>
                </a:lnTo>
                <a:lnTo>
                  <a:pt x="12160" y="5498"/>
                </a:lnTo>
                <a:lnTo>
                  <a:pt x="12164" y="5502"/>
                </a:lnTo>
                <a:lnTo>
                  <a:pt x="12166" y="5502"/>
                </a:lnTo>
                <a:lnTo>
                  <a:pt x="12168" y="5500"/>
                </a:lnTo>
                <a:lnTo>
                  <a:pt x="12168" y="5494"/>
                </a:lnTo>
                <a:lnTo>
                  <a:pt x="12164" y="5488"/>
                </a:lnTo>
                <a:close/>
                <a:moveTo>
                  <a:pt x="12190" y="5504"/>
                </a:moveTo>
                <a:lnTo>
                  <a:pt x="12190" y="5504"/>
                </a:lnTo>
                <a:lnTo>
                  <a:pt x="12188" y="5498"/>
                </a:lnTo>
                <a:lnTo>
                  <a:pt x="12182" y="5494"/>
                </a:lnTo>
                <a:lnTo>
                  <a:pt x="12178" y="5494"/>
                </a:lnTo>
                <a:lnTo>
                  <a:pt x="12176" y="5494"/>
                </a:lnTo>
                <a:lnTo>
                  <a:pt x="12174" y="5496"/>
                </a:lnTo>
                <a:lnTo>
                  <a:pt x="12172" y="5500"/>
                </a:lnTo>
                <a:lnTo>
                  <a:pt x="12170" y="5506"/>
                </a:lnTo>
                <a:lnTo>
                  <a:pt x="12170" y="5508"/>
                </a:lnTo>
                <a:lnTo>
                  <a:pt x="12174" y="5510"/>
                </a:lnTo>
                <a:lnTo>
                  <a:pt x="12186" y="5510"/>
                </a:lnTo>
                <a:lnTo>
                  <a:pt x="12188" y="5510"/>
                </a:lnTo>
                <a:lnTo>
                  <a:pt x="12190" y="5504"/>
                </a:lnTo>
                <a:close/>
                <a:moveTo>
                  <a:pt x="12204" y="5532"/>
                </a:moveTo>
                <a:lnTo>
                  <a:pt x="12204" y="5532"/>
                </a:lnTo>
                <a:lnTo>
                  <a:pt x="12206" y="5526"/>
                </a:lnTo>
                <a:lnTo>
                  <a:pt x="12204" y="5522"/>
                </a:lnTo>
                <a:lnTo>
                  <a:pt x="12202" y="5520"/>
                </a:lnTo>
                <a:lnTo>
                  <a:pt x="12200" y="5522"/>
                </a:lnTo>
                <a:lnTo>
                  <a:pt x="12198" y="5524"/>
                </a:lnTo>
                <a:lnTo>
                  <a:pt x="12196" y="5524"/>
                </a:lnTo>
                <a:lnTo>
                  <a:pt x="12192" y="5520"/>
                </a:lnTo>
                <a:lnTo>
                  <a:pt x="12188" y="5516"/>
                </a:lnTo>
                <a:lnTo>
                  <a:pt x="12186" y="5518"/>
                </a:lnTo>
                <a:lnTo>
                  <a:pt x="12188" y="5526"/>
                </a:lnTo>
                <a:lnTo>
                  <a:pt x="12194" y="5532"/>
                </a:lnTo>
                <a:lnTo>
                  <a:pt x="12198" y="5536"/>
                </a:lnTo>
                <a:lnTo>
                  <a:pt x="12202" y="5534"/>
                </a:lnTo>
                <a:lnTo>
                  <a:pt x="12204" y="5532"/>
                </a:lnTo>
                <a:close/>
                <a:moveTo>
                  <a:pt x="12424" y="5380"/>
                </a:moveTo>
                <a:lnTo>
                  <a:pt x="12424" y="5380"/>
                </a:lnTo>
                <a:lnTo>
                  <a:pt x="12430" y="5386"/>
                </a:lnTo>
                <a:lnTo>
                  <a:pt x="12436" y="5394"/>
                </a:lnTo>
                <a:lnTo>
                  <a:pt x="12446" y="5398"/>
                </a:lnTo>
                <a:lnTo>
                  <a:pt x="12450" y="5400"/>
                </a:lnTo>
                <a:lnTo>
                  <a:pt x="12454" y="5400"/>
                </a:lnTo>
                <a:lnTo>
                  <a:pt x="12458" y="5398"/>
                </a:lnTo>
                <a:lnTo>
                  <a:pt x="12454" y="5394"/>
                </a:lnTo>
                <a:lnTo>
                  <a:pt x="12446" y="5390"/>
                </a:lnTo>
                <a:lnTo>
                  <a:pt x="12444" y="5388"/>
                </a:lnTo>
                <a:lnTo>
                  <a:pt x="12442" y="5384"/>
                </a:lnTo>
                <a:lnTo>
                  <a:pt x="12438" y="5376"/>
                </a:lnTo>
                <a:lnTo>
                  <a:pt x="12434" y="5372"/>
                </a:lnTo>
                <a:lnTo>
                  <a:pt x="12416" y="5360"/>
                </a:lnTo>
                <a:lnTo>
                  <a:pt x="12412" y="5358"/>
                </a:lnTo>
                <a:lnTo>
                  <a:pt x="12410" y="5358"/>
                </a:lnTo>
                <a:lnTo>
                  <a:pt x="12412" y="5366"/>
                </a:lnTo>
                <a:lnTo>
                  <a:pt x="12414" y="5370"/>
                </a:lnTo>
                <a:lnTo>
                  <a:pt x="12418" y="5372"/>
                </a:lnTo>
                <a:lnTo>
                  <a:pt x="12422" y="5376"/>
                </a:lnTo>
                <a:lnTo>
                  <a:pt x="12424" y="5380"/>
                </a:lnTo>
                <a:close/>
                <a:moveTo>
                  <a:pt x="12528" y="5426"/>
                </a:moveTo>
                <a:lnTo>
                  <a:pt x="12528" y="5426"/>
                </a:lnTo>
                <a:lnTo>
                  <a:pt x="12520" y="5420"/>
                </a:lnTo>
                <a:lnTo>
                  <a:pt x="12516" y="5416"/>
                </a:lnTo>
                <a:lnTo>
                  <a:pt x="12512" y="5412"/>
                </a:lnTo>
                <a:lnTo>
                  <a:pt x="12502" y="5408"/>
                </a:lnTo>
                <a:lnTo>
                  <a:pt x="12498" y="5406"/>
                </a:lnTo>
                <a:lnTo>
                  <a:pt x="12496" y="5406"/>
                </a:lnTo>
                <a:lnTo>
                  <a:pt x="12498" y="5416"/>
                </a:lnTo>
                <a:lnTo>
                  <a:pt x="12500" y="5422"/>
                </a:lnTo>
                <a:lnTo>
                  <a:pt x="12504" y="5426"/>
                </a:lnTo>
                <a:lnTo>
                  <a:pt x="12518" y="5434"/>
                </a:lnTo>
                <a:lnTo>
                  <a:pt x="12534" y="5444"/>
                </a:lnTo>
                <a:lnTo>
                  <a:pt x="12548" y="5452"/>
                </a:lnTo>
                <a:lnTo>
                  <a:pt x="12552" y="5456"/>
                </a:lnTo>
                <a:lnTo>
                  <a:pt x="12552" y="5454"/>
                </a:lnTo>
                <a:lnTo>
                  <a:pt x="12550" y="5446"/>
                </a:lnTo>
                <a:lnTo>
                  <a:pt x="12540" y="5434"/>
                </a:lnTo>
                <a:lnTo>
                  <a:pt x="12534" y="5430"/>
                </a:lnTo>
                <a:lnTo>
                  <a:pt x="12528" y="5426"/>
                </a:lnTo>
                <a:close/>
                <a:moveTo>
                  <a:pt x="12608" y="5498"/>
                </a:moveTo>
                <a:lnTo>
                  <a:pt x="12608" y="5498"/>
                </a:lnTo>
                <a:lnTo>
                  <a:pt x="12608" y="5492"/>
                </a:lnTo>
                <a:lnTo>
                  <a:pt x="12608" y="5488"/>
                </a:lnTo>
                <a:lnTo>
                  <a:pt x="12606" y="5482"/>
                </a:lnTo>
                <a:lnTo>
                  <a:pt x="12602" y="5476"/>
                </a:lnTo>
                <a:lnTo>
                  <a:pt x="12598" y="5472"/>
                </a:lnTo>
                <a:lnTo>
                  <a:pt x="12596" y="5468"/>
                </a:lnTo>
                <a:lnTo>
                  <a:pt x="12594" y="5458"/>
                </a:lnTo>
                <a:lnTo>
                  <a:pt x="12590" y="5450"/>
                </a:lnTo>
                <a:lnTo>
                  <a:pt x="12586" y="5446"/>
                </a:lnTo>
                <a:lnTo>
                  <a:pt x="12582" y="5444"/>
                </a:lnTo>
                <a:lnTo>
                  <a:pt x="12578" y="5444"/>
                </a:lnTo>
                <a:lnTo>
                  <a:pt x="12576" y="5444"/>
                </a:lnTo>
                <a:lnTo>
                  <a:pt x="12578" y="5450"/>
                </a:lnTo>
                <a:lnTo>
                  <a:pt x="12582" y="5462"/>
                </a:lnTo>
                <a:lnTo>
                  <a:pt x="12586" y="5480"/>
                </a:lnTo>
                <a:lnTo>
                  <a:pt x="12588" y="5484"/>
                </a:lnTo>
                <a:lnTo>
                  <a:pt x="12592" y="5488"/>
                </a:lnTo>
                <a:lnTo>
                  <a:pt x="12596" y="5492"/>
                </a:lnTo>
                <a:lnTo>
                  <a:pt x="12600" y="5498"/>
                </a:lnTo>
                <a:lnTo>
                  <a:pt x="12606" y="5504"/>
                </a:lnTo>
                <a:lnTo>
                  <a:pt x="12610" y="5508"/>
                </a:lnTo>
                <a:lnTo>
                  <a:pt x="12612" y="5508"/>
                </a:lnTo>
                <a:lnTo>
                  <a:pt x="12612" y="5506"/>
                </a:lnTo>
                <a:lnTo>
                  <a:pt x="12608" y="5498"/>
                </a:lnTo>
                <a:close/>
                <a:moveTo>
                  <a:pt x="12552" y="5494"/>
                </a:moveTo>
                <a:lnTo>
                  <a:pt x="12552" y="5494"/>
                </a:lnTo>
                <a:lnTo>
                  <a:pt x="12548" y="5490"/>
                </a:lnTo>
                <a:lnTo>
                  <a:pt x="12544" y="5490"/>
                </a:lnTo>
                <a:lnTo>
                  <a:pt x="12540" y="5492"/>
                </a:lnTo>
                <a:lnTo>
                  <a:pt x="12540" y="5502"/>
                </a:lnTo>
                <a:lnTo>
                  <a:pt x="12542" y="5508"/>
                </a:lnTo>
                <a:lnTo>
                  <a:pt x="12546" y="5512"/>
                </a:lnTo>
                <a:lnTo>
                  <a:pt x="12554" y="5516"/>
                </a:lnTo>
                <a:lnTo>
                  <a:pt x="12562" y="5516"/>
                </a:lnTo>
                <a:lnTo>
                  <a:pt x="12570" y="5516"/>
                </a:lnTo>
                <a:lnTo>
                  <a:pt x="12572" y="5518"/>
                </a:lnTo>
                <a:lnTo>
                  <a:pt x="12574" y="5520"/>
                </a:lnTo>
                <a:lnTo>
                  <a:pt x="12582" y="5522"/>
                </a:lnTo>
                <a:lnTo>
                  <a:pt x="12586" y="5522"/>
                </a:lnTo>
                <a:lnTo>
                  <a:pt x="12590" y="5520"/>
                </a:lnTo>
                <a:lnTo>
                  <a:pt x="12590" y="5518"/>
                </a:lnTo>
                <a:lnTo>
                  <a:pt x="12590" y="5516"/>
                </a:lnTo>
                <a:lnTo>
                  <a:pt x="12584" y="5508"/>
                </a:lnTo>
                <a:lnTo>
                  <a:pt x="12576" y="5500"/>
                </a:lnTo>
                <a:lnTo>
                  <a:pt x="12574" y="5496"/>
                </a:lnTo>
                <a:lnTo>
                  <a:pt x="12570" y="5496"/>
                </a:lnTo>
                <a:lnTo>
                  <a:pt x="12562" y="5496"/>
                </a:lnTo>
                <a:lnTo>
                  <a:pt x="12556" y="5496"/>
                </a:lnTo>
                <a:lnTo>
                  <a:pt x="12554" y="5496"/>
                </a:lnTo>
                <a:lnTo>
                  <a:pt x="12552" y="5494"/>
                </a:lnTo>
                <a:close/>
                <a:moveTo>
                  <a:pt x="12636" y="5548"/>
                </a:moveTo>
                <a:lnTo>
                  <a:pt x="12636" y="5548"/>
                </a:lnTo>
                <a:lnTo>
                  <a:pt x="12628" y="5546"/>
                </a:lnTo>
                <a:lnTo>
                  <a:pt x="12620" y="5540"/>
                </a:lnTo>
                <a:lnTo>
                  <a:pt x="12612" y="5538"/>
                </a:lnTo>
                <a:lnTo>
                  <a:pt x="12608" y="5538"/>
                </a:lnTo>
                <a:lnTo>
                  <a:pt x="12606" y="5538"/>
                </a:lnTo>
                <a:lnTo>
                  <a:pt x="12604" y="5540"/>
                </a:lnTo>
                <a:lnTo>
                  <a:pt x="12606" y="5542"/>
                </a:lnTo>
                <a:lnTo>
                  <a:pt x="12608" y="5544"/>
                </a:lnTo>
                <a:lnTo>
                  <a:pt x="12612" y="5546"/>
                </a:lnTo>
                <a:lnTo>
                  <a:pt x="12614" y="5548"/>
                </a:lnTo>
                <a:lnTo>
                  <a:pt x="12614" y="5552"/>
                </a:lnTo>
                <a:lnTo>
                  <a:pt x="12616" y="5554"/>
                </a:lnTo>
                <a:lnTo>
                  <a:pt x="12618" y="5558"/>
                </a:lnTo>
                <a:lnTo>
                  <a:pt x="12628" y="5564"/>
                </a:lnTo>
                <a:lnTo>
                  <a:pt x="12638" y="5566"/>
                </a:lnTo>
                <a:lnTo>
                  <a:pt x="12646" y="5568"/>
                </a:lnTo>
                <a:lnTo>
                  <a:pt x="12648" y="5568"/>
                </a:lnTo>
                <a:lnTo>
                  <a:pt x="12648" y="5564"/>
                </a:lnTo>
                <a:lnTo>
                  <a:pt x="12646" y="5558"/>
                </a:lnTo>
                <a:lnTo>
                  <a:pt x="12642" y="5552"/>
                </a:lnTo>
                <a:lnTo>
                  <a:pt x="12640" y="5548"/>
                </a:lnTo>
                <a:lnTo>
                  <a:pt x="12636" y="5548"/>
                </a:lnTo>
                <a:close/>
                <a:moveTo>
                  <a:pt x="12554" y="5600"/>
                </a:moveTo>
                <a:lnTo>
                  <a:pt x="12554" y="5600"/>
                </a:lnTo>
                <a:lnTo>
                  <a:pt x="12558" y="5604"/>
                </a:lnTo>
                <a:lnTo>
                  <a:pt x="12564" y="5610"/>
                </a:lnTo>
                <a:lnTo>
                  <a:pt x="12574" y="5614"/>
                </a:lnTo>
                <a:lnTo>
                  <a:pt x="12576" y="5616"/>
                </a:lnTo>
                <a:lnTo>
                  <a:pt x="12580" y="5614"/>
                </a:lnTo>
                <a:lnTo>
                  <a:pt x="12580" y="5612"/>
                </a:lnTo>
                <a:lnTo>
                  <a:pt x="12578" y="5610"/>
                </a:lnTo>
                <a:lnTo>
                  <a:pt x="12570" y="5602"/>
                </a:lnTo>
                <a:lnTo>
                  <a:pt x="12560" y="5598"/>
                </a:lnTo>
                <a:lnTo>
                  <a:pt x="12556" y="5598"/>
                </a:lnTo>
                <a:lnTo>
                  <a:pt x="12554" y="5600"/>
                </a:lnTo>
                <a:close/>
                <a:moveTo>
                  <a:pt x="12456" y="5426"/>
                </a:moveTo>
                <a:lnTo>
                  <a:pt x="12456" y="5426"/>
                </a:lnTo>
                <a:lnTo>
                  <a:pt x="12454" y="5426"/>
                </a:lnTo>
                <a:lnTo>
                  <a:pt x="12450" y="5428"/>
                </a:lnTo>
                <a:lnTo>
                  <a:pt x="12446" y="5434"/>
                </a:lnTo>
                <a:lnTo>
                  <a:pt x="12446" y="5442"/>
                </a:lnTo>
                <a:lnTo>
                  <a:pt x="12448" y="5444"/>
                </a:lnTo>
                <a:lnTo>
                  <a:pt x="12450" y="5444"/>
                </a:lnTo>
                <a:lnTo>
                  <a:pt x="12456" y="5442"/>
                </a:lnTo>
                <a:lnTo>
                  <a:pt x="12458" y="5444"/>
                </a:lnTo>
                <a:lnTo>
                  <a:pt x="12460" y="5448"/>
                </a:lnTo>
                <a:lnTo>
                  <a:pt x="12464" y="5454"/>
                </a:lnTo>
                <a:lnTo>
                  <a:pt x="12468" y="5454"/>
                </a:lnTo>
                <a:lnTo>
                  <a:pt x="12470" y="5452"/>
                </a:lnTo>
                <a:lnTo>
                  <a:pt x="12468" y="5446"/>
                </a:lnTo>
                <a:lnTo>
                  <a:pt x="12464" y="5440"/>
                </a:lnTo>
                <a:lnTo>
                  <a:pt x="12460" y="5436"/>
                </a:lnTo>
                <a:lnTo>
                  <a:pt x="12460" y="5432"/>
                </a:lnTo>
                <a:lnTo>
                  <a:pt x="12460" y="5428"/>
                </a:lnTo>
                <a:lnTo>
                  <a:pt x="12456" y="5426"/>
                </a:lnTo>
                <a:close/>
                <a:moveTo>
                  <a:pt x="12432" y="5420"/>
                </a:moveTo>
                <a:lnTo>
                  <a:pt x="12432" y="5420"/>
                </a:lnTo>
                <a:lnTo>
                  <a:pt x="12432" y="5426"/>
                </a:lnTo>
                <a:lnTo>
                  <a:pt x="12436" y="5432"/>
                </a:lnTo>
                <a:lnTo>
                  <a:pt x="12438" y="5434"/>
                </a:lnTo>
                <a:lnTo>
                  <a:pt x="12440" y="5434"/>
                </a:lnTo>
                <a:lnTo>
                  <a:pt x="12442" y="5432"/>
                </a:lnTo>
                <a:lnTo>
                  <a:pt x="12444" y="5428"/>
                </a:lnTo>
                <a:lnTo>
                  <a:pt x="12444" y="5426"/>
                </a:lnTo>
                <a:lnTo>
                  <a:pt x="12440" y="5420"/>
                </a:lnTo>
                <a:lnTo>
                  <a:pt x="12436" y="5418"/>
                </a:lnTo>
                <a:lnTo>
                  <a:pt x="12434" y="5418"/>
                </a:lnTo>
                <a:lnTo>
                  <a:pt x="12432" y="5420"/>
                </a:lnTo>
                <a:close/>
                <a:moveTo>
                  <a:pt x="12414" y="5408"/>
                </a:moveTo>
                <a:lnTo>
                  <a:pt x="12414" y="5408"/>
                </a:lnTo>
                <a:lnTo>
                  <a:pt x="12416" y="5412"/>
                </a:lnTo>
                <a:lnTo>
                  <a:pt x="12418" y="5418"/>
                </a:lnTo>
                <a:lnTo>
                  <a:pt x="12422" y="5420"/>
                </a:lnTo>
                <a:lnTo>
                  <a:pt x="12424" y="5420"/>
                </a:lnTo>
                <a:lnTo>
                  <a:pt x="12428" y="5418"/>
                </a:lnTo>
                <a:lnTo>
                  <a:pt x="12428" y="5416"/>
                </a:lnTo>
                <a:lnTo>
                  <a:pt x="12428" y="5414"/>
                </a:lnTo>
                <a:lnTo>
                  <a:pt x="12424" y="5408"/>
                </a:lnTo>
                <a:lnTo>
                  <a:pt x="12418" y="5406"/>
                </a:lnTo>
                <a:lnTo>
                  <a:pt x="12416" y="5406"/>
                </a:lnTo>
                <a:lnTo>
                  <a:pt x="12414" y="5408"/>
                </a:lnTo>
                <a:close/>
                <a:moveTo>
                  <a:pt x="12472" y="5456"/>
                </a:moveTo>
                <a:lnTo>
                  <a:pt x="12472" y="5456"/>
                </a:lnTo>
                <a:lnTo>
                  <a:pt x="12470" y="5460"/>
                </a:lnTo>
                <a:lnTo>
                  <a:pt x="12472" y="5464"/>
                </a:lnTo>
                <a:lnTo>
                  <a:pt x="12474" y="5464"/>
                </a:lnTo>
                <a:lnTo>
                  <a:pt x="12480" y="5464"/>
                </a:lnTo>
                <a:lnTo>
                  <a:pt x="12482" y="5462"/>
                </a:lnTo>
                <a:lnTo>
                  <a:pt x="12482" y="5460"/>
                </a:lnTo>
                <a:lnTo>
                  <a:pt x="12480" y="5456"/>
                </a:lnTo>
                <a:lnTo>
                  <a:pt x="12476" y="5454"/>
                </a:lnTo>
                <a:lnTo>
                  <a:pt x="12474" y="5454"/>
                </a:lnTo>
                <a:lnTo>
                  <a:pt x="12472" y="5456"/>
                </a:lnTo>
                <a:close/>
                <a:moveTo>
                  <a:pt x="12382" y="5382"/>
                </a:moveTo>
                <a:lnTo>
                  <a:pt x="12382" y="5382"/>
                </a:lnTo>
                <a:lnTo>
                  <a:pt x="12382" y="5384"/>
                </a:lnTo>
                <a:lnTo>
                  <a:pt x="12386" y="5386"/>
                </a:lnTo>
                <a:lnTo>
                  <a:pt x="12388" y="5386"/>
                </a:lnTo>
                <a:lnTo>
                  <a:pt x="12390" y="5384"/>
                </a:lnTo>
                <a:lnTo>
                  <a:pt x="12390" y="5380"/>
                </a:lnTo>
                <a:lnTo>
                  <a:pt x="12386" y="5378"/>
                </a:lnTo>
                <a:lnTo>
                  <a:pt x="12384" y="5378"/>
                </a:lnTo>
                <a:lnTo>
                  <a:pt x="12382" y="5382"/>
                </a:lnTo>
                <a:close/>
                <a:moveTo>
                  <a:pt x="12828" y="5768"/>
                </a:moveTo>
                <a:lnTo>
                  <a:pt x="12828" y="5768"/>
                </a:lnTo>
                <a:lnTo>
                  <a:pt x="12826" y="5762"/>
                </a:lnTo>
                <a:lnTo>
                  <a:pt x="12824" y="5758"/>
                </a:lnTo>
                <a:lnTo>
                  <a:pt x="12822" y="5756"/>
                </a:lnTo>
                <a:lnTo>
                  <a:pt x="12820" y="5754"/>
                </a:lnTo>
                <a:lnTo>
                  <a:pt x="12818" y="5756"/>
                </a:lnTo>
                <a:lnTo>
                  <a:pt x="12816" y="5758"/>
                </a:lnTo>
                <a:lnTo>
                  <a:pt x="12816" y="5762"/>
                </a:lnTo>
                <a:lnTo>
                  <a:pt x="12818" y="5766"/>
                </a:lnTo>
                <a:lnTo>
                  <a:pt x="12822" y="5776"/>
                </a:lnTo>
                <a:lnTo>
                  <a:pt x="12822" y="5780"/>
                </a:lnTo>
                <a:lnTo>
                  <a:pt x="12822" y="5786"/>
                </a:lnTo>
                <a:lnTo>
                  <a:pt x="12822" y="5792"/>
                </a:lnTo>
                <a:lnTo>
                  <a:pt x="12826" y="5800"/>
                </a:lnTo>
                <a:lnTo>
                  <a:pt x="12828" y="5804"/>
                </a:lnTo>
                <a:lnTo>
                  <a:pt x="12830" y="5806"/>
                </a:lnTo>
                <a:lnTo>
                  <a:pt x="12838" y="5804"/>
                </a:lnTo>
                <a:lnTo>
                  <a:pt x="12842" y="5802"/>
                </a:lnTo>
                <a:lnTo>
                  <a:pt x="12844" y="5800"/>
                </a:lnTo>
                <a:lnTo>
                  <a:pt x="12846" y="5798"/>
                </a:lnTo>
                <a:lnTo>
                  <a:pt x="12846" y="5794"/>
                </a:lnTo>
                <a:lnTo>
                  <a:pt x="12844" y="5786"/>
                </a:lnTo>
                <a:lnTo>
                  <a:pt x="12840" y="5776"/>
                </a:lnTo>
                <a:lnTo>
                  <a:pt x="12838" y="5772"/>
                </a:lnTo>
                <a:lnTo>
                  <a:pt x="12836" y="5770"/>
                </a:lnTo>
                <a:lnTo>
                  <a:pt x="12834" y="5774"/>
                </a:lnTo>
                <a:lnTo>
                  <a:pt x="12832" y="5776"/>
                </a:lnTo>
                <a:lnTo>
                  <a:pt x="12828" y="5768"/>
                </a:lnTo>
                <a:close/>
                <a:moveTo>
                  <a:pt x="12844" y="5822"/>
                </a:moveTo>
                <a:lnTo>
                  <a:pt x="12844" y="5822"/>
                </a:lnTo>
                <a:lnTo>
                  <a:pt x="12844" y="5828"/>
                </a:lnTo>
                <a:lnTo>
                  <a:pt x="12850" y="5832"/>
                </a:lnTo>
                <a:lnTo>
                  <a:pt x="12852" y="5834"/>
                </a:lnTo>
                <a:lnTo>
                  <a:pt x="12854" y="5836"/>
                </a:lnTo>
                <a:lnTo>
                  <a:pt x="12856" y="5842"/>
                </a:lnTo>
                <a:lnTo>
                  <a:pt x="12858" y="5848"/>
                </a:lnTo>
                <a:lnTo>
                  <a:pt x="12862" y="5848"/>
                </a:lnTo>
                <a:lnTo>
                  <a:pt x="12866" y="5848"/>
                </a:lnTo>
                <a:lnTo>
                  <a:pt x="12870" y="5844"/>
                </a:lnTo>
                <a:lnTo>
                  <a:pt x="12868" y="5840"/>
                </a:lnTo>
                <a:lnTo>
                  <a:pt x="12866" y="5834"/>
                </a:lnTo>
                <a:lnTo>
                  <a:pt x="12862" y="5828"/>
                </a:lnTo>
                <a:lnTo>
                  <a:pt x="12856" y="5822"/>
                </a:lnTo>
                <a:lnTo>
                  <a:pt x="12850" y="5820"/>
                </a:lnTo>
                <a:lnTo>
                  <a:pt x="12846" y="5820"/>
                </a:lnTo>
                <a:lnTo>
                  <a:pt x="12844" y="5822"/>
                </a:lnTo>
                <a:close/>
                <a:moveTo>
                  <a:pt x="12888" y="5902"/>
                </a:moveTo>
                <a:lnTo>
                  <a:pt x="12888" y="5902"/>
                </a:lnTo>
                <a:lnTo>
                  <a:pt x="12886" y="5906"/>
                </a:lnTo>
                <a:lnTo>
                  <a:pt x="12888" y="5910"/>
                </a:lnTo>
                <a:lnTo>
                  <a:pt x="12892" y="5912"/>
                </a:lnTo>
                <a:lnTo>
                  <a:pt x="12898" y="5912"/>
                </a:lnTo>
                <a:lnTo>
                  <a:pt x="12900" y="5912"/>
                </a:lnTo>
                <a:lnTo>
                  <a:pt x="12902" y="5910"/>
                </a:lnTo>
                <a:lnTo>
                  <a:pt x="12898" y="5904"/>
                </a:lnTo>
                <a:lnTo>
                  <a:pt x="12892" y="5900"/>
                </a:lnTo>
                <a:lnTo>
                  <a:pt x="12890" y="5898"/>
                </a:lnTo>
                <a:lnTo>
                  <a:pt x="12888" y="5902"/>
                </a:lnTo>
                <a:close/>
                <a:moveTo>
                  <a:pt x="12890" y="5864"/>
                </a:moveTo>
                <a:lnTo>
                  <a:pt x="12890" y="5864"/>
                </a:lnTo>
                <a:lnTo>
                  <a:pt x="12892" y="5862"/>
                </a:lnTo>
                <a:lnTo>
                  <a:pt x="12888" y="5854"/>
                </a:lnTo>
                <a:lnTo>
                  <a:pt x="12886" y="5852"/>
                </a:lnTo>
                <a:lnTo>
                  <a:pt x="12884" y="5852"/>
                </a:lnTo>
                <a:lnTo>
                  <a:pt x="12882" y="5856"/>
                </a:lnTo>
                <a:lnTo>
                  <a:pt x="12884" y="5860"/>
                </a:lnTo>
                <a:lnTo>
                  <a:pt x="12886" y="5862"/>
                </a:lnTo>
                <a:lnTo>
                  <a:pt x="12890" y="5864"/>
                </a:lnTo>
                <a:close/>
                <a:moveTo>
                  <a:pt x="12876" y="5836"/>
                </a:moveTo>
                <a:lnTo>
                  <a:pt x="12876" y="5836"/>
                </a:lnTo>
                <a:lnTo>
                  <a:pt x="12880" y="5840"/>
                </a:lnTo>
                <a:lnTo>
                  <a:pt x="12884" y="5840"/>
                </a:lnTo>
                <a:lnTo>
                  <a:pt x="12888" y="5838"/>
                </a:lnTo>
                <a:lnTo>
                  <a:pt x="12888" y="5832"/>
                </a:lnTo>
                <a:lnTo>
                  <a:pt x="12886" y="5830"/>
                </a:lnTo>
                <a:lnTo>
                  <a:pt x="12884" y="5828"/>
                </a:lnTo>
                <a:lnTo>
                  <a:pt x="12878" y="5828"/>
                </a:lnTo>
                <a:lnTo>
                  <a:pt x="12876" y="5832"/>
                </a:lnTo>
                <a:lnTo>
                  <a:pt x="12876" y="5834"/>
                </a:lnTo>
                <a:lnTo>
                  <a:pt x="12876" y="5836"/>
                </a:lnTo>
                <a:close/>
                <a:moveTo>
                  <a:pt x="12866" y="5796"/>
                </a:moveTo>
                <a:lnTo>
                  <a:pt x="12866" y="5796"/>
                </a:lnTo>
                <a:lnTo>
                  <a:pt x="12874" y="5792"/>
                </a:lnTo>
                <a:lnTo>
                  <a:pt x="12876" y="5790"/>
                </a:lnTo>
                <a:lnTo>
                  <a:pt x="12878" y="5788"/>
                </a:lnTo>
                <a:lnTo>
                  <a:pt x="12878" y="5786"/>
                </a:lnTo>
                <a:lnTo>
                  <a:pt x="12872" y="5786"/>
                </a:lnTo>
                <a:lnTo>
                  <a:pt x="12868" y="5788"/>
                </a:lnTo>
                <a:lnTo>
                  <a:pt x="12864" y="5792"/>
                </a:lnTo>
                <a:lnTo>
                  <a:pt x="12864" y="5794"/>
                </a:lnTo>
                <a:lnTo>
                  <a:pt x="12866" y="5796"/>
                </a:lnTo>
                <a:close/>
                <a:moveTo>
                  <a:pt x="12918" y="5954"/>
                </a:moveTo>
                <a:lnTo>
                  <a:pt x="12918" y="5954"/>
                </a:lnTo>
                <a:lnTo>
                  <a:pt x="12918" y="5956"/>
                </a:lnTo>
                <a:lnTo>
                  <a:pt x="12918" y="5960"/>
                </a:lnTo>
                <a:lnTo>
                  <a:pt x="12920" y="5966"/>
                </a:lnTo>
                <a:lnTo>
                  <a:pt x="12926" y="5970"/>
                </a:lnTo>
                <a:lnTo>
                  <a:pt x="12928" y="5970"/>
                </a:lnTo>
                <a:lnTo>
                  <a:pt x="12930" y="5970"/>
                </a:lnTo>
                <a:lnTo>
                  <a:pt x="12932" y="5968"/>
                </a:lnTo>
                <a:lnTo>
                  <a:pt x="12932" y="5964"/>
                </a:lnTo>
                <a:lnTo>
                  <a:pt x="12930" y="5956"/>
                </a:lnTo>
                <a:lnTo>
                  <a:pt x="12924" y="5952"/>
                </a:lnTo>
                <a:lnTo>
                  <a:pt x="12922" y="5952"/>
                </a:lnTo>
                <a:lnTo>
                  <a:pt x="12918" y="5954"/>
                </a:lnTo>
                <a:close/>
                <a:moveTo>
                  <a:pt x="12928" y="5988"/>
                </a:moveTo>
                <a:lnTo>
                  <a:pt x="12928" y="5988"/>
                </a:lnTo>
                <a:lnTo>
                  <a:pt x="12926" y="5990"/>
                </a:lnTo>
                <a:lnTo>
                  <a:pt x="12926" y="5992"/>
                </a:lnTo>
                <a:lnTo>
                  <a:pt x="12928" y="5998"/>
                </a:lnTo>
                <a:lnTo>
                  <a:pt x="12932" y="6004"/>
                </a:lnTo>
                <a:lnTo>
                  <a:pt x="12936" y="6006"/>
                </a:lnTo>
                <a:lnTo>
                  <a:pt x="12938" y="6004"/>
                </a:lnTo>
                <a:lnTo>
                  <a:pt x="12938" y="6000"/>
                </a:lnTo>
                <a:lnTo>
                  <a:pt x="12936" y="5994"/>
                </a:lnTo>
                <a:lnTo>
                  <a:pt x="12932" y="5988"/>
                </a:lnTo>
                <a:lnTo>
                  <a:pt x="12930" y="5986"/>
                </a:lnTo>
                <a:lnTo>
                  <a:pt x="12928" y="5988"/>
                </a:lnTo>
                <a:close/>
                <a:moveTo>
                  <a:pt x="12874" y="6102"/>
                </a:moveTo>
                <a:lnTo>
                  <a:pt x="12874" y="6102"/>
                </a:lnTo>
                <a:lnTo>
                  <a:pt x="12876" y="6104"/>
                </a:lnTo>
                <a:lnTo>
                  <a:pt x="12878" y="6106"/>
                </a:lnTo>
                <a:lnTo>
                  <a:pt x="12882" y="6104"/>
                </a:lnTo>
                <a:lnTo>
                  <a:pt x="12884" y="6100"/>
                </a:lnTo>
                <a:lnTo>
                  <a:pt x="12884" y="6096"/>
                </a:lnTo>
                <a:lnTo>
                  <a:pt x="12884" y="6092"/>
                </a:lnTo>
                <a:lnTo>
                  <a:pt x="12880" y="6090"/>
                </a:lnTo>
                <a:lnTo>
                  <a:pt x="12878" y="6088"/>
                </a:lnTo>
                <a:lnTo>
                  <a:pt x="12876" y="6088"/>
                </a:lnTo>
                <a:lnTo>
                  <a:pt x="12874" y="6088"/>
                </a:lnTo>
                <a:lnTo>
                  <a:pt x="12872" y="6094"/>
                </a:lnTo>
                <a:lnTo>
                  <a:pt x="12874" y="6102"/>
                </a:lnTo>
                <a:close/>
                <a:moveTo>
                  <a:pt x="12842" y="6076"/>
                </a:moveTo>
                <a:lnTo>
                  <a:pt x="12842" y="6076"/>
                </a:lnTo>
                <a:lnTo>
                  <a:pt x="12848" y="6078"/>
                </a:lnTo>
                <a:lnTo>
                  <a:pt x="12852" y="6078"/>
                </a:lnTo>
                <a:lnTo>
                  <a:pt x="12854" y="6078"/>
                </a:lnTo>
                <a:lnTo>
                  <a:pt x="12856" y="6076"/>
                </a:lnTo>
                <a:lnTo>
                  <a:pt x="12856" y="6070"/>
                </a:lnTo>
                <a:lnTo>
                  <a:pt x="12854" y="6062"/>
                </a:lnTo>
                <a:lnTo>
                  <a:pt x="12848" y="6058"/>
                </a:lnTo>
                <a:lnTo>
                  <a:pt x="12842" y="6056"/>
                </a:lnTo>
                <a:lnTo>
                  <a:pt x="12838" y="6058"/>
                </a:lnTo>
                <a:lnTo>
                  <a:pt x="12840" y="6060"/>
                </a:lnTo>
                <a:lnTo>
                  <a:pt x="12842" y="6062"/>
                </a:lnTo>
                <a:lnTo>
                  <a:pt x="12842" y="6064"/>
                </a:lnTo>
                <a:lnTo>
                  <a:pt x="12840" y="6068"/>
                </a:lnTo>
                <a:lnTo>
                  <a:pt x="12838" y="6072"/>
                </a:lnTo>
                <a:lnTo>
                  <a:pt x="12840" y="6074"/>
                </a:lnTo>
                <a:lnTo>
                  <a:pt x="12842" y="6076"/>
                </a:lnTo>
                <a:close/>
                <a:moveTo>
                  <a:pt x="12794" y="6104"/>
                </a:moveTo>
                <a:lnTo>
                  <a:pt x="12794" y="6104"/>
                </a:lnTo>
                <a:lnTo>
                  <a:pt x="12790" y="6100"/>
                </a:lnTo>
                <a:lnTo>
                  <a:pt x="12786" y="6098"/>
                </a:lnTo>
                <a:lnTo>
                  <a:pt x="12786" y="6100"/>
                </a:lnTo>
                <a:lnTo>
                  <a:pt x="12766" y="6082"/>
                </a:lnTo>
                <a:lnTo>
                  <a:pt x="12764" y="6076"/>
                </a:lnTo>
                <a:lnTo>
                  <a:pt x="12760" y="6070"/>
                </a:lnTo>
                <a:lnTo>
                  <a:pt x="12746" y="6058"/>
                </a:lnTo>
                <a:lnTo>
                  <a:pt x="12730" y="6046"/>
                </a:lnTo>
                <a:lnTo>
                  <a:pt x="12720" y="6038"/>
                </a:lnTo>
                <a:lnTo>
                  <a:pt x="12720" y="6044"/>
                </a:lnTo>
                <a:lnTo>
                  <a:pt x="12714" y="6036"/>
                </a:lnTo>
                <a:lnTo>
                  <a:pt x="12710" y="6032"/>
                </a:lnTo>
                <a:lnTo>
                  <a:pt x="12708" y="6032"/>
                </a:lnTo>
                <a:lnTo>
                  <a:pt x="12710" y="6040"/>
                </a:lnTo>
                <a:lnTo>
                  <a:pt x="12722" y="6060"/>
                </a:lnTo>
                <a:lnTo>
                  <a:pt x="12722" y="6064"/>
                </a:lnTo>
                <a:lnTo>
                  <a:pt x="12724" y="6064"/>
                </a:lnTo>
                <a:lnTo>
                  <a:pt x="12722" y="6066"/>
                </a:lnTo>
                <a:lnTo>
                  <a:pt x="12734" y="6076"/>
                </a:lnTo>
                <a:lnTo>
                  <a:pt x="12740" y="6080"/>
                </a:lnTo>
                <a:lnTo>
                  <a:pt x="12746" y="6094"/>
                </a:lnTo>
                <a:lnTo>
                  <a:pt x="12748" y="6092"/>
                </a:lnTo>
                <a:lnTo>
                  <a:pt x="12750" y="6098"/>
                </a:lnTo>
                <a:lnTo>
                  <a:pt x="12752" y="6098"/>
                </a:lnTo>
                <a:lnTo>
                  <a:pt x="12758" y="6104"/>
                </a:lnTo>
                <a:lnTo>
                  <a:pt x="12764" y="6108"/>
                </a:lnTo>
                <a:lnTo>
                  <a:pt x="12772" y="6114"/>
                </a:lnTo>
                <a:lnTo>
                  <a:pt x="12780" y="6120"/>
                </a:lnTo>
                <a:lnTo>
                  <a:pt x="12788" y="6126"/>
                </a:lnTo>
                <a:lnTo>
                  <a:pt x="12806" y="6136"/>
                </a:lnTo>
                <a:lnTo>
                  <a:pt x="12806" y="6140"/>
                </a:lnTo>
                <a:lnTo>
                  <a:pt x="12806" y="6142"/>
                </a:lnTo>
                <a:lnTo>
                  <a:pt x="12824" y="6138"/>
                </a:lnTo>
                <a:lnTo>
                  <a:pt x="12828" y="6136"/>
                </a:lnTo>
                <a:lnTo>
                  <a:pt x="12828" y="6134"/>
                </a:lnTo>
                <a:lnTo>
                  <a:pt x="12818" y="6126"/>
                </a:lnTo>
                <a:lnTo>
                  <a:pt x="12794" y="6104"/>
                </a:lnTo>
                <a:close/>
                <a:moveTo>
                  <a:pt x="10286" y="4978"/>
                </a:moveTo>
                <a:lnTo>
                  <a:pt x="10286" y="4978"/>
                </a:lnTo>
                <a:lnTo>
                  <a:pt x="10288" y="4980"/>
                </a:lnTo>
                <a:lnTo>
                  <a:pt x="10290" y="4980"/>
                </a:lnTo>
                <a:lnTo>
                  <a:pt x="10294" y="4978"/>
                </a:lnTo>
                <a:lnTo>
                  <a:pt x="10298" y="4976"/>
                </a:lnTo>
                <a:lnTo>
                  <a:pt x="10300" y="4974"/>
                </a:lnTo>
                <a:lnTo>
                  <a:pt x="10296" y="4972"/>
                </a:lnTo>
                <a:lnTo>
                  <a:pt x="10290" y="4972"/>
                </a:lnTo>
                <a:lnTo>
                  <a:pt x="10286" y="4974"/>
                </a:lnTo>
                <a:lnTo>
                  <a:pt x="10286" y="4976"/>
                </a:lnTo>
                <a:lnTo>
                  <a:pt x="10286" y="4978"/>
                </a:lnTo>
                <a:close/>
                <a:moveTo>
                  <a:pt x="10310" y="4974"/>
                </a:moveTo>
                <a:lnTo>
                  <a:pt x="10310" y="4974"/>
                </a:lnTo>
                <a:lnTo>
                  <a:pt x="10304" y="4978"/>
                </a:lnTo>
                <a:lnTo>
                  <a:pt x="10300" y="4982"/>
                </a:lnTo>
                <a:lnTo>
                  <a:pt x="10298" y="4984"/>
                </a:lnTo>
                <a:lnTo>
                  <a:pt x="10294" y="4986"/>
                </a:lnTo>
                <a:lnTo>
                  <a:pt x="10296" y="4990"/>
                </a:lnTo>
                <a:lnTo>
                  <a:pt x="10298" y="4990"/>
                </a:lnTo>
                <a:lnTo>
                  <a:pt x="10302" y="4990"/>
                </a:lnTo>
                <a:lnTo>
                  <a:pt x="10308" y="4996"/>
                </a:lnTo>
                <a:lnTo>
                  <a:pt x="10306" y="4996"/>
                </a:lnTo>
                <a:lnTo>
                  <a:pt x="10304" y="4996"/>
                </a:lnTo>
                <a:lnTo>
                  <a:pt x="10302" y="4998"/>
                </a:lnTo>
                <a:lnTo>
                  <a:pt x="10302" y="5000"/>
                </a:lnTo>
                <a:lnTo>
                  <a:pt x="10306" y="5004"/>
                </a:lnTo>
                <a:lnTo>
                  <a:pt x="10308" y="5004"/>
                </a:lnTo>
                <a:lnTo>
                  <a:pt x="10310" y="5002"/>
                </a:lnTo>
                <a:lnTo>
                  <a:pt x="10308" y="4998"/>
                </a:lnTo>
                <a:lnTo>
                  <a:pt x="10308" y="4996"/>
                </a:lnTo>
                <a:lnTo>
                  <a:pt x="10322" y="5008"/>
                </a:lnTo>
                <a:lnTo>
                  <a:pt x="10324" y="5006"/>
                </a:lnTo>
                <a:lnTo>
                  <a:pt x="10326" y="5002"/>
                </a:lnTo>
                <a:lnTo>
                  <a:pt x="10328" y="4996"/>
                </a:lnTo>
                <a:lnTo>
                  <a:pt x="10326" y="4988"/>
                </a:lnTo>
                <a:lnTo>
                  <a:pt x="10326" y="4982"/>
                </a:lnTo>
                <a:lnTo>
                  <a:pt x="10322" y="4976"/>
                </a:lnTo>
                <a:lnTo>
                  <a:pt x="10316" y="4972"/>
                </a:lnTo>
                <a:lnTo>
                  <a:pt x="10310" y="4974"/>
                </a:lnTo>
                <a:close/>
                <a:moveTo>
                  <a:pt x="8358" y="3706"/>
                </a:moveTo>
                <a:lnTo>
                  <a:pt x="8358" y="3706"/>
                </a:lnTo>
                <a:lnTo>
                  <a:pt x="8356" y="3708"/>
                </a:lnTo>
                <a:lnTo>
                  <a:pt x="8354" y="3710"/>
                </a:lnTo>
                <a:lnTo>
                  <a:pt x="8346" y="3714"/>
                </a:lnTo>
                <a:lnTo>
                  <a:pt x="8340" y="3718"/>
                </a:lnTo>
                <a:lnTo>
                  <a:pt x="8338" y="3720"/>
                </a:lnTo>
                <a:lnTo>
                  <a:pt x="8338" y="3722"/>
                </a:lnTo>
                <a:lnTo>
                  <a:pt x="8340" y="3722"/>
                </a:lnTo>
                <a:lnTo>
                  <a:pt x="8344" y="3722"/>
                </a:lnTo>
                <a:lnTo>
                  <a:pt x="8352" y="3720"/>
                </a:lnTo>
                <a:lnTo>
                  <a:pt x="8364" y="3712"/>
                </a:lnTo>
                <a:lnTo>
                  <a:pt x="8374" y="3704"/>
                </a:lnTo>
                <a:lnTo>
                  <a:pt x="8374" y="3702"/>
                </a:lnTo>
                <a:lnTo>
                  <a:pt x="8374" y="3700"/>
                </a:lnTo>
                <a:lnTo>
                  <a:pt x="8368" y="3700"/>
                </a:lnTo>
                <a:lnTo>
                  <a:pt x="8358" y="3706"/>
                </a:lnTo>
                <a:close/>
                <a:moveTo>
                  <a:pt x="8050" y="3552"/>
                </a:moveTo>
                <a:lnTo>
                  <a:pt x="8050" y="3552"/>
                </a:lnTo>
                <a:lnTo>
                  <a:pt x="8050" y="3556"/>
                </a:lnTo>
                <a:lnTo>
                  <a:pt x="8050" y="3562"/>
                </a:lnTo>
                <a:lnTo>
                  <a:pt x="8054" y="3566"/>
                </a:lnTo>
                <a:lnTo>
                  <a:pt x="8056" y="3566"/>
                </a:lnTo>
                <a:lnTo>
                  <a:pt x="8056" y="3562"/>
                </a:lnTo>
                <a:lnTo>
                  <a:pt x="8056" y="3556"/>
                </a:lnTo>
                <a:lnTo>
                  <a:pt x="8052" y="3552"/>
                </a:lnTo>
                <a:lnTo>
                  <a:pt x="8050" y="3552"/>
                </a:lnTo>
                <a:close/>
                <a:moveTo>
                  <a:pt x="7034" y="3210"/>
                </a:moveTo>
                <a:lnTo>
                  <a:pt x="7034" y="3210"/>
                </a:lnTo>
                <a:lnTo>
                  <a:pt x="7032" y="3208"/>
                </a:lnTo>
                <a:lnTo>
                  <a:pt x="7030" y="3210"/>
                </a:lnTo>
                <a:lnTo>
                  <a:pt x="7030" y="3214"/>
                </a:lnTo>
                <a:lnTo>
                  <a:pt x="7032" y="3220"/>
                </a:lnTo>
                <a:lnTo>
                  <a:pt x="7036" y="3222"/>
                </a:lnTo>
                <a:lnTo>
                  <a:pt x="7038" y="3220"/>
                </a:lnTo>
                <a:lnTo>
                  <a:pt x="7036" y="3214"/>
                </a:lnTo>
                <a:lnTo>
                  <a:pt x="7034" y="3210"/>
                </a:lnTo>
                <a:close/>
                <a:moveTo>
                  <a:pt x="7154" y="3110"/>
                </a:moveTo>
                <a:lnTo>
                  <a:pt x="7154" y="3110"/>
                </a:lnTo>
                <a:lnTo>
                  <a:pt x="7158" y="3108"/>
                </a:lnTo>
                <a:lnTo>
                  <a:pt x="7160" y="3104"/>
                </a:lnTo>
                <a:lnTo>
                  <a:pt x="7162" y="3100"/>
                </a:lnTo>
                <a:lnTo>
                  <a:pt x="7160" y="3094"/>
                </a:lnTo>
                <a:lnTo>
                  <a:pt x="7160" y="3090"/>
                </a:lnTo>
                <a:lnTo>
                  <a:pt x="7158" y="3088"/>
                </a:lnTo>
                <a:lnTo>
                  <a:pt x="7154" y="3086"/>
                </a:lnTo>
                <a:lnTo>
                  <a:pt x="7150" y="3088"/>
                </a:lnTo>
                <a:lnTo>
                  <a:pt x="7148" y="3090"/>
                </a:lnTo>
                <a:lnTo>
                  <a:pt x="7148" y="3092"/>
                </a:lnTo>
                <a:lnTo>
                  <a:pt x="7152" y="3096"/>
                </a:lnTo>
                <a:lnTo>
                  <a:pt x="7152" y="3100"/>
                </a:lnTo>
                <a:lnTo>
                  <a:pt x="7150" y="3106"/>
                </a:lnTo>
                <a:lnTo>
                  <a:pt x="7150" y="3110"/>
                </a:lnTo>
                <a:lnTo>
                  <a:pt x="7152" y="3112"/>
                </a:lnTo>
                <a:lnTo>
                  <a:pt x="7154" y="3110"/>
                </a:lnTo>
                <a:close/>
                <a:moveTo>
                  <a:pt x="7226" y="3234"/>
                </a:moveTo>
                <a:lnTo>
                  <a:pt x="7226" y="3234"/>
                </a:lnTo>
                <a:lnTo>
                  <a:pt x="7228" y="3234"/>
                </a:lnTo>
                <a:lnTo>
                  <a:pt x="7232" y="3232"/>
                </a:lnTo>
                <a:lnTo>
                  <a:pt x="7238" y="3222"/>
                </a:lnTo>
                <a:lnTo>
                  <a:pt x="7244" y="3210"/>
                </a:lnTo>
                <a:lnTo>
                  <a:pt x="7244" y="3206"/>
                </a:lnTo>
                <a:lnTo>
                  <a:pt x="7244" y="3204"/>
                </a:lnTo>
                <a:lnTo>
                  <a:pt x="7242" y="3204"/>
                </a:lnTo>
                <a:lnTo>
                  <a:pt x="7238" y="3204"/>
                </a:lnTo>
                <a:lnTo>
                  <a:pt x="7230" y="3208"/>
                </a:lnTo>
                <a:lnTo>
                  <a:pt x="7224" y="3214"/>
                </a:lnTo>
                <a:lnTo>
                  <a:pt x="7222" y="3218"/>
                </a:lnTo>
                <a:lnTo>
                  <a:pt x="7224" y="3220"/>
                </a:lnTo>
                <a:lnTo>
                  <a:pt x="7224" y="3224"/>
                </a:lnTo>
                <a:lnTo>
                  <a:pt x="7224" y="3226"/>
                </a:lnTo>
                <a:lnTo>
                  <a:pt x="7224" y="3230"/>
                </a:lnTo>
                <a:lnTo>
                  <a:pt x="7226" y="3234"/>
                </a:lnTo>
                <a:close/>
                <a:moveTo>
                  <a:pt x="7168" y="3044"/>
                </a:moveTo>
                <a:lnTo>
                  <a:pt x="7168" y="3044"/>
                </a:lnTo>
                <a:lnTo>
                  <a:pt x="7166" y="3042"/>
                </a:lnTo>
                <a:lnTo>
                  <a:pt x="7162" y="3044"/>
                </a:lnTo>
                <a:lnTo>
                  <a:pt x="7152" y="3048"/>
                </a:lnTo>
                <a:lnTo>
                  <a:pt x="7150" y="3050"/>
                </a:lnTo>
                <a:lnTo>
                  <a:pt x="7148" y="3052"/>
                </a:lnTo>
                <a:lnTo>
                  <a:pt x="7150" y="3056"/>
                </a:lnTo>
                <a:lnTo>
                  <a:pt x="7156" y="3060"/>
                </a:lnTo>
                <a:lnTo>
                  <a:pt x="7166" y="3064"/>
                </a:lnTo>
                <a:lnTo>
                  <a:pt x="7170" y="3066"/>
                </a:lnTo>
                <a:lnTo>
                  <a:pt x="7176" y="3064"/>
                </a:lnTo>
                <a:lnTo>
                  <a:pt x="7178" y="3062"/>
                </a:lnTo>
                <a:lnTo>
                  <a:pt x="7178" y="3060"/>
                </a:lnTo>
                <a:lnTo>
                  <a:pt x="7178" y="3058"/>
                </a:lnTo>
                <a:lnTo>
                  <a:pt x="7176" y="3054"/>
                </a:lnTo>
                <a:lnTo>
                  <a:pt x="7172" y="3050"/>
                </a:lnTo>
                <a:lnTo>
                  <a:pt x="7170" y="3048"/>
                </a:lnTo>
                <a:lnTo>
                  <a:pt x="7170" y="3046"/>
                </a:lnTo>
                <a:lnTo>
                  <a:pt x="7168" y="3044"/>
                </a:lnTo>
                <a:close/>
                <a:moveTo>
                  <a:pt x="7100" y="2966"/>
                </a:moveTo>
                <a:lnTo>
                  <a:pt x="7100" y="2966"/>
                </a:lnTo>
                <a:lnTo>
                  <a:pt x="7096" y="2968"/>
                </a:lnTo>
                <a:lnTo>
                  <a:pt x="7094" y="2970"/>
                </a:lnTo>
                <a:lnTo>
                  <a:pt x="7096" y="2974"/>
                </a:lnTo>
                <a:lnTo>
                  <a:pt x="7098" y="2976"/>
                </a:lnTo>
                <a:lnTo>
                  <a:pt x="7100" y="2978"/>
                </a:lnTo>
                <a:lnTo>
                  <a:pt x="7102" y="2976"/>
                </a:lnTo>
                <a:lnTo>
                  <a:pt x="7104" y="2972"/>
                </a:lnTo>
                <a:lnTo>
                  <a:pt x="7104" y="2968"/>
                </a:lnTo>
                <a:lnTo>
                  <a:pt x="7102" y="2966"/>
                </a:lnTo>
                <a:lnTo>
                  <a:pt x="7100" y="2966"/>
                </a:lnTo>
                <a:close/>
                <a:moveTo>
                  <a:pt x="6938" y="3124"/>
                </a:moveTo>
                <a:lnTo>
                  <a:pt x="6938" y="3124"/>
                </a:lnTo>
                <a:lnTo>
                  <a:pt x="6938" y="3126"/>
                </a:lnTo>
                <a:lnTo>
                  <a:pt x="6940" y="3132"/>
                </a:lnTo>
                <a:lnTo>
                  <a:pt x="6944" y="3136"/>
                </a:lnTo>
                <a:lnTo>
                  <a:pt x="6950" y="3136"/>
                </a:lnTo>
                <a:lnTo>
                  <a:pt x="6952" y="3136"/>
                </a:lnTo>
                <a:lnTo>
                  <a:pt x="6952" y="3134"/>
                </a:lnTo>
                <a:lnTo>
                  <a:pt x="6948" y="3128"/>
                </a:lnTo>
                <a:lnTo>
                  <a:pt x="6942" y="3124"/>
                </a:lnTo>
                <a:lnTo>
                  <a:pt x="6938" y="3124"/>
                </a:lnTo>
                <a:close/>
                <a:moveTo>
                  <a:pt x="7062" y="3248"/>
                </a:moveTo>
                <a:lnTo>
                  <a:pt x="7062" y="3248"/>
                </a:lnTo>
                <a:lnTo>
                  <a:pt x="7060" y="3252"/>
                </a:lnTo>
                <a:lnTo>
                  <a:pt x="7058" y="3252"/>
                </a:lnTo>
                <a:lnTo>
                  <a:pt x="7056" y="3256"/>
                </a:lnTo>
                <a:lnTo>
                  <a:pt x="7056" y="3264"/>
                </a:lnTo>
                <a:lnTo>
                  <a:pt x="7058" y="3268"/>
                </a:lnTo>
                <a:lnTo>
                  <a:pt x="7060" y="3270"/>
                </a:lnTo>
                <a:lnTo>
                  <a:pt x="7072" y="3270"/>
                </a:lnTo>
                <a:lnTo>
                  <a:pt x="7086" y="3272"/>
                </a:lnTo>
                <a:lnTo>
                  <a:pt x="7094" y="3274"/>
                </a:lnTo>
                <a:lnTo>
                  <a:pt x="7102" y="3278"/>
                </a:lnTo>
                <a:lnTo>
                  <a:pt x="7106" y="3282"/>
                </a:lnTo>
                <a:lnTo>
                  <a:pt x="7112" y="3284"/>
                </a:lnTo>
                <a:lnTo>
                  <a:pt x="7124" y="3284"/>
                </a:lnTo>
                <a:lnTo>
                  <a:pt x="7136" y="3282"/>
                </a:lnTo>
                <a:lnTo>
                  <a:pt x="7152" y="3280"/>
                </a:lnTo>
                <a:lnTo>
                  <a:pt x="7160" y="3280"/>
                </a:lnTo>
                <a:lnTo>
                  <a:pt x="7164" y="3278"/>
                </a:lnTo>
                <a:lnTo>
                  <a:pt x="7168" y="3274"/>
                </a:lnTo>
                <a:lnTo>
                  <a:pt x="7168" y="3272"/>
                </a:lnTo>
                <a:lnTo>
                  <a:pt x="7166" y="3270"/>
                </a:lnTo>
                <a:lnTo>
                  <a:pt x="7164" y="3268"/>
                </a:lnTo>
                <a:lnTo>
                  <a:pt x="7158" y="3268"/>
                </a:lnTo>
                <a:lnTo>
                  <a:pt x="7152" y="3272"/>
                </a:lnTo>
                <a:lnTo>
                  <a:pt x="7148" y="3274"/>
                </a:lnTo>
                <a:lnTo>
                  <a:pt x="7146" y="3274"/>
                </a:lnTo>
                <a:lnTo>
                  <a:pt x="7146" y="3270"/>
                </a:lnTo>
                <a:lnTo>
                  <a:pt x="7144" y="3266"/>
                </a:lnTo>
                <a:lnTo>
                  <a:pt x="7142" y="3264"/>
                </a:lnTo>
                <a:lnTo>
                  <a:pt x="7136" y="3264"/>
                </a:lnTo>
                <a:lnTo>
                  <a:pt x="7130" y="3264"/>
                </a:lnTo>
                <a:lnTo>
                  <a:pt x="7126" y="3264"/>
                </a:lnTo>
                <a:lnTo>
                  <a:pt x="7118" y="3262"/>
                </a:lnTo>
                <a:lnTo>
                  <a:pt x="7108" y="3260"/>
                </a:lnTo>
                <a:lnTo>
                  <a:pt x="7102" y="3260"/>
                </a:lnTo>
                <a:lnTo>
                  <a:pt x="7094" y="3260"/>
                </a:lnTo>
                <a:lnTo>
                  <a:pt x="7090" y="3260"/>
                </a:lnTo>
                <a:lnTo>
                  <a:pt x="7086" y="3260"/>
                </a:lnTo>
                <a:lnTo>
                  <a:pt x="7084" y="3256"/>
                </a:lnTo>
                <a:lnTo>
                  <a:pt x="7080" y="3250"/>
                </a:lnTo>
                <a:lnTo>
                  <a:pt x="7078" y="3250"/>
                </a:lnTo>
                <a:lnTo>
                  <a:pt x="7076" y="3252"/>
                </a:lnTo>
                <a:lnTo>
                  <a:pt x="7074" y="3252"/>
                </a:lnTo>
                <a:lnTo>
                  <a:pt x="7072" y="3252"/>
                </a:lnTo>
                <a:lnTo>
                  <a:pt x="7068" y="3248"/>
                </a:lnTo>
                <a:lnTo>
                  <a:pt x="7064" y="3246"/>
                </a:lnTo>
                <a:lnTo>
                  <a:pt x="7062" y="3248"/>
                </a:lnTo>
                <a:close/>
                <a:moveTo>
                  <a:pt x="6928" y="3106"/>
                </a:moveTo>
                <a:lnTo>
                  <a:pt x="6928" y="3106"/>
                </a:lnTo>
                <a:lnTo>
                  <a:pt x="6928" y="3110"/>
                </a:lnTo>
                <a:lnTo>
                  <a:pt x="6932" y="3112"/>
                </a:lnTo>
                <a:lnTo>
                  <a:pt x="6936" y="3112"/>
                </a:lnTo>
                <a:lnTo>
                  <a:pt x="6940" y="3114"/>
                </a:lnTo>
                <a:lnTo>
                  <a:pt x="6944" y="3116"/>
                </a:lnTo>
                <a:lnTo>
                  <a:pt x="6944" y="3114"/>
                </a:lnTo>
                <a:lnTo>
                  <a:pt x="6944" y="3112"/>
                </a:lnTo>
                <a:lnTo>
                  <a:pt x="6942" y="3108"/>
                </a:lnTo>
                <a:lnTo>
                  <a:pt x="6938" y="3104"/>
                </a:lnTo>
                <a:lnTo>
                  <a:pt x="6936" y="3098"/>
                </a:lnTo>
                <a:lnTo>
                  <a:pt x="6936" y="3096"/>
                </a:lnTo>
                <a:lnTo>
                  <a:pt x="6934" y="3098"/>
                </a:lnTo>
                <a:lnTo>
                  <a:pt x="6932" y="3100"/>
                </a:lnTo>
                <a:lnTo>
                  <a:pt x="6930" y="3100"/>
                </a:lnTo>
                <a:lnTo>
                  <a:pt x="6928" y="3102"/>
                </a:lnTo>
                <a:lnTo>
                  <a:pt x="6928" y="3106"/>
                </a:lnTo>
                <a:close/>
                <a:moveTo>
                  <a:pt x="7092" y="3110"/>
                </a:moveTo>
                <a:lnTo>
                  <a:pt x="7092" y="3110"/>
                </a:lnTo>
                <a:lnTo>
                  <a:pt x="7086" y="3106"/>
                </a:lnTo>
                <a:lnTo>
                  <a:pt x="7084" y="3102"/>
                </a:lnTo>
                <a:lnTo>
                  <a:pt x="7080" y="3086"/>
                </a:lnTo>
                <a:lnTo>
                  <a:pt x="7080" y="3084"/>
                </a:lnTo>
                <a:lnTo>
                  <a:pt x="7078" y="3082"/>
                </a:lnTo>
                <a:lnTo>
                  <a:pt x="7072" y="3080"/>
                </a:lnTo>
                <a:lnTo>
                  <a:pt x="7064" y="3078"/>
                </a:lnTo>
                <a:lnTo>
                  <a:pt x="7058" y="3074"/>
                </a:lnTo>
                <a:lnTo>
                  <a:pt x="7050" y="3068"/>
                </a:lnTo>
                <a:lnTo>
                  <a:pt x="7048" y="3066"/>
                </a:lnTo>
                <a:lnTo>
                  <a:pt x="7044" y="3066"/>
                </a:lnTo>
                <a:lnTo>
                  <a:pt x="7036" y="3066"/>
                </a:lnTo>
                <a:lnTo>
                  <a:pt x="7030" y="3070"/>
                </a:lnTo>
                <a:lnTo>
                  <a:pt x="7028" y="3072"/>
                </a:lnTo>
                <a:lnTo>
                  <a:pt x="7038" y="3074"/>
                </a:lnTo>
                <a:lnTo>
                  <a:pt x="7052" y="3082"/>
                </a:lnTo>
                <a:lnTo>
                  <a:pt x="7058" y="3088"/>
                </a:lnTo>
                <a:lnTo>
                  <a:pt x="7060" y="3092"/>
                </a:lnTo>
                <a:lnTo>
                  <a:pt x="7062" y="3096"/>
                </a:lnTo>
                <a:lnTo>
                  <a:pt x="7068" y="3098"/>
                </a:lnTo>
                <a:lnTo>
                  <a:pt x="7072" y="3098"/>
                </a:lnTo>
                <a:lnTo>
                  <a:pt x="7076" y="3100"/>
                </a:lnTo>
                <a:lnTo>
                  <a:pt x="7082" y="3108"/>
                </a:lnTo>
                <a:lnTo>
                  <a:pt x="7086" y="3116"/>
                </a:lnTo>
                <a:lnTo>
                  <a:pt x="7092" y="3122"/>
                </a:lnTo>
                <a:lnTo>
                  <a:pt x="7096" y="3122"/>
                </a:lnTo>
                <a:lnTo>
                  <a:pt x="7098" y="3118"/>
                </a:lnTo>
                <a:lnTo>
                  <a:pt x="7096" y="3114"/>
                </a:lnTo>
                <a:lnTo>
                  <a:pt x="7092" y="3110"/>
                </a:lnTo>
                <a:close/>
                <a:moveTo>
                  <a:pt x="7132" y="3176"/>
                </a:moveTo>
                <a:lnTo>
                  <a:pt x="7132" y="3176"/>
                </a:lnTo>
                <a:lnTo>
                  <a:pt x="7136" y="3178"/>
                </a:lnTo>
                <a:lnTo>
                  <a:pt x="7136" y="3176"/>
                </a:lnTo>
                <a:lnTo>
                  <a:pt x="7138" y="3172"/>
                </a:lnTo>
                <a:lnTo>
                  <a:pt x="7138" y="3166"/>
                </a:lnTo>
                <a:lnTo>
                  <a:pt x="7136" y="3164"/>
                </a:lnTo>
                <a:lnTo>
                  <a:pt x="7134" y="3164"/>
                </a:lnTo>
                <a:lnTo>
                  <a:pt x="7130" y="3166"/>
                </a:lnTo>
                <a:lnTo>
                  <a:pt x="7128" y="3170"/>
                </a:lnTo>
                <a:lnTo>
                  <a:pt x="7130" y="3174"/>
                </a:lnTo>
                <a:lnTo>
                  <a:pt x="7132" y="3176"/>
                </a:lnTo>
                <a:close/>
                <a:moveTo>
                  <a:pt x="7202" y="3244"/>
                </a:moveTo>
                <a:lnTo>
                  <a:pt x="7202" y="3244"/>
                </a:lnTo>
                <a:lnTo>
                  <a:pt x="7200" y="3242"/>
                </a:lnTo>
                <a:lnTo>
                  <a:pt x="7198" y="3248"/>
                </a:lnTo>
                <a:lnTo>
                  <a:pt x="7198" y="3256"/>
                </a:lnTo>
                <a:lnTo>
                  <a:pt x="7200" y="3258"/>
                </a:lnTo>
                <a:lnTo>
                  <a:pt x="7202" y="3258"/>
                </a:lnTo>
                <a:lnTo>
                  <a:pt x="7206" y="3258"/>
                </a:lnTo>
                <a:lnTo>
                  <a:pt x="7206" y="3254"/>
                </a:lnTo>
                <a:lnTo>
                  <a:pt x="7202" y="3244"/>
                </a:lnTo>
                <a:close/>
                <a:moveTo>
                  <a:pt x="6898" y="3024"/>
                </a:moveTo>
                <a:lnTo>
                  <a:pt x="6898" y="3024"/>
                </a:lnTo>
                <a:lnTo>
                  <a:pt x="6898" y="3028"/>
                </a:lnTo>
                <a:lnTo>
                  <a:pt x="6902" y="3034"/>
                </a:lnTo>
                <a:lnTo>
                  <a:pt x="6908" y="3040"/>
                </a:lnTo>
                <a:lnTo>
                  <a:pt x="6914" y="3044"/>
                </a:lnTo>
                <a:lnTo>
                  <a:pt x="6916" y="3042"/>
                </a:lnTo>
                <a:lnTo>
                  <a:pt x="6912" y="3036"/>
                </a:lnTo>
                <a:lnTo>
                  <a:pt x="6908" y="3030"/>
                </a:lnTo>
                <a:lnTo>
                  <a:pt x="6906" y="3026"/>
                </a:lnTo>
                <a:lnTo>
                  <a:pt x="6906" y="3022"/>
                </a:lnTo>
                <a:lnTo>
                  <a:pt x="6904" y="3020"/>
                </a:lnTo>
                <a:lnTo>
                  <a:pt x="6900" y="3020"/>
                </a:lnTo>
                <a:lnTo>
                  <a:pt x="6898" y="3024"/>
                </a:lnTo>
                <a:close/>
                <a:moveTo>
                  <a:pt x="7128" y="3010"/>
                </a:moveTo>
                <a:lnTo>
                  <a:pt x="7128" y="3010"/>
                </a:lnTo>
                <a:lnTo>
                  <a:pt x="7124" y="3010"/>
                </a:lnTo>
                <a:lnTo>
                  <a:pt x="7120" y="3008"/>
                </a:lnTo>
                <a:lnTo>
                  <a:pt x="7116" y="3010"/>
                </a:lnTo>
                <a:lnTo>
                  <a:pt x="7116" y="3012"/>
                </a:lnTo>
                <a:lnTo>
                  <a:pt x="7114" y="3016"/>
                </a:lnTo>
                <a:lnTo>
                  <a:pt x="7114" y="3018"/>
                </a:lnTo>
                <a:lnTo>
                  <a:pt x="7116" y="3020"/>
                </a:lnTo>
                <a:lnTo>
                  <a:pt x="7118" y="3020"/>
                </a:lnTo>
                <a:lnTo>
                  <a:pt x="7122" y="3018"/>
                </a:lnTo>
                <a:lnTo>
                  <a:pt x="7122" y="3016"/>
                </a:lnTo>
                <a:lnTo>
                  <a:pt x="7124" y="3016"/>
                </a:lnTo>
                <a:lnTo>
                  <a:pt x="7126" y="3018"/>
                </a:lnTo>
                <a:lnTo>
                  <a:pt x="7128" y="3020"/>
                </a:lnTo>
                <a:lnTo>
                  <a:pt x="7132" y="3010"/>
                </a:lnTo>
                <a:lnTo>
                  <a:pt x="7132" y="3008"/>
                </a:lnTo>
                <a:lnTo>
                  <a:pt x="7128" y="3010"/>
                </a:lnTo>
                <a:close/>
                <a:moveTo>
                  <a:pt x="7142" y="3002"/>
                </a:moveTo>
                <a:lnTo>
                  <a:pt x="7142" y="3002"/>
                </a:lnTo>
                <a:lnTo>
                  <a:pt x="7142" y="3004"/>
                </a:lnTo>
                <a:lnTo>
                  <a:pt x="7144" y="3004"/>
                </a:lnTo>
                <a:lnTo>
                  <a:pt x="7154" y="3002"/>
                </a:lnTo>
                <a:lnTo>
                  <a:pt x="7156" y="3000"/>
                </a:lnTo>
                <a:lnTo>
                  <a:pt x="7152" y="2996"/>
                </a:lnTo>
                <a:lnTo>
                  <a:pt x="7146" y="2996"/>
                </a:lnTo>
                <a:lnTo>
                  <a:pt x="7144" y="2998"/>
                </a:lnTo>
                <a:lnTo>
                  <a:pt x="7142" y="3002"/>
                </a:lnTo>
                <a:close/>
                <a:moveTo>
                  <a:pt x="7120" y="3174"/>
                </a:moveTo>
                <a:lnTo>
                  <a:pt x="7120" y="3174"/>
                </a:lnTo>
                <a:lnTo>
                  <a:pt x="7122" y="3174"/>
                </a:lnTo>
                <a:lnTo>
                  <a:pt x="7124" y="3172"/>
                </a:lnTo>
                <a:lnTo>
                  <a:pt x="7126" y="3168"/>
                </a:lnTo>
                <a:lnTo>
                  <a:pt x="7124" y="3166"/>
                </a:lnTo>
                <a:lnTo>
                  <a:pt x="7122" y="3166"/>
                </a:lnTo>
                <a:lnTo>
                  <a:pt x="7118" y="3168"/>
                </a:lnTo>
                <a:lnTo>
                  <a:pt x="7118" y="3170"/>
                </a:lnTo>
                <a:lnTo>
                  <a:pt x="7120" y="3174"/>
                </a:lnTo>
                <a:close/>
                <a:moveTo>
                  <a:pt x="7094" y="3190"/>
                </a:moveTo>
                <a:lnTo>
                  <a:pt x="7094" y="3190"/>
                </a:lnTo>
                <a:lnTo>
                  <a:pt x="7096" y="3188"/>
                </a:lnTo>
                <a:lnTo>
                  <a:pt x="7094" y="3186"/>
                </a:lnTo>
                <a:lnTo>
                  <a:pt x="7092" y="3186"/>
                </a:lnTo>
                <a:lnTo>
                  <a:pt x="7088" y="3188"/>
                </a:lnTo>
                <a:lnTo>
                  <a:pt x="7086" y="3188"/>
                </a:lnTo>
                <a:lnTo>
                  <a:pt x="7084" y="3192"/>
                </a:lnTo>
                <a:lnTo>
                  <a:pt x="7086" y="3194"/>
                </a:lnTo>
                <a:lnTo>
                  <a:pt x="7090" y="3194"/>
                </a:lnTo>
                <a:lnTo>
                  <a:pt x="7094" y="3190"/>
                </a:lnTo>
                <a:close/>
                <a:moveTo>
                  <a:pt x="7086" y="3144"/>
                </a:moveTo>
                <a:lnTo>
                  <a:pt x="7086" y="3144"/>
                </a:lnTo>
                <a:lnTo>
                  <a:pt x="7088" y="3144"/>
                </a:lnTo>
                <a:lnTo>
                  <a:pt x="7090" y="3142"/>
                </a:lnTo>
                <a:lnTo>
                  <a:pt x="7090" y="3138"/>
                </a:lnTo>
                <a:lnTo>
                  <a:pt x="7090" y="3136"/>
                </a:lnTo>
                <a:lnTo>
                  <a:pt x="7088" y="3136"/>
                </a:lnTo>
                <a:lnTo>
                  <a:pt x="7086" y="3138"/>
                </a:lnTo>
                <a:lnTo>
                  <a:pt x="7084" y="3142"/>
                </a:lnTo>
                <a:lnTo>
                  <a:pt x="7086" y="3144"/>
                </a:lnTo>
                <a:close/>
                <a:moveTo>
                  <a:pt x="7090" y="3156"/>
                </a:moveTo>
                <a:lnTo>
                  <a:pt x="7090" y="3156"/>
                </a:lnTo>
                <a:lnTo>
                  <a:pt x="7094" y="3156"/>
                </a:lnTo>
                <a:lnTo>
                  <a:pt x="7092" y="3150"/>
                </a:lnTo>
                <a:lnTo>
                  <a:pt x="7090" y="3150"/>
                </a:lnTo>
                <a:lnTo>
                  <a:pt x="7088" y="3152"/>
                </a:lnTo>
                <a:lnTo>
                  <a:pt x="7088" y="3156"/>
                </a:lnTo>
                <a:lnTo>
                  <a:pt x="7090" y="3156"/>
                </a:lnTo>
                <a:close/>
                <a:moveTo>
                  <a:pt x="7170" y="3136"/>
                </a:moveTo>
                <a:lnTo>
                  <a:pt x="7170" y="3136"/>
                </a:lnTo>
                <a:lnTo>
                  <a:pt x="7168" y="3136"/>
                </a:lnTo>
                <a:lnTo>
                  <a:pt x="7162" y="3136"/>
                </a:lnTo>
                <a:lnTo>
                  <a:pt x="7156" y="3140"/>
                </a:lnTo>
                <a:lnTo>
                  <a:pt x="7154" y="3144"/>
                </a:lnTo>
                <a:lnTo>
                  <a:pt x="7156" y="3146"/>
                </a:lnTo>
                <a:lnTo>
                  <a:pt x="7162" y="3144"/>
                </a:lnTo>
                <a:lnTo>
                  <a:pt x="7166" y="3140"/>
                </a:lnTo>
                <a:lnTo>
                  <a:pt x="7170" y="3136"/>
                </a:lnTo>
                <a:close/>
                <a:moveTo>
                  <a:pt x="6936" y="3086"/>
                </a:moveTo>
                <a:lnTo>
                  <a:pt x="6936" y="3086"/>
                </a:lnTo>
                <a:lnTo>
                  <a:pt x="6938" y="3086"/>
                </a:lnTo>
                <a:lnTo>
                  <a:pt x="6940" y="3084"/>
                </a:lnTo>
                <a:lnTo>
                  <a:pt x="6940" y="3080"/>
                </a:lnTo>
                <a:lnTo>
                  <a:pt x="6940" y="3076"/>
                </a:lnTo>
                <a:lnTo>
                  <a:pt x="6938" y="3076"/>
                </a:lnTo>
                <a:lnTo>
                  <a:pt x="6936" y="3076"/>
                </a:lnTo>
                <a:lnTo>
                  <a:pt x="6934" y="3080"/>
                </a:lnTo>
                <a:lnTo>
                  <a:pt x="6932" y="3084"/>
                </a:lnTo>
                <a:lnTo>
                  <a:pt x="6934" y="3086"/>
                </a:lnTo>
                <a:lnTo>
                  <a:pt x="6936" y="3086"/>
                </a:lnTo>
                <a:close/>
                <a:moveTo>
                  <a:pt x="7094" y="3066"/>
                </a:moveTo>
                <a:lnTo>
                  <a:pt x="7094" y="3066"/>
                </a:lnTo>
                <a:lnTo>
                  <a:pt x="7094" y="3072"/>
                </a:lnTo>
                <a:lnTo>
                  <a:pt x="7096" y="3076"/>
                </a:lnTo>
                <a:lnTo>
                  <a:pt x="7100" y="3078"/>
                </a:lnTo>
                <a:lnTo>
                  <a:pt x="7102" y="3076"/>
                </a:lnTo>
                <a:lnTo>
                  <a:pt x="7102" y="3074"/>
                </a:lnTo>
                <a:lnTo>
                  <a:pt x="7098" y="3070"/>
                </a:lnTo>
                <a:lnTo>
                  <a:pt x="7096" y="3066"/>
                </a:lnTo>
                <a:lnTo>
                  <a:pt x="7094" y="3064"/>
                </a:lnTo>
                <a:lnTo>
                  <a:pt x="7094" y="3066"/>
                </a:lnTo>
                <a:close/>
                <a:moveTo>
                  <a:pt x="7102" y="3120"/>
                </a:moveTo>
                <a:lnTo>
                  <a:pt x="7102" y="3120"/>
                </a:lnTo>
                <a:lnTo>
                  <a:pt x="7102" y="3124"/>
                </a:lnTo>
                <a:lnTo>
                  <a:pt x="7106" y="3128"/>
                </a:lnTo>
                <a:lnTo>
                  <a:pt x="7116" y="3140"/>
                </a:lnTo>
                <a:lnTo>
                  <a:pt x="7120" y="3144"/>
                </a:lnTo>
                <a:lnTo>
                  <a:pt x="7122" y="3146"/>
                </a:lnTo>
                <a:lnTo>
                  <a:pt x="7124" y="3142"/>
                </a:lnTo>
                <a:lnTo>
                  <a:pt x="7120" y="3138"/>
                </a:lnTo>
                <a:lnTo>
                  <a:pt x="7116" y="3132"/>
                </a:lnTo>
                <a:lnTo>
                  <a:pt x="7110" y="3124"/>
                </a:lnTo>
                <a:lnTo>
                  <a:pt x="7106" y="3120"/>
                </a:lnTo>
                <a:lnTo>
                  <a:pt x="7104" y="3120"/>
                </a:lnTo>
                <a:lnTo>
                  <a:pt x="7102" y="3120"/>
                </a:lnTo>
                <a:close/>
                <a:moveTo>
                  <a:pt x="11690" y="3124"/>
                </a:moveTo>
                <a:lnTo>
                  <a:pt x="11690" y="3124"/>
                </a:lnTo>
                <a:lnTo>
                  <a:pt x="11694" y="3116"/>
                </a:lnTo>
                <a:lnTo>
                  <a:pt x="11694" y="3108"/>
                </a:lnTo>
                <a:lnTo>
                  <a:pt x="11694" y="3106"/>
                </a:lnTo>
                <a:lnTo>
                  <a:pt x="11692" y="3104"/>
                </a:lnTo>
                <a:lnTo>
                  <a:pt x="11688" y="3106"/>
                </a:lnTo>
                <a:lnTo>
                  <a:pt x="11684" y="3110"/>
                </a:lnTo>
                <a:lnTo>
                  <a:pt x="11682" y="3114"/>
                </a:lnTo>
                <a:lnTo>
                  <a:pt x="11680" y="3118"/>
                </a:lnTo>
                <a:lnTo>
                  <a:pt x="11680" y="3122"/>
                </a:lnTo>
                <a:lnTo>
                  <a:pt x="11682" y="3124"/>
                </a:lnTo>
                <a:lnTo>
                  <a:pt x="11684" y="3126"/>
                </a:lnTo>
                <a:lnTo>
                  <a:pt x="11686" y="3126"/>
                </a:lnTo>
                <a:lnTo>
                  <a:pt x="11688" y="3126"/>
                </a:lnTo>
                <a:lnTo>
                  <a:pt x="11690" y="3124"/>
                </a:lnTo>
                <a:close/>
                <a:moveTo>
                  <a:pt x="11438" y="3278"/>
                </a:moveTo>
                <a:lnTo>
                  <a:pt x="11438" y="3278"/>
                </a:lnTo>
                <a:lnTo>
                  <a:pt x="11430" y="3286"/>
                </a:lnTo>
                <a:lnTo>
                  <a:pt x="11426" y="3292"/>
                </a:lnTo>
                <a:lnTo>
                  <a:pt x="11418" y="3294"/>
                </a:lnTo>
                <a:lnTo>
                  <a:pt x="11412" y="3296"/>
                </a:lnTo>
                <a:lnTo>
                  <a:pt x="11406" y="3306"/>
                </a:lnTo>
                <a:lnTo>
                  <a:pt x="11402" y="3310"/>
                </a:lnTo>
                <a:lnTo>
                  <a:pt x="11398" y="3314"/>
                </a:lnTo>
                <a:lnTo>
                  <a:pt x="11392" y="3314"/>
                </a:lnTo>
                <a:lnTo>
                  <a:pt x="11388" y="3314"/>
                </a:lnTo>
                <a:lnTo>
                  <a:pt x="11386" y="3316"/>
                </a:lnTo>
                <a:lnTo>
                  <a:pt x="11384" y="3320"/>
                </a:lnTo>
                <a:lnTo>
                  <a:pt x="11384" y="3326"/>
                </a:lnTo>
                <a:lnTo>
                  <a:pt x="11384" y="3332"/>
                </a:lnTo>
                <a:lnTo>
                  <a:pt x="11388" y="3336"/>
                </a:lnTo>
                <a:lnTo>
                  <a:pt x="11392" y="3336"/>
                </a:lnTo>
                <a:lnTo>
                  <a:pt x="11398" y="3336"/>
                </a:lnTo>
                <a:lnTo>
                  <a:pt x="11410" y="3334"/>
                </a:lnTo>
                <a:lnTo>
                  <a:pt x="11418" y="3334"/>
                </a:lnTo>
                <a:lnTo>
                  <a:pt x="11424" y="3336"/>
                </a:lnTo>
                <a:lnTo>
                  <a:pt x="11430" y="3340"/>
                </a:lnTo>
                <a:lnTo>
                  <a:pt x="11434" y="3338"/>
                </a:lnTo>
                <a:lnTo>
                  <a:pt x="11434" y="3336"/>
                </a:lnTo>
                <a:lnTo>
                  <a:pt x="11434" y="3332"/>
                </a:lnTo>
                <a:lnTo>
                  <a:pt x="11434" y="3324"/>
                </a:lnTo>
                <a:lnTo>
                  <a:pt x="11436" y="3320"/>
                </a:lnTo>
                <a:lnTo>
                  <a:pt x="11440" y="3316"/>
                </a:lnTo>
                <a:lnTo>
                  <a:pt x="11444" y="3314"/>
                </a:lnTo>
                <a:lnTo>
                  <a:pt x="11448" y="3316"/>
                </a:lnTo>
                <a:lnTo>
                  <a:pt x="11450" y="3320"/>
                </a:lnTo>
                <a:lnTo>
                  <a:pt x="11460" y="3320"/>
                </a:lnTo>
                <a:lnTo>
                  <a:pt x="11484" y="3314"/>
                </a:lnTo>
                <a:lnTo>
                  <a:pt x="11510" y="3306"/>
                </a:lnTo>
                <a:lnTo>
                  <a:pt x="11514" y="3304"/>
                </a:lnTo>
                <a:lnTo>
                  <a:pt x="11518" y="3302"/>
                </a:lnTo>
                <a:lnTo>
                  <a:pt x="11520" y="3296"/>
                </a:lnTo>
                <a:lnTo>
                  <a:pt x="11522" y="3294"/>
                </a:lnTo>
                <a:lnTo>
                  <a:pt x="11524" y="3294"/>
                </a:lnTo>
                <a:lnTo>
                  <a:pt x="11536" y="3298"/>
                </a:lnTo>
                <a:lnTo>
                  <a:pt x="11544" y="3300"/>
                </a:lnTo>
                <a:lnTo>
                  <a:pt x="11550" y="3300"/>
                </a:lnTo>
                <a:lnTo>
                  <a:pt x="11560" y="3298"/>
                </a:lnTo>
                <a:lnTo>
                  <a:pt x="11564" y="3296"/>
                </a:lnTo>
                <a:lnTo>
                  <a:pt x="11566" y="3302"/>
                </a:lnTo>
                <a:lnTo>
                  <a:pt x="11566" y="3306"/>
                </a:lnTo>
                <a:lnTo>
                  <a:pt x="11564" y="3308"/>
                </a:lnTo>
                <a:lnTo>
                  <a:pt x="11560" y="3314"/>
                </a:lnTo>
                <a:lnTo>
                  <a:pt x="11556" y="3318"/>
                </a:lnTo>
                <a:lnTo>
                  <a:pt x="11554" y="3320"/>
                </a:lnTo>
                <a:lnTo>
                  <a:pt x="11554" y="3324"/>
                </a:lnTo>
                <a:lnTo>
                  <a:pt x="11554" y="3330"/>
                </a:lnTo>
                <a:lnTo>
                  <a:pt x="11552" y="3336"/>
                </a:lnTo>
                <a:lnTo>
                  <a:pt x="11552" y="3340"/>
                </a:lnTo>
                <a:lnTo>
                  <a:pt x="11554" y="3342"/>
                </a:lnTo>
                <a:lnTo>
                  <a:pt x="11556" y="3346"/>
                </a:lnTo>
                <a:lnTo>
                  <a:pt x="11562" y="3348"/>
                </a:lnTo>
                <a:lnTo>
                  <a:pt x="11562" y="3352"/>
                </a:lnTo>
                <a:lnTo>
                  <a:pt x="11564" y="3356"/>
                </a:lnTo>
                <a:lnTo>
                  <a:pt x="11574" y="3362"/>
                </a:lnTo>
                <a:lnTo>
                  <a:pt x="11572" y="3364"/>
                </a:lnTo>
                <a:lnTo>
                  <a:pt x="11576" y="3366"/>
                </a:lnTo>
                <a:lnTo>
                  <a:pt x="11580" y="3364"/>
                </a:lnTo>
                <a:lnTo>
                  <a:pt x="11584" y="3360"/>
                </a:lnTo>
                <a:lnTo>
                  <a:pt x="11588" y="3354"/>
                </a:lnTo>
                <a:lnTo>
                  <a:pt x="11604" y="3328"/>
                </a:lnTo>
                <a:lnTo>
                  <a:pt x="11608" y="3324"/>
                </a:lnTo>
                <a:lnTo>
                  <a:pt x="11612" y="3320"/>
                </a:lnTo>
                <a:lnTo>
                  <a:pt x="11622" y="3318"/>
                </a:lnTo>
                <a:lnTo>
                  <a:pt x="11626" y="3316"/>
                </a:lnTo>
                <a:lnTo>
                  <a:pt x="11626" y="3314"/>
                </a:lnTo>
                <a:lnTo>
                  <a:pt x="11624" y="3312"/>
                </a:lnTo>
                <a:lnTo>
                  <a:pt x="11618" y="3308"/>
                </a:lnTo>
                <a:lnTo>
                  <a:pt x="11612" y="3302"/>
                </a:lnTo>
                <a:lnTo>
                  <a:pt x="11610" y="3296"/>
                </a:lnTo>
                <a:lnTo>
                  <a:pt x="11610" y="3290"/>
                </a:lnTo>
                <a:lnTo>
                  <a:pt x="11612" y="3284"/>
                </a:lnTo>
                <a:lnTo>
                  <a:pt x="11616" y="3280"/>
                </a:lnTo>
                <a:lnTo>
                  <a:pt x="11620" y="3280"/>
                </a:lnTo>
                <a:lnTo>
                  <a:pt x="11622" y="3280"/>
                </a:lnTo>
                <a:lnTo>
                  <a:pt x="11624" y="3286"/>
                </a:lnTo>
                <a:lnTo>
                  <a:pt x="11624" y="3292"/>
                </a:lnTo>
                <a:lnTo>
                  <a:pt x="11626" y="3294"/>
                </a:lnTo>
                <a:lnTo>
                  <a:pt x="11630" y="3296"/>
                </a:lnTo>
                <a:lnTo>
                  <a:pt x="11634" y="3296"/>
                </a:lnTo>
                <a:lnTo>
                  <a:pt x="11638" y="3294"/>
                </a:lnTo>
                <a:lnTo>
                  <a:pt x="11634" y="3300"/>
                </a:lnTo>
                <a:lnTo>
                  <a:pt x="11632" y="3302"/>
                </a:lnTo>
                <a:lnTo>
                  <a:pt x="11630" y="3304"/>
                </a:lnTo>
                <a:lnTo>
                  <a:pt x="11638" y="3304"/>
                </a:lnTo>
                <a:lnTo>
                  <a:pt x="11650" y="3302"/>
                </a:lnTo>
                <a:lnTo>
                  <a:pt x="11662" y="3302"/>
                </a:lnTo>
                <a:lnTo>
                  <a:pt x="11670" y="3302"/>
                </a:lnTo>
                <a:lnTo>
                  <a:pt x="11674" y="3302"/>
                </a:lnTo>
                <a:lnTo>
                  <a:pt x="11676" y="3300"/>
                </a:lnTo>
                <a:lnTo>
                  <a:pt x="11682" y="3292"/>
                </a:lnTo>
                <a:lnTo>
                  <a:pt x="11688" y="3282"/>
                </a:lnTo>
                <a:lnTo>
                  <a:pt x="11696" y="3276"/>
                </a:lnTo>
                <a:lnTo>
                  <a:pt x="11698" y="3276"/>
                </a:lnTo>
                <a:lnTo>
                  <a:pt x="11700" y="3276"/>
                </a:lnTo>
                <a:lnTo>
                  <a:pt x="11700" y="3282"/>
                </a:lnTo>
                <a:lnTo>
                  <a:pt x="11700" y="3288"/>
                </a:lnTo>
                <a:lnTo>
                  <a:pt x="11698" y="3296"/>
                </a:lnTo>
                <a:lnTo>
                  <a:pt x="11700" y="3300"/>
                </a:lnTo>
                <a:lnTo>
                  <a:pt x="11702" y="3302"/>
                </a:lnTo>
                <a:lnTo>
                  <a:pt x="11704" y="3302"/>
                </a:lnTo>
                <a:lnTo>
                  <a:pt x="11708" y="3298"/>
                </a:lnTo>
                <a:lnTo>
                  <a:pt x="11712" y="3286"/>
                </a:lnTo>
                <a:lnTo>
                  <a:pt x="11714" y="3274"/>
                </a:lnTo>
                <a:lnTo>
                  <a:pt x="11718" y="3268"/>
                </a:lnTo>
                <a:lnTo>
                  <a:pt x="11720" y="3266"/>
                </a:lnTo>
                <a:lnTo>
                  <a:pt x="11722" y="3264"/>
                </a:lnTo>
                <a:lnTo>
                  <a:pt x="11730" y="3270"/>
                </a:lnTo>
                <a:lnTo>
                  <a:pt x="11736" y="3274"/>
                </a:lnTo>
                <a:lnTo>
                  <a:pt x="11736" y="3270"/>
                </a:lnTo>
                <a:lnTo>
                  <a:pt x="11736" y="3264"/>
                </a:lnTo>
                <a:lnTo>
                  <a:pt x="11736" y="3258"/>
                </a:lnTo>
                <a:lnTo>
                  <a:pt x="11738" y="3254"/>
                </a:lnTo>
                <a:lnTo>
                  <a:pt x="11740" y="3250"/>
                </a:lnTo>
                <a:lnTo>
                  <a:pt x="11744" y="3248"/>
                </a:lnTo>
                <a:lnTo>
                  <a:pt x="11750" y="3246"/>
                </a:lnTo>
                <a:lnTo>
                  <a:pt x="11752" y="3248"/>
                </a:lnTo>
                <a:lnTo>
                  <a:pt x="11752" y="3252"/>
                </a:lnTo>
                <a:lnTo>
                  <a:pt x="11750" y="3256"/>
                </a:lnTo>
                <a:lnTo>
                  <a:pt x="11746" y="3266"/>
                </a:lnTo>
                <a:lnTo>
                  <a:pt x="11742" y="3280"/>
                </a:lnTo>
                <a:lnTo>
                  <a:pt x="11742" y="3288"/>
                </a:lnTo>
                <a:lnTo>
                  <a:pt x="11744" y="3288"/>
                </a:lnTo>
                <a:lnTo>
                  <a:pt x="11748" y="3284"/>
                </a:lnTo>
                <a:lnTo>
                  <a:pt x="11752" y="3280"/>
                </a:lnTo>
                <a:lnTo>
                  <a:pt x="11754" y="3278"/>
                </a:lnTo>
                <a:lnTo>
                  <a:pt x="11760" y="3276"/>
                </a:lnTo>
                <a:lnTo>
                  <a:pt x="11762" y="3274"/>
                </a:lnTo>
                <a:lnTo>
                  <a:pt x="11764" y="3272"/>
                </a:lnTo>
                <a:lnTo>
                  <a:pt x="11766" y="3258"/>
                </a:lnTo>
                <a:lnTo>
                  <a:pt x="11770" y="3252"/>
                </a:lnTo>
                <a:lnTo>
                  <a:pt x="11774" y="3248"/>
                </a:lnTo>
                <a:lnTo>
                  <a:pt x="11778" y="3246"/>
                </a:lnTo>
                <a:lnTo>
                  <a:pt x="11784" y="3248"/>
                </a:lnTo>
                <a:lnTo>
                  <a:pt x="11786" y="3248"/>
                </a:lnTo>
                <a:lnTo>
                  <a:pt x="11788" y="3246"/>
                </a:lnTo>
                <a:lnTo>
                  <a:pt x="11786" y="3242"/>
                </a:lnTo>
                <a:lnTo>
                  <a:pt x="11780" y="3232"/>
                </a:lnTo>
                <a:lnTo>
                  <a:pt x="11776" y="3226"/>
                </a:lnTo>
                <a:lnTo>
                  <a:pt x="11774" y="3222"/>
                </a:lnTo>
                <a:lnTo>
                  <a:pt x="11772" y="3210"/>
                </a:lnTo>
                <a:lnTo>
                  <a:pt x="11776" y="3200"/>
                </a:lnTo>
                <a:lnTo>
                  <a:pt x="11780" y="3188"/>
                </a:lnTo>
                <a:lnTo>
                  <a:pt x="11786" y="3176"/>
                </a:lnTo>
                <a:lnTo>
                  <a:pt x="11790" y="3164"/>
                </a:lnTo>
                <a:lnTo>
                  <a:pt x="11792" y="3152"/>
                </a:lnTo>
                <a:lnTo>
                  <a:pt x="11790" y="3138"/>
                </a:lnTo>
                <a:lnTo>
                  <a:pt x="11788" y="3128"/>
                </a:lnTo>
                <a:lnTo>
                  <a:pt x="11786" y="3120"/>
                </a:lnTo>
                <a:lnTo>
                  <a:pt x="11788" y="3112"/>
                </a:lnTo>
                <a:lnTo>
                  <a:pt x="11790" y="3106"/>
                </a:lnTo>
                <a:lnTo>
                  <a:pt x="11792" y="3100"/>
                </a:lnTo>
                <a:lnTo>
                  <a:pt x="11796" y="3098"/>
                </a:lnTo>
                <a:lnTo>
                  <a:pt x="11800" y="3098"/>
                </a:lnTo>
                <a:lnTo>
                  <a:pt x="11806" y="3102"/>
                </a:lnTo>
                <a:lnTo>
                  <a:pt x="11810" y="3104"/>
                </a:lnTo>
                <a:lnTo>
                  <a:pt x="11812" y="3104"/>
                </a:lnTo>
                <a:lnTo>
                  <a:pt x="11812" y="3096"/>
                </a:lnTo>
                <a:lnTo>
                  <a:pt x="11812" y="3082"/>
                </a:lnTo>
                <a:lnTo>
                  <a:pt x="11814" y="3074"/>
                </a:lnTo>
                <a:lnTo>
                  <a:pt x="11820" y="3068"/>
                </a:lnTo>
                <a:lnTo>
                  <a:pt x="11824" y="3058"/>
                </a:lnTo>
                <a:lnTo>
                  <a:pt x="11828" y="3050"/>
                </a:lnTo>
                <a:lnTo>
                  <a:pt x="11830" y="3040"/>
                </a:lnTo>
                <a:lnTo>
                  <a:pt x="11832" y="3030"/>
                </a:lnTo>
                <a:lnTo>
                  <a:pt x="11832" y="3020"/>
                </a:lnTo>
                <a:lnTo>
                  <a:pt x="11830" y="3010"/>
                </a:lnTo>
                <a:lnTo>
                  <a:pt x="11826" y="3002"/>
                </a:lnTo>
                <a:lnTo>
                  <a:pt x="11820" y="2994"/>
                </a:lnTo>
                <a:lnTo>
                  <a:pt x="11814" y="2988"/>
                </a:lnTo>
                <a:lnTo>
                  <a:pt x="11810" y="2980"/>
                </a:lnTo>
                <a:lnTo>
                  <a:pt x="11806" y="2964"/>
                </a:lnTo>
                <a:lnTo>
                  <a:pt x="11806" y="2950"/>
                </a:lnTo>
                <a:lnTo>
                  <a:pt x="11806" y="2940"/>
                </a:lnTo>
                <a:lnTo>
                  <a:pt x="11808" y="2936"/>
                </a:lnTo>
                <a:lnTo>
                  <a:pt x="11806" y="2934"/>
                </a:lnTo>
                <a:lnTo>
                  <a:pt x="11802" y="2932"/>
                </a:lnTo>
                <a:lnTo>
                  <a:pt x="11796" y="2930"/>
                </a:lnTo>
                <a:lnTo>
                  <a:pt x="11790" y="2926"/>
                </a:lnTo>
                <a:lnTo>
                  <a:pt x="11788" y="2926"/>
                </a:lnTo>
                <a:lnTo>
                  <a:pt x="11786" y="2928"/>
                </a:lnTo>
                <a:lnTo>
                  <a:pt x="11782" y="2936"/>
                </a:lnTo>
                <a:lnTo>
                  <a:pt x="11782" y="2940"/>
                </a:lnTo>
                <a:lnTo>
                  <a:pt x="11784" y="2944"/>
                </a:lnTo>
                <a:lnTo>
                  <a:pt x="11786" y="2944"/>
                </a:lnTo>
                <a:lnTo>
                  <a:pt x="11790" y="2944"/>
                </a:lnTo>
                <a:lnTo>
                  <a:pt x="11796" y="2944"/>
                </a:lnTo>
                <a:lnTo>
                  <a:pt x="11798" y="2946"/>
                </a:lnTo>
                <a:lnTo>
                  <a:pt x="11800" y="2948"/>
                </a:lnTo>
                <a:lnTo>
                  <a:pt x="11800" y="2952"/>
                </a:lnTo>
                <a:lnTo>
                  <a:pt x="11798" y="2960"/>
                </a:lnTo>
                <a:lnTo>
                  <a:pt x="11794" y="2960"/>
                </a:lnTo>
                <a:lnTo>
                  <a:pt x="11792" y="2960"/>
                </a:lnTo>
                <a:lnTo>
                  <a:pt x="11790" y="2958"/>
                </a:lnTo>
                <a:lnTo>
                  <a:pt x="11786" y="2958"/>
                </a:lnTo>
                <a:lnTo>
                  <a:pt x="11782" y="2962"/>
                </a:lnTo>
                <a:lnTo>
                  <a:pt x="11780" y="2964"/>
                </a:lnTo>
                <a:lnTo>
                  <a:pt x="11778" y="2964"/>
                </a:lnTo>
                <a:lnTo>
                  <a:pt x="11776" y="2962"/>
                </a:lnTo>
                <a:lnTo>
                  <a:pt x="11776" y="2956"/>
                </a:lnTo>
                <a:lnTo>
                  <a:pt x="11774" y="2944"/>
                </a:lnTo>
                <a:lnTo>
                  <a:pt x="11772" y="2942"/>
                </a:lnTo>
                <a:lnTo>
                  <a:pt x="11770" y="2940"/>
                </a:lnTo>
                <a:lnTo>
                  <a:pt x="11766" y="2940"/>
                </a:lnTo>
                <a:lnTo>
                  <a:pt x="11764" y="2944"/>
                </a:lnTo>
                <a:lnTo>
                  <a:pt x="11762" y="2948"/>
                </a:lnTo>
                <a:lnTo>
                  <a:pt x="11762" y="2956"/>
                </a:lnTo>
                <a:lnTo>
                  <a:pt x="11760" y="2964"/>
                </a:lnTo>
                <a:lnTo>
                  <a:pt x="11758" y="2966"/>
                </a:lnTo>
                <a:lnTo>
                  <a:pt x="11754" y="2968"/>
                </a:lnTo>
                <a:lnTo>
                  <a:pt x="11750" y="2968"/>
                </a:lnTo>
                <a:lnTo>
                  <a:pt x="11746" y="2970"/>
                </a:lnTo>
                <a:lnTo>
                  <a:pt x="11744" y="2972"/>
                </a:lnTo>
                <a:lnTo>
                  <a:pt x="11744" y="2976"/>
                </a:lnTo>
                <a:lnTo>
                  <a:pt x="11746" y="2984"/>
                </a:lnTo>
                <a:lnTo>
                  <a:pt x="11748" y="2994"/>
                </a:lnTo>
                <a:lnTo>
                  <a:pt x="11748" y="3000"/>
                </a:lnTo>
                <a:lnTo>
                  <a:pt x="11746" y="3004"/>
                </a:lnTo>
                <a:lnTo>
                  <a:pt x="11744" y="3006"/>
                </a:lnTo>
                <a:lnTo>
                  <a:pt x="11740" y="3008"/>
                </a:lnTo>
                <a:lnTo>
                  <a:pt x="11738" y="3010"/>
                </a:lnTo>
                <a:lnTo>
                  <a:pt x="11738" y="3014"/>
                </a:lnTo>
                <a:lnTo>
                  <a:pt x="11738" y="3016"/>
                </a:lnTo>
                <a:lnTo>
                  <a:pt x="11740" y="3016"/>
                </a:lnTo>
                <a:lnTo>
                  <a:pt x="11744" y="3018"/>
                </a:lnTo>
                <a:lnTo>
                  <a:pt x="11746" y="3020"/>
                </a:lnTo>
                <a:lnTo>
                  <a:pt x="11748" y="3024"/>
                </a:lnTo>
                <a:lnTo>
                  <a:pt x="11748" y="3032"/>
                </a:lnTo>
                <a:lnTo>
                  <a:pt x="11748" y="3046"/>
                </a:lnTo>
                <a:lnTo>
                  <a:pt x="11742" y="3066"/>
                </a:lnTo>
                <a:lnTo>
                  <a:pt x="11738" y="3082"/>
                </a:lnTo>
                <a:lnTo>
                  <a:pt x="11732" y="3094"/>
                </a:lnTo>
                <a:lnTo>
                  <a:pt x="11728" y="3104"/>
                </a:lnTo>
                <a:lnTo>
                  <a:pt x="11722" y="3112"/>
                </a:lnTo>
                <a:lnTo>
                  <a:pt x="11710" y="3124"/>
                </a:lnTo>
                <a:lnTo>
                  <a:pt x="11698" y="3142"/>
                </a:lnTo>
                <a:lnTo>
                  <a:pt x="11690" y="3152"/>
                </a:lnTo>
                <a:lnTo>
                  <a:pt x="11684" y="3158"/>
                </a:lnTo>
                <a:lnTo>
                  <a:pt x="11676" y="3164"/>
                </a:lnTo>
                <a:lnTo>
                  <a:pt x="11670" y="3166"/>
                </a:lnTo>
                <a:lnTo>
                  <a:pt x="11656" y="3172"/>
                </a:lnTo>
                <a:lnTo>
                  <a:pt x="11648" y="3176"/>
                </a:lnTo>
                <a:lnTo>
                  <a:pt x="11640" y="3182"/>
                </a:lnTo>
                <a:lnTo>
                  <a:pt x="11632" y="3190"/>
                </a:lnTo>
                <a:lnTo>
                  <a:pt x="11630" y="3188"/>
                </a:lnTo>
                <a:lnTo>
                  <a:pt x="11630" y="3186"/>
                </a:lnTo>
                <a:lnTo>
                  <a:pt x="11632" y="3178"/>
                </a:lnTo>
                <a:lnTo>
                  <a:pt x="11632" y="3174"/>
                </a:lnTo>
                <a:lnTo>
                  <a:pt x="11630" y="3170"/>
                </a:lnTo>
                <a:lnTo>
                  <a:pt x="11628" y="3168"/>
                </a:lnTo>
                <a:lnTo>
                  <a:pt x="11628" y="3164"/>
                </a:lnTo>
                <a:lnTo>
                  <a:pt x="11636" y="3160"/>
                </a:lnTo>
                <a:lnTo>
                  <a:pt x="11644" y="3152"/>
                </a:lnTo>
                <a:lnTo>
                  <a:pt x="11644" y="3148"/>
                </a:lnTo>
                <a:lnTo>
                  <a:pt x="11642" y="3144"/>
                </a:lnTo>
                <a:lnTo>
                  <a:pt x="11640" y="3144"/>
                </a:lnTo>
                <a:lnTo>
                  <a:pt x="11636" y="3144"/>
                </a:lnTo>
                <a:lnTo>
                  <a:pt x="11628" y="3148"/>
                </a:lnTo>
                <a:lnTo>
                  <a:pt x="11622" y="3152"/>
                </a:lnTo>
                <a:lnTo>
                  <a:pt x="11620" y="3156"/>
                </a:lnTo>
                <a:lnTo>
                  <a:pt x="11618" y="3160"/>
                </a:lnTo>
                <a:lnTo>
                  <a:pt x="11618" y="3166"/>
                </a:lnTo>
                <a:lnTo>
                  <a:pt x="11618" y="3176"/>
                </a:lnTo>
                <a:lnTo>
                  <a:pt x="11616" y="3186"/>
                </a:lnTo>
                <a:lnTo>
                  <a:pt x="11612" y="3196"/>
                </a:lnTo>
                <a:lnTo>
                  <a:pt x="11604" y="3206"/>
                </a:lnTo>
                <a:lnTo>
                  <a:pt x="11592" y="3220"/>
                </a:lnTo>
                <a:lnTo>
                  <a:pt x="11588" y="3226"/>
                </a:lnTo>
                <a:lnTo>
                  <a:pt x="11588" y="3230"/>
                </a:lnTo>
                <a:lnTo>
                  <a:pt x="11588" y="3236"/>
                </a:lnTo>
                <a:lnTo>
                  <a:pt x="11588" y="3242"/>
                </a:lnTo>
                <a:lnTo>
                  <a:pt x="11586" y="3246"/>
                </a:lnTo>
                <a:lnTo>
                  <a:pt x="11584" y="3248"/>
                </a:lnTo>
                <a:lnTo>
                  <a:pt x="11578" y="3250"/>
                </a:lnTo>
                <a:lnTo>
                  <a:pt x="11570" y="3252"/>
                </a:lnTo>
                <a:lnTo>
                  <a:pt x="11564" y="3254"/>
                </a:lnTo>
                <a:lnTo>
                  <a:pt x="11560" y="3252"/>
                </a:lnTo>
                <a:lnTo>
                  <a:pt x="11560" y="3250"/>
                </a:lnTo>
                <a:lnTo>
                  <a:pt x="11560" y="3248"/>
                </a:lnTo>
                <a:lnTo>
                  <a:pt x="11562" y="3242"/>
                </a:lnTo>
                <a:lnTo>
                  <a:pt x="11560" y="3242"/>
                </a:lnTo>
                <a:lnTo>
                  <a:pt x="11558" y="3240"/>
                </a:lnTo>
                <a:lnTo>
                  <a:pt x="11550" y="3242"/>
                </a:lnTo>
                <a:lnTo>
                  <a:pt x="11540" y="3244"/>
                </a:lnTo>
                <a:lnTo>
                  <a:pt x="11514" y="3252"/>
                </a:lnTo>
                <a:lnTo>
                  <a:pt x="11502" y="3256"/>
                </a:lnTo>
                <a:lnTo>
                  <a:pt x="11492" y="3258"/>
                </a:lnTo>
                <a:lnTo>
                  <a:pt x="11482" y="3258"/>
                </a:lnTo>
                <a:lnTo>
                  <a:pt x="11480" y="3256"/>
                </a:lnTo>
                <a:lnTo>
                  <a:pt x="11478" y="3254"/>
                </a:lnTo>
                <a:lnTo>
                  <a:pt x="11476" y="3250"/>
                </a:lnTo>
                <a:lnTo>
                  <a:pt x="11472" y="3248"/>
                </a:lnTo>
                <a:lnTo>
                  <a:pt x="11468" y="3250"/>
                </a:lnTo>
                <a:lnTo>
                  <a:pt x="11464" y="3252"/>
                </a:lnTo>
                <a:lnTo>
                  <a:pt x="11452" y="3262"/>
                </a:lnTo>
                <a:lnTo>
                  <a:pt x="11438" y="3278"/>
                </a:lnTo>
                <a:close/>
                <a:moveTo>
                  <a:pt x="11364" y="3348"/>
                </a:moveTo>
                <a:lnTo>
                  <a:pt x="11364" y="3348"/>
                </a:lnTo>
                <a:lnTo>
                  <a:pt x="11362" y="3354"/>
                </a:lnTo>
                <a:lnTo>
                  <a:pt x="11358" y="3354"/>
                </a:lnTo>
                <a:lnTo>
                  <a:pt x="11356" y="3354"/>
                </a:lnTo>
                <a:lnTo>
                  <a:pt x="11352" y="3360"/>
                </a:lnTo>
                <a:lnTo>
                  <a:pt x="11350" y="3362"/>
                </a:lnTo>
                <a:lnTo>
                  <a:pt x="11348" y="3364"/>
                </a:lnTo>
                <a:lnTo>
                  <a:pt x="11344" y="3360"/>
                </a:lnTo>
                <a:lnTo>
                  <a:pt x="11342" y="3358"/>
                </a:lnTo>
                <a:lnTo>
                  <a:pt x="11340" y="3362"/>
                </a:lnTo>
                <a:lnTo>
                  <a:pt x="11340" y="3366"/>
                </a:lnTo>
                <a:lnTo>
                  <a:pt x="11338" y="3368"/>
                </a:lnTo>
                <a:lnTo>
                  <a:pt x="11332" y="3368"/>
                </a:lnTo>
                <a:lnTo>
                  <a:pt x="11328" y="3368"/>
                </a:lnTo>
                <a:lnTo>
                  <a:pt x="11330" y="3374"/>
                </a:lnTo>
                <a:lnTo>
                  <a:pt x="11334" y="3382"/>
                </a:lnTo>
                <a:lnTo>
                  <a:pt x="11332" y="3386"/>
                </a:lnTo>
                <a:lnTo>
                  <a:pt x="11332" y="3390"/>
                </a:lnTo>
                <a:lnTo>
                  <a:pt x="11334" y="3396"/>
                </a:lnTo>
                <a:lnTo>
                  <a:pt x="11338" y="3400"/>
                </a:lnTo>
                <a:lnTo>
                  <a:pt x="11338" y="3404"/>
                </a:lnTo>
                <a:lnTo>
                  <a:pt x="11338" y="3408"/>
                </a:lnTo>
                <a:lnTo>
                  <a:pt x="11338" y="3410"/>
                </a:lnTo>
                <a:lnTo>
                  <a:pt x="11346" y="3404"/>
                </a:lnTo>
                <a:lnTo>
                  <a:pt x="11350" y="3400"/>
                </a:lnTo>
                <a:lnTo>
                  <a:pt x="11352" y="3400"/>
                </a:lnTo>
                <a:lnTo>
                  <a:pt x="11352" y="3402"/>
                </a:lnTo>
                <a:lnTo>
                  <a:pt x="11354" y="3406"/>
                </a:lnTo>
                <a:lnTo>
                  <a:pt x="11356" y="3406"/>
                </a:lnTo>
                <a:lnTo>
                  <a:pt x="11360" y="3404"/>
                </a:lnTo>
                <a:lnTo>
                  <a:pt x="11362" y="3402"/>
                </a:lnTo>
                <a:lnTo>
                  <a:pt x="11364" y="3400"/>
                </a:lnTo>
                <a:lnTo>
                  <a:pt x="11362" y="3398"/>
                </a:lnTo>
                <a:lnTo>
                  <a:pt x="11358" y="3394"/>
                </a:lnTo>
                <a:lnTo>
                  <a:pt x="11354" y="3392"/>
                </a:lnTo>
                <a:lnTo>
                  <a:pt x="11354" y="3388"/>
                </a:lnTo>
                <a:lnTo>
                  <a:pt x="11354" y="3382"/>
                </a:lnTo>
                <a:lnTo>
                  <a:pt x="11354" y="3380"/>
                </a:lnTo>
                <a:lnTo>
                  <a:pt x="11356" y="3380"/>
                </a:lnTo>
                <a:lnTo>
                  <a:pt x="11360" y="3382"/>
                </a:lnTo>
                <a:lnTo>
                  <a:pt x="11362" y="3386"/>
                </a:lnTo>
                <a:lnTo>
                  <a:pt x="11368" y="3396"/>
                </a:lnTo>
                <a:lnTo>
                  <a:pt x="11370" y="3406"/>
                </a:lnTo>
                <a:lnTo>
                  <a:pt x="11368" y="3416"/>
                </a:lnTo>
                <a:lnTo>
                  <a:pt x="11362" y="3428"/>
                </a:lnTo>
                <a:lnTo>
                  <a:pt x="11356" y="3436"/>
                </a:lnTo>
                <a:lnTo>
                  <a:pt x="11354" y="3442"/>
                </a:lnTo>
                <a:lnTo>
                  <a:pt x="11358" y="3458"/>
                </a:lnTo>
                <a:lnTo>
                  <a:pt x="11358" y="3464"/>
                </a:lnTo>
                <a:lnTo>
                  <a:pt x="11358" y="3468"/>
                </a:lnTo>
                <a:lnTo>
                  <a:pt x="11354" y="3474"/>
                </a:lnTo>
                <a:lnTo>
                  <a:pt x="11354" y="3476"/>
                </a:lnTo>
                <a:lnTo>
                  <a:pt x="11364" y="3480"/>
                </a:lnTo>
                <a:lnTo>
                  <a:pt x="11370" y="3482"/>
                </a:lnTo>
                <a:lnTo>
                  <a:pt x="11374" y="3486"/>
                </a:lnTo>
                <a:lnTo>
                  <a:pt x="11374" y="3490"/>
                </a:lnTo>
                <a:lnTo>
                  <a:pt x="11376" y="3492"/>
                </a:lnTo>
                <a:lnTo>
                  <a:pt x="11384" y="3486"/>
                </a:lnTo>
                <a:lnTo>
                  <a:pt x="11388" y="3482"/>
                </a:lnTo>
                <a:lnTo>
                  <a:pt x="11392" y="3480"/>
                </a:lnTo>
                <a:lnTo>
                  <a:pt x="11392" y="3476"/>
                </a:lnTo>
                <a:lnTo>
                  <a:pt x="11390" y="3474"/>
                </a:lnTo>
                <a:lnTo>
                  <a:pt x="11388" y="3472"/>
                </a:lnTo>
                <a:lnTo>
                  <a:pt x="11388" y="3470"/>
                </a:lnTo>
                <a:lnTo>
                  <a:pt x="11390" y="3468"/>
                </a:lnTo>
                <a:lnTo>
                  <a:pt x="11394" y="3468"/>
                </a:lnTo>
                <a:lnTo>
                  <a:pt x="11396" y="3470"/>
                </a:lnTo>
                <a:lnTo>
                  <a:pt x="11398" y="3472"/>
                </a:lnTo>
                <a:lnTo>
                  <a:pt x="11402" y="3472"/>
                </a:lnTo>
                <a:lnTo>
                  <a:pt x="11404" y="3468"/>
                </a:lnTo>
                <a:lnTo>
                  <a:pt x="11406" y="3458"/>
                </a:lnTo>
                <a:lnTo>
                  <a:pt x="11410" y="3434"/>
                </a:lnTo>
                <a:lnTo>
                  <a:pt x="11416" y="3410"/>
                </a:lnTo>
                <a:lnTo>
                  <a:pt x="11420" y="3402"/>
                </a:lnTo>
                <a:lnTo>
                  <a:pt x="11422" y="3400"/>
                </a:lnTo>
                <a:lnTo>
                  <a:pt x="11426" y="3398"/>
                </a:lnTo>
                <a:lnTo>
                  <a:pt x="11428" y="3396"/>
                </a:lnTo>
                <a:lnTo>
                  <a:pt x="11430" y="3394"/>
                </a:lnTo>
                <a:lnTo>
                  <a:pt x="11428" y="3386"/>
                </a:lnTo>
                <a:lnTo>
                  <a:pt x="11424" y="3380"/>
                </a:lnTo>
                <a:lnTo>
                  <a:pt x="11418" y="3378"/>
                </a:lnTo>
                <a:lnTo>
                  <a:pt x="11414" y="3376"/>
                </a:lnTo>
                <a:lnTo>
                  <a:pt x="11410" y="3376"/>
                </a:lnTo>
                <a:lnTo>
                  <a:pt x="11408" y="3374"/>
                </a:lnTo>
                <a:lnTo>
                  <a:pt x="11412" y="3368"/>
                </a:lnTo>
                <a:lnTo>
                  <a:pt x="11414" y="3362"/>
                </a:lnTo>
                <a:lnTo>
                  <a:pt x="11416" y="3358"/>
                </a:lnTo>
                <a:lnTo>
                  <a:pt x="11414" y="3354"/>
                </a:lnTo>
                <a:lnTo>
                  <a:pt x="11410" y="3352"/>
                </a:lnTo>
                <a:lnTo>
                  <a:pt x="11406" y="3352"/>
                </a:lnTo>
                <a:lnTo>
                  <a:pt x="11398" y="3354"/>
                </a:lnTo>
                <a:lnTo>
                  <a:pt x="11396" y="3356"/>
                </a:lnTo>
                <a:lnTo>
                  <a:pt x="11392" y="3356"/>
                </a:lnTo>
                <a:lnTo>
                  <a:pt x="11390" y="3354"/>
                </a:lnTo>
                <a:lnTo>
                  <a:pt x="11388" y="3348"/>
                </a:lnTo>
                <a:lnTo>
                  <a:pt x="11386" y="3344"/>
                </a:lnTo>
                <a:lnTo>
                  <a:pt x="11384" y="3342"/>
                </a:lnTo>
                <a:lnTo>
                  <a:pt x="11378" y="3338"/>
                </a:lnTo>
                <a:lnTo>
                  <a:pt x="11374" y="3338"/>
                </a:lnTo>
                <a:lnTo>
                  <a:pt x="11370" y="3340"/>
                </a:lnTo>
                <a:lnTo>
                  <a:pt x="11368" y="3342"/>
                </a:lnTo>
                <a:lnTo>
                  <a:pt x="11364" y="3348"/>
                </a:lnTo>
                <a:close/>
                <a:moveTo>
                  <a:pt x="11528" y="3322"/>
                </a:moveTo>
                <a:lnTo>
                  <a:pt x="11528" y="3322"/>
                </a:lnTo>
                <a:lnTo>
                  <a:pt x="11522" y="3318"/>
                </a:lnTo>
                <a:lnTo>
                  <a:pt x="11516" y="3316"/>
                </a:lnTo>
                <a:lnTo>
                  <a:pt x="11508" y="3316"/>
                </a:lnTo>
                <a:lnTo>
                  <a:pt x="11500" y="3318"/>
                </a:lnTo>
                <a:lnTo>
                  <a:pt x="11496" y="3322"/>
                </a:lnTo>
                <a:lnTo>
                  <a:pt x="11492" y="3326"/>
                </a:lnTo>
                <a:lnTo>
                  <a:pt x="11490" y="3332"/>
                </a:lnTo>
                <a:lnTo>
                  <a:pt x="11488" y="3336"/>
                </a:lnTo>
                <a:lnTo>
                  <a:pt x="11486" y="3336"/>
                </a:lnTo>
                <a:lnTo>
                  <a:pt x="11484" y="3336"/>
                </a:lnTo>
                <a:lnTo>
                  <a:pt x="11482" y="3334"/>
                </a:lnTo>
                <a:lnTo>
                  <a:pt x="11478" y="3336"/>
                </a:lnTo>
                <a:lnTo>
                  <a:pt x="11474" y="3338"/>
                </a:lnTo>
                <a:lnTo>
                  <a:pt x="11472" y="3340"/>
                </a:lnTo>
                <a:lnTo>
                  <a:pt x="11470" y="3334"/>
                </a:lnTo>
                <a:lnTo>
                  <a:pt x="11468" y="3328"/>
                </a:lnTo>
                <a:lnTo>
                  <a:pt x="11466" y="3328"/>
                </a:lnTo>
                <a:lnTo>
                  <a:pt x="11462" y="3332"/>
                </a:lnTo>
                <a:lnTo>
                  <a:pt x="11456" y="3344"/>
                </a:lnTo>
                <a:lnTo>
                  <a:pt x="11452" y="3350"/>
                </a:lnTo>
                <a:lnTo>
                  <a:pt x="11448" y="3356"/>
                </a:lnTo>
                <a:lnTo>
                  <a:pt x="11438" y="3364"/>
                </a:lnTo>
                <a:lnTo>
                  <a:pt x="11432" y="3368"/>
                </a:lnTo>
                <a:lnTo>
                  <a:pt x="11438" y="3368"/>
                </a:lnTo>
                <a:lnTo>
                  <a:pt x="11442" y="3368"/>
                </a:lnTo>
                <a:lnTo>
                  <a:pt x="11444" y="3368"/>
                </a:lnTo>
                <a:lnTo>
                  <a:pt x="11446" y="3370"/>
                </a:lnTo>
                <a:lnTo>
                  <a:pt x="11446" y="3374"/>
                </a:lnTo>
                <a:lnTo>
                  <a:pt x="11446" y="3380"/>
                </a:lnTo>
                <a:lnTo>
                  <a:pt x="11448" y="3384"/>
                </a:lnTo>
                <a:lnTo>
                  <a:pt x="11450" y="3388"/>
                </a:lnTo>
                <a:lnTo>
                  <a:pt x="11452" y="3392"/>
                </a:lnTo>
                <a:lnTo>
                  <a:pt x="11454" y="3394"/>
                </a:lnTo>
                <a:lnTo>
                  <a:pt x="11452" y="3398"/>
                </a:lnTo>
                <a:lnTo>
                  <a:pt x="11452" y="3400"/>
                </a:lnTo>
                <a:lnTo>
                  <a:pt x="11462" y="3402"/>
                </a:lnTo>
                <a:lnTo>
                  <a:pt x="11466" y="3400"/>
                </a:lnTo>
                <a:lnTo>
                  <a:pt x="11468" y="3398"/>
                </a:lnTo>
                <a:lnTo>
                  <a:pt x="11474" y="3386"/>
                </a:lnTo>
                <a:lnTo>
                  <a:pt x="11476" y="3378"/>
                </a:lnTo>
                <a:lnTo>
                  <a:pt x="11478" y="3372"/>
                </a:lnTo>
                <a:lnTo>
                  <a:pt x="11484" y="3366"/>
                </a:lnTo>
                <a:lnTo>
                  <a:pt x="11490" y="3362"/>
                </a:lnTo>
                <a:lnTo>
                  <a:pt x="11496" y="3362"/>
                </a:lnTo>
                <a:lnTo>
                  <a:pt x="11502" y="3364"/>
                </a:lnTo>
                <a:lnTo>
                  <a:pt x="11510" y="3368"/>
                </a:lnTo>
                <a:lnTo>
                  <a:pt x="11512" y="3370"/>
                </a:lnTo>
                <a:lnTo>
                  <a:pt x="11514" y="3372"/>
                </a:lnTo>
                <a:lnTo>
                  <a:pt x="11516" y="3370"/>
                </a:lnTo>
                <a:lnTo>
                  <a:pt x="11518" y="3364"/>
                </a:lnTo>
                <a:lnTo>
                  <a:pt x="11520" y="3358"/>
                </a:lnTo>
                <a:lnTo>
                  <a:pt x="11524" y="3354"/>
                </a:lnTo>
                <a:lnTo>
                  <a:pt x="11530" y="3350"/>
                </a:lnTo>
                <a:lnTo>
                  <a:pt x="11534" y="3346"/>
                </a:lnTo>
                <a:lnTo>
                  <a:pt x="11536" y="3344"/>
                </a:lnTo>
                <a:lnTo>
                  <a:pt x="11534" y="3340"/>
                </a:lnTo>
                <a:lnTo>
                  <a:pt x="11532" y="3332"/>
                </a:lnTo>
                <a:lnTo>
                  <a:pt x="11534" y="3328"/>
                </a:lnTo>
                <a:lnTo>
                  <a:pt x="11532" y="3324"/>
                </a:lnTo>
                <a:lnTo>
                  <a:pt x="11528" y="3322"/>
                </a:lnTo>
                <a:close/>
                <a:moveTo>
                  <a:pt x="11746" y="2888"/>
                </a:moveTo>
                <a:lnTo>
                  <a:pt x="11746" y="2888"/>
                </a:lnTo>
                <a:lnTo>
                  <a:pt x="11752" y="2894"/>
                </a:lnTo>
                <a:lnTo>
                  <a:pt x="11754" y="2900"/>
                </a:lnTo>
                <a:lnTo>
                  <a:pt x="11754" y="2904"/>
                </a:lnTo>
                <a:lnTo>
                  <a:pt x="11752" y="2910"/>
                </a:lnTo>
                <a:lnTo>
                  <a:pt x="11748" y="2920"/>
                </a:lnTo>
                <a:lnTo>
                  <a:pt x="11750" y="2926"/>
                </a:lnTo>
                <a:lnTo>
                  <a:pt x="11752" y="2932"/>
                </a:lnTo>
                <a:lnTo>
                  <a:pt x="11756" y="2934"/>
                </a:lnTo>
                <a:lnTo>
                  <a:pt x="11758" y="2934"/>
                </a:lnTo>
                <a:lnTo>
                  <a:pt x="11762" y="2930"/>
                </a:lnTo>
                <a:lnTo>
                  <a:pt x="11768" y="2920"/>
                </a:lnTo>
                <a:lnTo>
                  <a:pt x="11774" y="2910"/>
                </a:lnTo>
                <a:lnTo>
                  <a:pt x="11776" y="2910"/>
                </a:lnTo>
                <a:lnTo>
                  <a:pt x="11778" y="2910"/>
                </a:lnTo>
                <a:lnTo>
                  <a:pt x="11784" y="2914"/>
                </a:lnTo>
                <a:lnTo>
                  <a:pt x="11790" y="2914"/>
                </a:lnTo>
                <a:lnTo>
                  <a:pt x="11796" y="2912"/>
                </a:lnTo>
                <a:lnTo>
                  <a:pt x="11800" y="2908"/>
                </a:lnTo>
                <a:lnTo>
                  <a:pt x="11798" y="2906"/>
                </a:lnTo>
                <a:lnTo>
                  <a:pt x="11782" y="2896"/>
                </a:lnTo>
                <a:lnTo>
                  <a:pt x="11774" y="2892"/>
                </a:lnTo>
                <a:lnTo>
                  <a:pt x="11766" y="2886"/>
                </a:lnTo>
                <a:lnTo>
                  <a:pt x="11764" y="2878"/>
                </a:lnTo>
                <a:lnTo>
                  <a:pt x="11764" y="2876"/>
                </a:lnTo>
                <a:lnTo>
                  <a:pt x="11764" y="2872"/>
                </a:lnTo>
                <a:lnTo>
                  <a:pt x="11770" y="2866"/>
                </a:lnTo>
                <a:lnTo>
                  <a:pt x="11774" y="2864"/>
                </a:lnTo>
                <a:lnTo>
                  <a:pt x="11778" y="2866"/>
                </a:lnTo>
                <a:lnTo>
                  <a:pt x="11780" y="2870"/>
                </a:lnTo>
                <a:lnTo>
                  <a:pt x="11784" y="2874"/>
                </a:lnTo>
                <a:lnTo>
                  <a:pt x="11788" y="2876"/>
                </a:lnTo>
                <a:lnTo>
                  <a:pt x="11794" y="2876"/>
                </a:lnTo>
                <a:lnTo>
                  <a:pt x="11800" y="2874"/>
                </a:lnTo>
                <a:lnTo>
                  <a:pt x="11808" y="2868"/>
                </a:lnTo>
                <a:lnTo>
                  <a:pt x="11814" y="2866"/>
                </a:lnTo>
                <a:lnTo>
                  <a:pt x="11818" y="2866"/>
                </a:lnTo>
                <a:lnTo>
                  <a:pt x="11826" y="2868"/>
                </a:lnTo>
                <a:lnTo>
                  <a:pt x="11842" y="2878"/>
                </a:lnTo>
                <a:lnTo>
                  <a:pt x="11872" y="2896"/>
                </a:lnTo>
                <a:lnTo>
                  <a:pt x="11880" y="2898"/>
                </a:lnTo>
                <a:lnTo>
                  <a:pt x="11884" y="2896"/>
                </a:lnTo>
                <a:lnTo>
                  <a:pt x="11888" y="2890"/>
                </a:lnTo>
                <a:lnTo>
                  <a:pt x="11890" y="2882"/>
                </a:lnTo>
                <a:lnTo>
                  <a:pt x="11896" y="2864"/>
                </a:lnTo>
                <a:lnTo>
                  <a:pt x="11900" y="2856"/>
                </a:lnTo>
                <a:lnTo>
                  <a:pt x="11906" y="2850"/>
                </a:lnTo>
                <a:lnTo>
                  <a:pt x="11918" y="2846"/>
                </a:lnTo>
                <a:lnTo>
                  <a:pt x="11930" y="2846"/>
                </a:lnTo>
                <a:lnTo>
                  <a:pt x="11942" y="2844"/>
                </a:lnTo>
                <a:lnTo>
                  <a:pt x="11956" y="2840"/>
                </a:lnTo>
                <a:lnTo>
                  <a:pt x="11978" y="2828"/>
                </a:lnTo>
                <a:lnTo>
                  <a:pt x="11984" y="2824"/>
                </a:lnTo>
                <a:lnTo>
                  <a:pt x="11984" y="2822"/>
                </a:lnTo>
                <a:lnTo>
                  <a:pt x="11984" y="2820"/>
                </a:lnTo>
                <a:lnTo>
                  <a:pt x="11982" y="2820"/>
                </a:lnTo>
                <a:lnTo>
                  <a:pt x="11978" y="2820"/>
                </a:lnTo>
                <a:lnTo>
                  <a:pt x="11972" y="2822"/>
                </a:lnTo>
                <a:lnTo>
                  <a:pt x="11970" y="2822"/>
                </a:lnTo>
                <a:lnTo>
                  <a:pt x="11966" y="2820"/>
                </a:lnTo>
                <a:lnTo>
                  <a:pt x="11962" y="2818"/>
                </a:lnTo>
                <a:lnTo>
                  <a:pt x="11958" y="2810"/>
                </a:lnTo>
                <a:lnTo>
                  <a:pt x="11956" y="2802"/>
                </a:lnTo>
                <a:lnTo>
                  <a:pt x="11956" y="2794"/>
                </a:lnTo>
                <a:lnTo>
                  <a:pt x="11958" y="2786"/>
                </a:lnTo>
                <a:lnTo>
                  <a:pt x="11962" y="2780"/>
                </a:lnTo>
                <a:lnTo>
                  <a:pt x="11966" y="2770"/>
                </a:lnTo>
                <a:lnTo>
                  <a:pt x="11966" y="2768"/>
                </a:lnTo>
                <a:lnTo>
                  <a:pt x="11964" y="2768"/>
                </a:lnTo>
                <a:lnTo>
                  <a:pt x="11960" y="2770"/>
                </a:lnTo>
                <a:lnTo>
                  <a:pt x="11958" y="2772"/>
                </a:lnTo>
                <a:lnTo>
                  <a:pt x="11950" y="2780"/>
                </a:lnTo>
                <a:lnTo>
                  <a:pt x="11944" y="2788"/>
                </a:lnTo>
                <a:lnTo>
                  <a:pt x="11938" y="2790"/>
                </a:lnTo>
                <a:lnTo>
                  <a:pt x="11932" y="2792"/>
                </a:lnTo>
                <a:lnTo>
                  <a:pt x="11928" y="2790"/>
                </a:lnTo>
                <a:lnTo>
                  <a:pt x="11926" y="2788"/>
                </a:lnTo>
                <a:lnTo>
                  <a:pt x="11924" y="2784"/>
                </a:lnTo>
                <a:lnTo>
                  <a:pt x="11922" y="2782"/>
                </a:lnTo>
                <a:lnTo>
                  <a:pt x="11920" y="2780"/>
                </a:lnTo>
                <a:lnTo>
                  <a:pt x="11916" y="2778"/>
                </a:lnTo>
                <a:lnTo>
                  <a:pt x="11910" y="2776"/>
                </a:lnTo>
                <a:lnTo>
                  <a:pt x="11900" y="2774"/>
                </a:lnTo>
                <a:lnTo>
                  <a:pt x="11892" y="2770"/>
                </a:lnTo>
                <a:lnTo>
                  <a:pt x="11882" y="2762"/>
                </a:lnTo>
                <a:lnTo>
                  <a:pt x="11872" y="2754"/>
                </a:lnTo>
                <a:lnTo>
                  <a:pt x="11854" y="2734"/>
                </a:lnTo>
                <a:lnTo>
                  <a:pt x="11840" y="2716"/>
                </a:lnTo>
                <a:lnTo>
                  <a:pt x="11836" y="2710"/>
                </a:lnTo>
                <a:lnTo>
                  <a:pt x="11828" y="2706"/>
                </a:lnTo>
                <a:lnTo>
                  <a:pt x="11822" y="2704"/>
                </a:lnTo>
                <a:lnTo>
                  <a:pt x="11818" y="2704"/>
                </a:lnTo>
                <a:lnTo>
                  <a:pt x="11814" y="2706"/>
                </a:lnTo>
                <a:lnTo>
                  <a:pt x="11812" y="2712"/>
                </a:lnTo>
                <a:lnTo>
                  <a:pt x="11812" y="2720"/>
                </a:lnTo>
                <a:lnTo>
                  <a:pt x="11816" y="2728"/>
                </a:lnTo>
                <a:lnTo>
                  <a:pt x="11820" y="2738"/>
                </a:lnTo>
                <a:lnTo>
                  <a:pt x="11822" y="2746"/>
                </a:lnTo>
                <a:lnTo>
                  <a:pt x="11820" y="2752"/>
                </a:lnTo>
                <a:lnTo>
                  <a:pt x="11820" y="2756"/>
                </a:lnTo>
                <a:lnTo>
                  <a:pt x="11816" y="2764"/>
                </a:lnTo>
                <a:lnTo>
                  <a:pt x="11814" y="2768"/>
                </a:lnTo>
                <a:lnTo>
                  <a:pt x="11816" y="2774"/>
                </a:lnTo>
                <a:lnTo>
                  <a:pt x="11818" y="2778"/>
                </a:lnTo>
                <a:lnTo>
                  <a:pt x="11816" y="2784"/>
                </a:lnTo>
                <a:lnTo>
                  <a:pt x="11812" y="2792"/>
                </a:lnTo>
                <a:lnTo>
                  <a:pt x="11806" y="2800"/>
                </a:lnTo>
                <a:lnTo>
                  <a:pt x="11804" y="2806"/>
                </a:lnTo>
                <a:lnTo>
                  <a:pt x="11804" y="2810"/>
                </a:lnTo>
                <a:lnTo>
                  <a:pt x="11806" y="2820"/>
                </a:lnTo>
                <a:lnTo>
                  <a:pt x="11806" y="2830"/>
                </a:lnTo>
                <a:lnTo>
                  <a:pt x="11804" y="2834"/>
                </a:lnTo>
                <a:lnTo>
                  <a:pt x="11800" y="2836"/>
                </a:lnTo>
                <a:lnTo>
                  <a:pt x="11794" y="2836"/>
                </a:lnTo>
                <a:lnTo>
                  <a:pt x="11788" y="2832"/>
                </a:lnTo>
                <a:lnTo>
                  <a:pt x="11774" y="2826"/>
                </a:lnTo>
                <a:lnTo>
                  <a:pt x="11764" y="2824"/>
                </a:lnTo>
                <a:lnTo>
                  <a:pt x="11762" y="2824"/>
                </a:lnTo>
                <a:lnTo>
                  <a:pt x="11762" y="2826"/>
                </a:lnTo>
                <a:lnTo>
                  <a:pt x="11762" y="2830"/>
                </a:lnTo>
                <a:lnTo>
                  <a:pt x="11766" y="2836"/>
                </a:lnTo>
                <a:lnTo>
                  <a:pt x="11768" y="2838"/>
                </a:lnTo>
                <a:lnTo>
                  <a:pt x="11770" y="2842"/>
                </a:lnTo>
                <a:lnTo>
                  <a:pt x="11766" y="2848"/>
                </a:lnTo>
                <a:lnTo>
                  <a:pt x="11760" y="2854"/>
                </a:lnTo>
                <a:lnTo>
                  <a:pt x="11754" y="2862"/>
                </a:lnTo>
                <a:lnTo>
                  <a:pt x="11746" y="2868"/>
                </a:lnTo>
                <a:lnTo>
                  <a:pt x="11742" y="2876"/>
                </a:lnTo>
                <a:lnTo>
                  <a:pt x="11740" y="2878"/>
                </a:lnTo>
                <a:lnTo>
                  <a:pt x="11740" y="2882"/>
                </a:lnTo>
                <a:lnTo>
                  <a:pt x="11742" y="2886"/>
                </a:lnTo>
                <a:lnTo>
                  <a:pt x="11746" y="2888"/>
                </a:lnTo>
                <a:close/>
                <a:moveTo>
                  <a:pt x="11370" y="3520"/>
                </a:moveTo>
                <a:lnTo>
                  <a:pt x="11370" y="3520"/>
                </a:lnTo>
                <a:lnTo>
                  <a:pt x="11368" y="3522"/>
                </a:lnTo>
                <a:lnTo>
                  <a:pt x="11366" y="3524"/>
                </a:lnTo>
                <a:lnTo>
                  <a:pt x="11366" y="3528"/>
                </a:lnTo>
                <a:lnTo>
                  <a:pt x="11366" y="3530"/>
                </a:lnTo>
                <a:lnTo>
                  <a:pt x="11370" y="3532"/>
                </a:lnTo>
                <a:lnTo>
                  <a:pt x="11374" y="3530"/>
                </a:lnTo>
                <a:lnTo>
                  <a:pt x="11374" y="3528"/>
                </a:lnTo>
                <a:lnTo>
                  <a:pt x="11372" y="3524"/>
                </a:lnTo>
                <a:lnTo>
                  <a:pt x="11370" y="3520"/>
                </a:lnTo>
                <a:close/>
                <a:moveTo>
                  <a:pt x="11300" y="3398"/>
                </a:moveTo>
                <a:lnTo>
                  <a:pt x="11300" y="3398"/>
                </a:lnTo>
                <a:lnTo>
                  <a:pt x="11296" y="3398"/>
                </a:lnTo>
                <a:lnTo>
                  <a:pt x="11294" y="3402"/>
                </a:lnTo>
                <a:lnTo>
                  <a:pt x="11294" y="3406"/>
                </a:lnTo>
                <a:lnTo>
                  <a:pt x="11296" y="3408"/>
                </a:lnTo>
                <a:lnTo>
                  <a:pt x="11302" y="3406"/>
                </a:lnTo>
                <a:lnTo>
                  <a:pt x="11304" y="3404"/>
                </a:lnTo>
                <a:lnTo>
                  <a:pt x="11304" y="3402"/>
                </a:lnTo>
                <a:lnTo>
                  <a:pt x="11300" y="3398"/>
                </a:lnTo>
                <a:close/>
                <a:moveTo>
                  <a:pt x="11356" y="3414"/>
                </a:moveTo>
                <a:lnTo>
                  <a:pt x="11356" y="3414"/>
                </a:lnTo>
                <a:lnTo>
                  <a:pt x="11356" y="3412"/>
                </a:lnTo>
                <a:lnTo>
                  <a:pt x="11352" y="3412"/>
                </a:lnTo>
                <a:lnTo>
                  <a:pt x="11348" y="3416"/>
                </a:lnTo>
                <a:lnTo>
                  <a:pt x="11348" y="3424"/>
                </a:lnTo>
                <a:lnTo>
                  <a:pt x="11350" y="3426"/>
                </a:lnTo>
                <a:lnTo>
                  <a:pt x="11352" y="3424"/>
                </a:lnTo>
                <a:lnTo>
                  <a:pt x="11356" y="3420"/>
                </a:lnTo>
                <a:lnTo>
                  <a:pt x="11356" y="3414"/>
                </a:lnTo>
                <a:close/>
                <a:moveTo>
                  <a:pt x="11550" y="3304"/>
                </a:moveTo>
                <a:lnTo>
                  <a:pt x="11550" y="3304"/>
                </a:lnTo>
                <a:lnTo>
                  <a:pt x="11548" y="3304"/>
                </a:lnTo>
                <a:lnTo>
                  <a:pt x="11544" y="3308"/>
                </a:lnTo>
                <a:lnTo>
                  <a:pt x="11540" y="3316"/>
                </a:lnTo>
                <a:lnTo>
                  <a:pt x="11540" y="3320"/>
                </a:lnTo>
                <a:lnTo>
                  <a:pt x="11542" y="3324"/>
                </a:lnTo>
                <a:lnTo>
                  <a:pt x="11544" y="3324"/>
                </a:lnTo>
                <a:lnTo>
                  <a:pt x="11548" y="3318"/>
                </a:lnTo>
                <a:lnTo>
                  <a:pt x="11550" y="3310"/>
                </a:lnTo>
                <a:lnTo>
                  <a:pt x="11550" y="3304"/>
                </a:lnTo>
                <a:close/>
                <a:moveTo>
                  <a:pt x="11484" y="3218"/>
                </a:moveTo>
                <a:lnTo>
                  <a:pt x="11484" y="3218"/>
                </a:lnTo>
                <a:lnTo>
                  <a:pt x="11486" y="3216"/>
                </a:lnTo>
                <a:lnTo>
                  <a:pt x="11484" y="3212"/>
                </a:lnTo>
                <a:lnTo>
                  <a:pt x="11482" y="3210"/>
                </a:lnTo>
                <a:lnTo>
                  <a:pt x="11480" y="3208"/>
                </a:lnTo>
                <a:lnTo>
                  <a:pt x="11478" y="3210"/>
                </a:lnTo>
                <a:lnTo>
                  <a:pt x="11476" y="3214"/>
                </a:lnTo>
                <a:lnTo>
                  <a:pt x="11478" y="3216"/>
                </a:lnTo>
                <a:lnTo>
                  <a:pt x="11482" y="3218"/>
                </a:lnTo>
                <a:lnTo>
                  <a:pt x="11484" y="3218"/>
                </a:lnTo>
                <a:close/>
                <a:moveTo>
                  <a:pt x="11262" y="3740"/>
                </a:moveTo>
                <a:lnTo>
                  <a:pt x="11262" y="3740"/>
                </a:lnTo>
                <a:lnTo>
                  <a:pt x="11262" y="3736"/>
                </a:lnTo>
                <a:lnTo>
                  <a:pt x="11264" y="3732"/>
                </a:lnTo>
                <a:lnTo>
                  <a:pt x="11276" y="3720"/>
                </a:lnTo>
                <a:lnTo>
                  <a:pt x="11282" y="3712"/>
                </a:lnTo>
                <a:lnTo>
                  <a:pt x="11282" y="3708"/>
                </a:lnTo>
                <a:lnTo>
                  <a:pt x="11278" y="3708"/>
                </a:lnTo>
                <a:lnTo>
                  <a:pt x="11272" y="3712"/>
                </a:lnTo>
                <a:lnTo>
                  <a:pt x="11262" y="3722"/>
                </a:lnTo>
                <a:lnTo>
                  <a:pt x="11258" y="3728"/>
                </a:lnTo>
                <a:lnTo>
                  <a:pt x="11254" y="3738"/>
                </a:lnTo>
                <a:lnTo>
                  <a:pt x="11254" y="3742"/>
                </a:lnTo>
                <a:lnTo>
                  <a:pt x="11256" y="3744"/>
                </a:lnTo>
                <a:lnTo>
                  <a:pt x="11260" y="3744"/>
                </a:lnTo>
                <a:lnTo>
                  <a:pt x="11262" y="3740"/>
                </a:lnTo>
                <a:close/>
                <a:moveTo>
                  <a:pt x="11304" y="3662"/>
                </a:moveTo>
                <a:lnTo>
                  <a:pt x="11304" y="3662"/>
                </a:lnTo>
                <a:lnTo>
                  <a:pt x="11308" y="3664"/>
                </a:lnTo>
                <a:lnTo>
                  <a:pt x="11310" y="3664"/>
                </a:lnTo>
                <a:lnTo>
                  <a:pt x="11310" y="3660"/>
                </a:lnTo>
                <a:lnTo>
                  <a:pt x="11308" y="3654"/>
                </a:lnTo>
                <a:lnTo>
                  <a:pt x="11306" y="3652"/>
                </a:lnTo>
                <a:lnTo>
                  <a:pt x="11304" y="3654"/>
                </a:lnTo>
                <a:lnTo>
                  <a:pt x="11304" y="3658"/>
                </a:lnTo>
                <a:lnTo>
                  <a:pt x="11304" y="3662"/>
                </a:lnTo>
                <a:close/>
                <a:moveTo>
                  <a:pt x="11320" y="3638"/>
                </a:moveTo>
                <a:lnTo>
                  <a:pt x="11320" y="3638"/>
                </a:lnTo>
                <a:lnTo>
                  <a:pt x="11320" y="3640"/>
                </a:lnTo>
                <a:lnTo>
                  <a:pt x="11322" y="3640"/>
                </a:lnTo>
                <a:lnTo>
                  <a:pt x="11330" y="3636"/>
                </a:lnTo>
                <a:lnTo>
                  <a:pt x="11336" y="3628"/>
                </a:lnTo>
                <a:lnTo>
                  <a:pt x="11336" y="3624"/>
                </a:lnTo>
                <a:lnTo>
                  <a:pt x="11336" y="3622"/>
                </a:lnTo>
                <a:lnTo>
                  <a:pt x="11332" y="3622"/>
                </a:lnTo>
                <a:lnTo>
                  <a:pt x="11328" y="3624"/>
                </a:lnTo>
                <a:lnTo>
                  <a:pt x="11322" y="3630"/>
                </a:lnTo>
                <a:lnTo>
                  <a:pt x="11320" y="3632"/>
                </a:lnTo>
                <a:lnTo>
                  <a:pt x="11320" y="3638"/>
                </a:lnTo>
                <a:close/>
                <a:moveTo>
                  <a:pt x="11104" y="3838"/>
                </a:moveTo>
                <a:lnTo>
                  <a:pt x="11104" y="3838"/>
                </a:lnTo>
                <a:lnTo>
                  <a:pt x="11104" y="3834"/>
                </a:lnTo>
                <a:lnTo>
                  <a:pt x="11100" y="3830"/>
                </a:lnTo>
                <a:lnTo>
                  <a:pt x="11098" y="3830"/>
                </a:lnTo>
                <a:lnTo>
                  <a:pt x="11096" y="3832"/>
                </a:lnTo>
                <a:lnTo>
                  <a:pt x="11094" y="3834"/>
                </a:lnTo>
                <a:lnTo>
                  <a:pt x="11096" y="3838"/>
                </a:lnTo>
                <a:lnTo>
                  <a:pt x="11098" y="3840"/>
                </a:lnTo>
                <a:lnTo>
                  <a:pt x="11102" y="3840"/>
                </a:lnTo>
                <a:lnTo>
                  <a:pt x="11104" y="3838"/>
                </a:lnTo>
                <a:close/>
                <a:moveTo>
                  <a:pt x="11122" y="3824"/>
                </a:moveTo>
                <a:lnTo>
                  <a:pt x="11122" y="3824"/>
                </a:lnTo>
                <a:lnTo>
                  <a:pt x="11120" y="3824"/>
                </a:lnTo>
                <a:lnTo>
                  <a:pt x="11116" y="3826"/>
                </a:lnTo>
                <a:lnTo>
                  <a:pt x="11110" y="3830"/>
                </a:lnTo>
                <a:lnTo>
                  <a:pt x="11110" y="3832"/>
                </a:lnTo>
                <a:lnTo>
                  <a:pt x="11112" y="3834"/>
                </a:lnTo>
                <a:lnTo>
                  <a:pt x="11116" y="3836"/>
                </a:lnTo>
                <a:lnTo>
                  <a:pt x="11118" y="3834"/>
                </a:lnTo>
                <a:lnTo>
                  <a:pt x="11122" y="3824"/>
                </a:lnTo>
                <a:close/>
                <a:moveTo>
                  <a:pt x="11164" y="3810"/>
                </a:moveTo>
                <a:lnTo>
                  <a:pt x="11164" y="3810"/>
                </a:lnTo>
                <a:lnTo>
                  <a:pt x="11162" y="3810"/>
                </a:lnTo>
                <a:lnTo>
                  <a:pt x="11158" y="3810"/>
                </a:lnTo>
                <a:lnTo>
                  <a:pt x="11156" y="3814"/>
                </a:lnTo>
                <a:lnTo>
                  <a:pt x="11156" y="3816"/>
                </a:lnTo>
                <a:lnTo>
                  <a:pt x="11160" y="3818"/>
                </a:lnTo>
                <a:lnTo>
                  <a:pt x="11162" y="3816"/>
                </a:lnTo>
                <a:lnTo>
                  <a:pt x="11164" y="3814"/>
                </a:lnTo>
                <a:lnTo>
                  <a:pt x="11164" y="3810"/>
                </a:lnTo>
                <a:close/>
                <a:moveTo>
                  <a:pt x="11654" y="2152"/>
                </a:moveTo>
                <a:lnTo>
                  <a:pt x="11654" y="2152"/>
                </a:lnTo>
                <a:lnTo>
                  <a:pt x="11660" y="2154"/>
                </a:lnTo>
                <a:lnTo>
                  <a:pt x="11664" y="2152"/>
                </a:lnTo>
                <a:lnTo>
                  <a:pt x="11668" y="2148"/>
                </a:lnTo>
                <a:lnTo>
                  <a:pt x="11670" y="2144"/>
                </a:lnTo>
                <a:lnTo>
                  <a:pt x="11672" y="2138"/>
                </a:lnTo>
                <a:lnTo>
                  <a:pt x="11672" y="2134"/>
                </a:lnTo>
                <a:lnTo>
                  <a:pt x="11668" y="2130"/>
                </a:lnTo>
                <a:lnTo>
                  <a:pt x="11664" y="2128"/>
                </a:lnTo>
                <a:lnTo>
                  <a:pt x="11658" y="2128"/>
                </a:lnTo>
                <a:lnTo>
                  <a:pt x="11652" y="2128"/>
                </a:lnTo>
                <a:lnTo>
                  <a:pt x="11650" y="2132"/>
                </a:lnTo>
                <a:lnTo>
                  <a:pt x="11648" y="2134"/>
                </a:lnTo>
                <a:lnTo>
                  <a:pt x="11646" y="2138"/>
                </a:lnTo>
                <a:lnTo>
                  <a:pt x="11648" y="2142"/>
                </a:lnTo>
                <a:lnTo>
                  <a:pt x="11650" y="2146"/>
                </a:lnTo>
                <a:lnTo>
                  <a:pt x="11654" y="2152"/>
                </a:lnTo>
                <a:close/>
                <a:moveTo>
                  <a:pt x="13688" y="1366"/>
                </a:moveTo>
                <a:lnTo>
                  <a:pt x="13688" y="1366"/>
                </a:lnTo>
                <a:lnTo>
                  <a:pt x="13680" y="1356"/>
                </a:lnTo>
                <a:lnTo>
                  <a:pt x="13670" y="1348"/>
                </a:lnTo>
                <a:lnTo>
                  <a:pt x="13660" y="1344"/>
                </a:lnTo>
                <a:lnTo>
                  <a:pt x="13648" y="1340"/>
                </a:lnTo>
                <a:lnTo>
                  <a:pt x="13620" y="1338"/>
                </a:lnTo>
                <a:lnTo>
                  <a:pt x="13588" y="1336"/>
                </a:lnTo>
                <a:lnTo>
                  <a:pt x="13580" y="1336"/>
                </a:lnTo>
                <a:lnTo>
                  <a:pt x="13576" y="1340"/>
                </a:lnTo>
                <a:lnTo>
                  <a:pt x="13574" y="1342"/>
                </a:lnTo>
                <a:lnTo>
                  <a:pt x="13574" y="1348"/>
                </a:lnTo>
                <a:lnTo>
                  <a:pt x="13578" y="1358"/>
                </a:lnTo>
                <a:lnTo>
                  <a:pt x="13584" y="1372"/>
                </a:lnTo>
                <a:lnTo>
                  <a:pt x="13590" y="1382"/>
                </a:lnTo>
                <a:lnTo>
                  <a:pt x="13592" y="1390"/>
                </a:lnTo>
                <a:lnTo>
                  <a:pt x="13592" y="1392"/>
                </a:lnTo>
                <a:lnTo>
                  <a:pt x="13588" y="1392"/>
                </a:lnTo>
                <a:lnTo>
                  <a:pt x="13572" y="1384"/>
                </a:lnTo>
                <a:lnTo>
                  <a:pt x="13564" y="1378"/>
                </a:lnTo>
                <a:lnTo>
                  <a:pt x="13558" y="1372"/>
                </a:lnTo>
                <a:lnTo>
                  <a:pt x="13554" y="1366"/>
                </a:lnTo>
                <a:lnTo>
                  <a:pt x="13552" y="1362"/>
                </a:lnTo>
                <a:lnTo>
                  <a:pt x="13552" y="1350"/>
                </a:lnTo>
                <a:lnTo>
                  <a:pt x="13554" y="1338"/>
                </a:lnTo>
                <a:lnTo>
                  <a:pt x="13554" y="1326"/>
                </a:lnTo>
                <a:lnTo>
                  <a:pt x="13552" y="1320"/>
                </a:lnTo>
                <a:lnTo>
                  <a:pt x="13550" y="1314"/>
                </a:lnTo>
                <a:lnTo>
                  <a:pt x="13544" y="1306"/>
                </a:lnTo>
                <a:lnTo>
                  <a:pt x="13534" y="1300"/>
                </a:lnTo>
                <a:lnTo>
                  <a:pt x="13522" y="1292"/>
                </a:lnTo>
                <a:lnTo>
                  <a:pt x="13506" y="1284"/>
                </a:lnTo>
                <a:lnTo>
                  <a:pt x="13470" y="1266"/>
                </a:lnTo>
                <a:lnTo>
                  <a:pt x="13434" y="1248"/>
                </a:lnTo>
                <a:lnTo>
                  <a:pt x="13366" y="1214"/>
                </a:lnTo>
                <a:lnTo>
                  <a:pt x="13366" y="1208"/>
                </a:lnTo>
                <a:lnTo>
                  <a:pt x="13336" y="1194"/>
                </a:lnTo>
                <a:lnTo>
                  <a:pt x="13306" y="1180"/>
                </a:lnTo>
                <a:lnTo>
                  <a:pt x="13276" y="1170"/>
                </a:lnTo>
                <a:lnTo>
                  <a:pt x="13244" y="1162"/>
                </a:lnTo>
                <a:lnTo>
                  <a:pt x="13200" y="1150"/>
                </a:lnTo>
                <a:lnTo>
                  <a:pt x="13182" y="1146"/>
                </a:lnTo>
                <a:lnTo>
                  <a:pt x="13158" y="1142"/>
                </a:lnTo>
                <a:lnTo>
                  <a:pt x="13098" y="1138"/>
                </a:lnTo>
                <a:lnTo>
                  <a:pt x="13058" y="1134"/>
                </a:lnTo>
                <a:lnTo>
                  <a:pt x="13032" y="1128"/>
                </a:lnTo>
                <a:lnTo>
                  <a:pt x="13014" y="1122"/>
                </a:lnTo>
                <a:lnTo>
                  <a:pt x="13004" y="1118"/>
                </a:lnTo>
                <a:lnTo>
                  <a:pt x="12996" y="1116"/>
                </a:lnTo>
                <a:lnTo>
                  <a:pt x="12992" y="1118"/>
                </a:lnTo>
                <a:lnTo>
                  <a:pt x="12984" y="1126"/>
                </a:lnTo>
                <a:lnTo>
                  <a:pt x="12974" y="1142"/>
                </a:lnTo>
                <a:lnTo>
                  <a:pt x="12968" y="1150"/>
                </a:lnTo>
                <a:lnTo>
                  <a:pt x="12966" y="1158"/>
                </a:lnTo>
                <a:lnTo>
                  <a:pt x="12966" y="1162"/>
                </a:lnTo>
                <a:lnTo>
                  <a:pt x="12968" y="1168"/>
                </a:lnTo>
                <a:lnTo>
                  <a:pt x="12972" y="1170"/>
                </a:lnTo>
                <a:lnTo>
                  <a:pt x="12976" y="1174"/>
                </a:lnTo>
                <a:lnTo>
                  <a:pt x="12988" y="1178"/>
                </a:lnTo>
                <a:lnTo>
                  <a:pt x="12998" y="1182"/>
                </a:lnTo>
                <a:lnTo>
                  <a:pt x="13002" y="1184"/>
                </a:lnTo>
                <a:lnTo>
                  <a:pt x="13004" y="1188"/>
                </a:lnTo>
                <a:lnTo>
                  <a:pt x="13004" y="1192"/>
                </a:lnTo>
                <a:lnTo>
                  <a:pt x="13002" y="1196"/>
                </a:lnTo>
                <a:lnTo>
                  <a:pt x="12998" y="1204"/>
                </a:lnTo>
                <a:lnTo>
                  <a:pt x="12988" y="1212"/>
                </a:lnTo>
                <a:lnTo>
                  <a:pt x="12972" y="1224"/>
                </a:lnTo>
                <a:lnTo>
                  <a:pt x="12966" y="1228"/>
                </a:lnTo>
                <a:lnTo>
                  <a:pt x="12960" y="1228"/>
                </a:lnTo>
                <a:lnTo>
                  <a:pt x="12956" y="1228"/>
                </a:lnTo>
                <a:lnTo>
                  <a:pt x="12952" y="1226"/>
                </a:lnTo>
                <a:lnTo>
                  <a:pt x="12946" y="1220"/>
                </a:lnTo>
                <a:lnTo>
                  <a:pt x="12940" y="1210"/>
                </a:lnTo>
                <a:lnTo>
                  <a:pt x="12934" y="1202"/>
                </a:lnTo>
                <a:lnTo>
                  <a:pt x="12928" y="1198"/>
                </a:lnTo>
                <a:lnTo>
                  <a:pt x="12922" y="1196"/>
                </a:lnTo>
                <a:lnTo>
                  <a:pt x="12916" y="1194"/>
                </a:lnTo>
                <a:lnTo>
                  <a:pt x="12908" y="1194"/>
                </a:lnTo>
                <a:lnTo>
                  <a:pt x="12900" y="1194"/>
                </a:lnTo>
                <a:lnTo>
                  <a:pt x="12894" y="1192"/>
                </a:lnTo>
                <a:lnTo>
                  <a:pt x="12892" y="1190"/>
                </a:lnTo>
                <a:lnTo>
                  <a:pt x="12890" y="1186"/>
                </a:lnTo>
                <a:lnTo>
                  <a:pt x="12888" y="1178"/>
                </a:lnTo>
                <a:lnTo>
                  <a:pt x="12888" y="1170"/>
                </a:lnTo>
                <a:lnTo>
                  <a:pt x="12888" y="1162"/>
                </a:lnTo>
                <a:lnTo>
                  <a:pt x="12886" y="1158"/>
                </a:lnTo>
                <a:lnTo>
                  <a:pt x="12882" y="1156"/>
                </a:lnTo>
                <a:lnTo>
                  <a:pt x="12876" y="1156"/>
                </a:lnTo>
                <a:lnTo>
                  <a:pt x="12870" y="1156"/>
                </a:lnTo>
                <a:lnTo>
                  <a:pt x="12846" y="1164"/>
                </a:lnTo>
                <a:lnTo>
                  <a:pt x="12832" y="1168"/>
                </a:lnTo>
                <a:lnTo>
                  <a:pt x="12820" y="1170"/>
                </a:lnTo>
                <a:lnTo>
                  <a:pt x="12808" y="1170"/>
                </a:lnTo>
                <a:lnTo>
                  <a:pt x="12796" y="1170"/>
                </a:lnTo>
                <a:lnTo>
                  <a:pt x="12778" y="1168"/>
                </a:lnTo>
                <a:lnTo>
                  <a:pt x="12758" y="1162"/>
                </a:lnTo>
                <a:lnTo>
                  <a:pt x="12740" y="1158"/>
                </a:lnTo>
                <a:lnTo>
                  <a:pt x="12716" y="1154"/>
                </a:lnTo>
                <a:lnTo>
                  <a:pt x="12704" y="1152"/>
                </a:lnTo>
                <a:lnTo>
                  <a:pt x="12688" y="1154"/>
                </a:lnTo>
                <a:lnTo>
                  <a:pt x="12672" y="1154"/>
                </a:lnTo>
                <a:lnTo>
                  <a:pt x="12654" y="1158"/>
                </a:lnTo>
                <a:lnTo>
                  <a:pt x="12620" y="1164"/>
                </a:lnTo>
                <a:lnTo>
                  <a:pt x="12594" y="1166"/>
                </a:lnTo>
                <a:lnTo>
                  <a:pt x="12574" y="1164"/>
                </a:lnTo>
                <a:lnTo>
                  <a:pt x="12562" y="1160"/>
                </a:lnTo>
                <a:lnTo>
                  <a:pt x="12558" y="1156"/>
                </a:lnTo>
                <a:lnTo>
                  <a:pt x="12554" y="1152"/>
                </a:lnTo>
                <a:lnTo>
                  <a:pt x="12552" y="1142"/>
                </a:lnTo>
                <a:lnTo>
                  <a:pt x="12552" y="1132"/>
                </a:lnTo>
                <a:lnTo>
                  <a:pt x="12556" y="1122"/>
                </a:lnTo>
                <a:lnTo>
                  <a:pt x="12558" y="1118"/>
                </a:lnTo>
                <a:lnTo>
                  <a:pt x="12558" y="1112"/>
                </a:lnTo>
                <a:lnTo>
                  <a:pt x="12556" y="1104"/>
                </a:lnTo>
                <a:lnTo>
                  <a:pt x="12552" y="1098"/>
                </a:lnTo>
                <a:lnTo>
                  <a:pt x="12544" y="1090"/>
                </a:lnTo>
                <a:lnTo>
                  <a:pt x="12536" y="1084"/>
                </a:lnTo>
                <a:lnTo>
                  <a:pt x="12524" y="1078"/>
                </a:lnTo>
                <a:lnTo>
                  <a:pt x="12512" y="1072"/>
                </a:lnTo>
                <a:lnTo>
                  <a:pt x="12496" y="1066"/>
                </a:lnTo>
                <a:lnTo>
                  <a:pt x="12480" y="1062"/>
                </a:lnTo>
                <a:lnTo>
                  <a:pt x="12460" y="1058"/>
                </a:lnTo>
                <a:lnTo>
                  <a:pt x="12440" y="1056"/>
                </a:lnTo>
                <a:lnTo>
                  <a:pt x="12416" y="1056"/>
                </a:lnTo>
                <a:lnTo>
                  <a:pt x="12392" y="1056"/>
                </a:lnTo>
                <a:lnTo>
                  <a:pt x="12364" y="1058"/>
                </a:lnTo>
                <a:lnTo>
                  <a:pt x="12336" y="1064"/>
                </a:lnTo>
                <a:lnTo>
                  <a:pt x="12308" y="1068"/>
                </a:lnTo>
                <a:lnTo>
                  <a:pt x="12284" y="1068"/>
                </a:lnTo>
                <a:lnTo>
                  <a:pt x="12264" y="1068"/>
                </a:lnTo>
                <a:lnTo>
                  <a:pt x="12246" y="1064"/>
                </a:lnTo>
                <a:lnTo>
                  <a:pt x="12230" y="1060"/>
                </a:lnTo>
                <a:lnTo>
                  <a:pt x="12218" y="1054"/>
                </a:lnTo>
                <a:lnTo>
                  <a:pt x="12206" y="1046"/>
                </a:lnTo>
                <a:lnTo>
                  <a:pt x="12196" y="1038"/>
                </a:lnTo>
                <a:lnTo>
                  <a:pt x="12180" y="1022"/>
                </a:lnTo>
                <a:lnTo>
                  <a:pt x="12168" y="1004"/>
                </a:lnTo>
                <a:lnTo>
                  <a:pt x="12152" y="988"/>
                </a:lnTo>
                <a:lnTo>
                  <a:pt x="12144" y="982"/>
                </a:lnTo>
                <a:lnTo>
                  <a:pt x="12136" y="978"/>
                </a:lnTo>
                <a:lnTo>
                  <a:pt x="12116" y="972"/>
                </a:lnTo>
                <a:lnTo>
                  <a:pt x="12102" y="968"/>
                </a:lnTo>
                <a:lnTo>
                  <a:pt x="12076" y="966"/>
                </a:lnTo>
                <a:lnTo>
                  <a:pt x="12042" y="964"/>
                </a:lnTo>
                <a:lnTo>
                  <a:pt x="12018" y="960"/>
                </a:lnTo>
                <a:lnTo>
                  <a:pt x="11988" y="954"/>
                </a:lnTo>
                <a:lnTo>
                  <a:pt x="11958" y="946"/>
                </a:lnTo>
                <a:lnTo>
                  <a:pt x="11932" y="942"/>
                </a:lnTo>
                <a:lnTo>
                  <a:pt x="11890" y="940"/>
                </a:lnTo>
                <a:lnTo>
                  <a:pt x="11854" y="936"/>
                </a:lnTo>
                <a:lnTo>
                  <a:pt x="11834" y="934"/>
                </a:lnTo>
                <a:lnTo>
                  <a:pt x="11810" y="928"/>
                </a:lnTo>
                <a:lnTo>
                  <a:pt x="11790" y="924"/>
                </a:lnTo>
                <a:lnTo>
                  <a:pt x="11782" y="924"/>
                </a:lnTo>
                <a:lnTo>
                  <a:pt x="11780" y="926"/>
                </a:lnTo>
                <a:lnTo>
                  <a:pt x="11778" y="928"/>
                </a:lnTo>
                <a:lnTo>
                  <a:pt x="11780" y="934"/>
                </a:lnTo>
                <a:lnTo>
                  <a:pt x="11780" y="940"/>
                </a:lnTo>
                <a:lnTo>
                  <a:pt x="11778" y="942"/>
                </a:lnTo>
                <a:lnTo>
                  <a:pt x="11776" y="946"/>
                </a:lnTo>
                <a:lnTo>
                  <a:pt x="11772" y="948"/>
                </a:lnTo>
                <a:lnTo>
                  <a:pt x="11764" y="950"/>
                </a:lnTo>
                <a:lnTo>
                  <a:pt x="11742" y="954"/>
                </a:lnTo>
                <a:lnTo>
                  <a:pt x="11730" y="954"/>
                </a:lnTo>
                <a:lnTo>
                  <a:pt x="11722" y="958"/>
                </a:lnTo>
                <a:lnTo>
                  <a:pt x="11720" y="962"/>
                </a:lnTo>
                <a:lnTo>
                  <a:pt x="11718" y="968"/>
                </a:lnTo>
                <a:lnTo>
                  <a:pt x="11720" y="974"/>
                </a:lnTo>
                <a:lnTo>
                  <a:pt x="11724" y="982"/>
                </a:lnTo>
                <a:lnTo>
                  <a:pt x="11734" y="996"/>
                </a:lnTo>
                <a:lnTo>
                  <a:pt x="11746" y="1010"/>
                </a:lnTo>
                <a:lnTo>
                  <a:pt x="11748" y="1016"/>
                </a:lnTo>
                <a:lnTo>
                  <a:pt x="11750" y="1022"/>
                </a:lnTo>
                <a:lnTo>
                  <a:pt x="11748" y="1024"/>
                </a:lnTo>
                <a:lnTo>
                  <a:pt x="11744" y="1026"/>
                </a:lnTo>
                <a:lnTo>
                  <a:pt x="11736" y="1026"/>
                </a:lnTo>
                <a:lnTo>
                  <a:pt x="11724" y="1024"/>
                </a:lnTo>
                <a:lnTo>
                  <a:pt x="11698" y="1018"/>
                </a:lnTo>
                <a:lnTo>
                  <a:pt x="11680" y="1016"/>
                </a:lnTo>
                <a:lnTo>
                  <a:pt x="11668" y="1018"/>
                </a:lnTo>
                <a:lnTo>
                  <a:pt x="11658" y="1020"/>
                </a:lnTo>
                <a:lnTo>
                  <a:pt x="11650" y="1022"/>
                </a:lnTo>
                <a:lnTo>
                  <a:pt x="11640" y="1024"/>
                </a:lnTo>
                <a:lnTo>
                  <a:pt x="11624" y="1024"/>
                </a:lnTo>
                <a:lnTo>
                  <a:pt x="11604" y="1020"/>
                </a:lnTo>
                <a:lnTo>
                  <a:pt x="11592" y="1018"/>
                </a:lnTo>
                <a:lnTo>
                  <a:pt x="11582" y="1016"/>
                </a:lnTo>
                <a:lnTo>
                  <a:pt x="11574" y="1018"/>
                </a:lnTo>
                <a:lnTo>
                  <a:pt x="11566" y="1020"/>
                </a:lnTo>
                <a:lnTo>
                  <a:pt x="11552" y="1024"/>
                </a:lnTo>
                <a:lnTo>
                  <a:pt x="11538" y="1030"/>
                </a:lnTo>
                <a:lnTo>
                  <a:pt x="11526" y="1036"/>
                </a:lnTo>
                <a:lnTo>
                  <a:pt x="11520" y="1036"/>
                </a:lnTo>
                <a:lnTo>
                  <a:pt x="11512" y="1036"/>
                </a:lnTo>
                <a:lnTo>
                  <a:pt x="11504" y="1034"/>
                </a:lnTo>
                <a:lnTo>
                  <a:pt x="11496" y="1032"/>
                </a:lnTo>
                <a:lnTo>
                  <a:pt x="11486" y="1026"/>
                </a:lnTo>
                <a:lnTo>
                  <a:pt x="11474" y="1018"/>
                </a:lnTo>
                <a:lnTo>
                  <a:pt x="11464" y="1012"/>
                </a:lnTo>
                <a:lnTo>
                  <a:pt x="11454" y="1010"/>
                </a:lnTo>
                <a:lnTo>
                  <a:pt x="11446" y="1010"/>
                </a:lnTo>
                <a:lnTo>
                  <a:pt x="11440" y="1014"/>
                </a:lnTo>
                <a:lnTo>
                  <a:pt x="11434" y="1020"/>
                </a:lnTo>
                <a:lnTo>
                  <a:pt x="11428" y="1028"/>
                </a:lnTo>
                <a:lnTo>
                  <a:pt x="11418" y="1046"/>
                </a:lnTo>
                <a:lnTo>
                  <a:pt x="11408" y="1064"/>
                </a:lnTo>
                <a:lnTo>
                  <a:pt x="11404" y="1070"/>
                </a:lnTo>
                <a:lnTo>
                  <a:pt x="11396" y="1076"/>
                </a:lnTo>
                <a:lnTo>
                  <a:pt x="11390" y="1078"/>
                </a:lnTo>
                <a:lnTo>
                  <a:pt x="11380" y="1078"/>
                </a:lnTo>
                <a:lnTo>
                  <a:pt x="11370" y="1072"/>
                </a:lnTo>
                <a:lnTo>
                  <a:pt x="11358" y="1062"/>
                </a:lnTo>
                <a:lnTo>
                  <a:pt x="11316" y="1022"/>
                </a:lnTo>
                <a:lnTo>
                  <a:pt x="11290" y="994"/>
                </a:lnTo>
                <a:lnTo>
                  <a:pt x="11278" y="984"/>
                </a:lnTo>
                <a:lnTo>
                  <a:pt x="11268" y="976"/>
                </a:lnTo>
                <a:lnTo>
                  <a:pt x="11256" y="968"/>
                </a:lnTo>
                <a:lnTo>
                  <a:pt x="11242" y="962"/>
                </a:lnTo>
                <a:lnTo>
                  <a:pt x="11234" y="960"/>
                </a:lnTo>
                <a:lnTo>
                  <a:pt x="11230" y="960"/>
                </a:lnTo>
                <a:lnTo>
                  <a:pt x="11226" y="962"/>
                </a:lnTo>
                <a:lnTo>
                  <a:pt x="11226" y="964"/>
                </a:lnTo>
                <a:lnTo>
                  <a:pt x="11228" y="972"/>
                </a:lnTo>
                <a:lnTo>
                  <a:pt x="11232" y="982"/>
                </a:lnTo>
                <a:lnTo>
                  <a:pt x="11236" y="992"/>
                </a:lnTo>
                <a:lnTo>
                  <a:pt x="11238" y="996"/>
                </a:lnTo>
                <a:lnTo>
                  <a:pt x="11238" y="998"/>
                </a:lnTo>
                <a:lnTo>
                  <a:pt x="11234" y="996"/>
                </a:lnTo>
                <a:lnTo>
                  <a:pt x="11224" y="988"/>
                </a:lnTo>
                <a:lnTo>
                  <a:pt x="11206" y="976"/>
                </a:lnTo>
                <a:lnTo>
                  <a:pt x="11184" y="964"/>
                </a:lnTo>
                <a:lnTo>
                  <a:pt x="11158" y="954"/>
                </a:lnTo>
                <a:lnTo>
                  <a:pt x="11130" y="944"/>
                </a:lnTo>
                <a:lnTo>
                  <a:pt x="11096" y="934"/>
                </a:lnTo>
                <a:lnTo>
                  <a:pt x="11058" y="926"/>
                </a:lnTo>
                <a:lnTo>
                  <a:pt x="11018" y="920"/>
                </a:lnTo>
                <a:lnTo>
                  <a:pt x="10970" y="916"/>
                </a:lnTo>
                <a:lnTo>
                  <a:pt x="10918" y="910"/>
                </a:lnTo>
                <a:lnTo>
                  <a:pt x="10900" y="908"/>
                </a:lnTo>
                <a:lnTo>
                  <a:pt x="10890" y="904"/>
                </a:lnTo>
                <a:lnTo>
                  <a:pt x="10882" y="900"/>
                </a:lnTo>
                <a:lnTo>
                  <a:pt x="10880" y="898"/>
                </a:lnTo>
                <a:lnTo>
                  <a:pt x="10880" y="894"/>
                </a:lnTo>
                <a:lnTo>
                  <a:pt x="10882" y="890"/>
                </a:lnTo>
                <a:lnTo>
                  <a:pt x="10890" y="884"/>
                </a:lnTo>
                <a:lnTo>
                  <a:pt x="10896" y="878"/>
                </a:lnTo>
                <a:lnTo>
                  <a:pt x="10898" y="874"/>
                </a:lnTo>
                <a:lnTo>
                  <a:pt x="10896" y="872"/>
                </a:lnTo>
                <a:lnTo>
                  <a:pt x="10890" y="870"/>
                </a:lnTo>
                <a:lnTo>
                  <a:pt x="10880" y="870"/>
                </a:lnTo>
                <a:lnTo>
                  <a:pt x="10834" y="866"/>
                </a:lnTo>
                <a:lnTo>
                  <a:pt x="10792" y="864"/>
                </a:lnTo>
                <a:lnTo>
                  <a:pt x="10752" y="864"/>
                </a:lnTo>
                <a:lnTo>
                  <a:pt x="10732" y="866"/>
                </a:lnTo>
                <a:lnTo>
                  <a:pt x="10710" y="868"/>
                </a:lnTo>
                <a:lnTo>
                  <a:pt x="10702" y="870"/>
                </a:lnTo>
                <a:lnTo>
                  <a:pt x="10694" y="870"/>
                </a:lnTo>
                <a:lnTo>
                  <a:pt x="10688" y="870"/>
                </a:lnTo>
                <a:lnTo>
                  <a:pt x="10684" y="866"/>
                </a:lnTo>
                <a:lnTo>
                  <a:pt x="10678" y="860"/>
                </a:lnTo>
                <a:lnTo>
                  <a:pt x="10674" y="854"/>
                </a:lnTo>
                <a:lnTo>
                  <a:pt x="10672" y="848"/>
                </a:lnTo>
                <a:lnTo>
                  <a:pt x="10668" y="842"/>
                </a:lnTo>
                <a:lnTo>
                  <a:pt x="10666" y="842"/>
                </a:lnTo>
                <a:lnTo>
                  <a:pt x="10662" y="842"/>
                </a:lnTo>
                <a:lnTo>
                  <a:pt x="10650" y="848"/>
                </a:lnTo>
                <a:lnTo>
                  <a:pt x="10636" y="852"/>
                </a:lnTo>
                <a:lnTo>
                  <a:pt x="10626" y="854"/>
                </a:lnTo>
                <a:lnTo>
                  <a:pt x="10618" y="852"/>
                </a:lnTo>
                <a:lnTo>
                  <a:pt x="10610" y="848"/>
                </a:lnTo>
                <a:lnTo>
                  <a:pt x="10602" y="842"/>
                </a:lnTo>
                <a:lnTo>
                  <a:pt x="10594" y="838"/>
                </a:lnTo>
                <a:lnTo>
                  <a:pt x="10580" y="838"/>
                </a:lnTo>
                <a:lnTo>
                  <a:pt x="10564" y="840"/>
                </a:lnTo>
                <a:lnTo>
                  <a:pt x="10548" y="844"/>
                </a:lnTo>
                <a:lnTo>
                  <a:pt x="10542" y="850"/>
                </a:lnTo>
                <a:lnTo>
                  <a:pt x="10538" y="856"/>
                </a:lnTo>
                <a:lnTo>
                  <a:pt x="10536" y="864"/>
                </a:lnTo>
                <a:lnTo>
                  <a:pt x="10532" y="872"/>
                </a:lnTo>
                <a:lnTo>
                  <a:pt x="10522" y="878"/>
                </a:lnTo>
                <a:lnTo>
                  <a:pt x="10504" y="886"/>
                </a:lnTo>
                <a:lnTo>
                  <a:pt x="10474" y="892"/>
                </a:lnTo>
                <a:lnTo>
                  <a:pt x="10442" y="896"/>
                </a:lnTo>
                <a:lnTo>
                  <a:pt x="10418" y="896"/>
                </a:lnTo>
                <a:lnTo>
                  <a:pt x="10404" y="896"/>
                </a:lnTo>
                <a:lnTo>
                  <a:pt x="10402" y="894"/>
                </a:lnTo>
                <a:lnTo>
                  <a:pt x="10400" y="892"/>
                </a:lnTo>
                <a:lnTo>
                  <a:pt x="10400" y="888"/>
                </a:lnTo>
                <a:lnTo>
                  <a:pt x="10404" y="886"/>
                </a:lnTo>
                <a:lnTo>
                  <a:pt x="10416" y="876"/>
                </a:lnTo>
                <a:lnTo>
                  <a:pt x="10438" y="866"/>
                </a:lnTo>
                <a:lnTo>
                  <a:pt x="10468" y="852"/>
                </a:lnTo>
                <a:lnTo>
                  <a:pt x="10498" y="838"/>
                </a:lnTo>
                <a:lnTo>
                  <a:pt x="10520" y="828"/>
                </a:lnTo>
                <a:lnTo>
                  <a:pt x="10548" y="808"/>
                </a:lnTo>
                <a:lnTo>
                  <a:pt x="10562" y="800"/>
                </a:lnTo>
                <a:lnTo>
                  <a:pt x="10576" y="792"/>
                </a:lnTo>
                <a:lnTo>
                  <a:pt x="10596" y="784"/>
                </a:lnTo>
                <a:lnTo>
                  <a:pt x="10622" y="776"/>
                </a:lnTo>
                <a:lnTo>
                  <a:pt x="10650" y="766"/>
                </a:lnTo>
                <a:lnTo>
                  <a:pt x="10670" y="754"/>
                </a:lnTo>
                <a:lnTo>
                  <a:pt x="10678" y="748"/>
                </a:lnTo>
                <a:lnTo>
                  <a:pt x="10684" y="740"/>
                </a:lnTo>
                <a:lnTo>
                  <a:pt x="10692" y="728"/>
                </a:lnTo>
                <a:lnTo>
                  <a:pt x="10694" y="714"/>
                </a:lnTo>
                <a:lnTo>
                  <a:pt x="10694" y="700"/>
                </a:lnTo>
                <a:lnTo>
                  <a:pt x="10692" y="688"/>
                </a:lnTo>
                <a:lnTo>
                  <a:pt x="10686" y="678"/>
                </a:lnTo>
                <a:lnTo>
                  <a:pt x="10680" y="670"/>
                </a:lnTo>
                <a:lnTo>
                  <a:pt x="10672" y="664"/>
                </a:lnTo>
                <a:lnTo>
                  <a:pt x="10664" y="660"/>
                </a:lnTo>
                <a:lnTo>
                  <a:pt x="10656" y="658"/>
                </a:lnTo>
                <a:lnTo>
                  <a:pt x="10636" y="652"/>
                </a:lnTo>
                <a:lnTo>
                  <a:pt x="10626" y="646"/>
                </a:lnTo>
                <a:lnTo>
                  <a:pt x="10614" y="638"/>
                </a:lnTo>
                <a:lnTo>
                  <a:pt x="10600" y="630"/>
                </a:lnTo>
                <a:lnTo>
                  <a:pt x="10588" y="624"/>
                </a:lnTo>
                <a:lnTo>
                  <a:pt x="10574" y="624"/>
                </a:lnTo>
                <a:lnTo>
                  <a:pt x="10562" y="624"/>
                </a:lnTo>
                <a:lnTo>
                  <a:pt x="10532" y="626"/>
                </a:lnTo>
                <a:lnTo>
                  <a:pt x="10518" y="626"/>
                </a:lnTo>
                <a:lnTo>
                  <a:pt x="10500" y="624"/>
                </a:lnTo>
                <a:lnTo>
                  <a:pt x="10486" y="622"/>
                </a:lnTo>
                <a:lnTo>
                  <a:pt x="10478" y="622"/>
                </a:lnTo>
                <a:lnTo>
                  <a:pt x="10472" y="624"/>
                </a:lnTo>
                <a:lnTo>
                  <a:pt x="10466" y="628"/>
                </a:lnTo>
                <a:lnTo>
                  <a:pt x="10462" y="632"/>
                </a:lnTo>
                <a:lnTo>
                  <a:pt x="10454" y="636"/>
                </a:lnTo>
                <a:lnTo>
                  <a:pt x="10442" y="640"/>
                </a:lnTo>
                <a:lnTo>
                  <a:pt x="10426" y="642"/>
                </a:lnTo>
                <a:lnTo>
                  <a:pt x="10404" y="644"/>
                </a:lnTo>
                <a:lnTo>
                  <a:pt x="10400" y="644"/>
                </a:lnTo>
                <a:lnTo>
                  <a:pt x="10400" y="642"/>
                </a:lnTo>
                <a:lnTo>
                  <a:pt x="10406" y="636"/>
                </a:lnTo>
                <a:lnTo>
                  <a:pt x="10416" y="628"/>
                </a:lnTo>
                <a:lnTo>
                  <a:pt x="10426" y="620"/>
                </a:lnTo>
                <a:lnTo>
                  <a:pt x="10430" y="616"/>
                </a:lnTo>
                <a:lnTo>
                  <a:pt x="10430" y="612"/>
                </a:lnTo>
                <a:lnTo>
                  <a:pt x="10428" y="608"/>
                </a:lnTo>
                <a:lnTo>
                  <a:pt x="10422" y="606"/>
                </a:lnTo>
                <a:lnTo>
                  <a:pt x="10412" y="604"/>
                </a:lnTo>
                <a:lnTo>
                  <a:pt x="10396" y="602"/>
                </a:lnTo>
                <a:lnTo>
                  <a:pt x="10366" y="600"/>
                </a:lnTo>
                <a:lnTo>
                  <a:pt x="10348" y="598"/>
                </a:lnTo>
                <a:lnTo>
                  <a:pt x="10336" y="594"/>
                </a:lnTo>
                <a:lnTo>
                  <a:pt x="10334" y="592"/>
                </a:lnTo>
                <a:lnTo>
                  <a:pt x="10338" y="588"/>
                </a:lnTo>
                <a:lnTo>
                  <a:pt x="10346" y="584"/>
                </a:lnTo>
                <a:lnTo>
                  <a:pt x="10374" y="578"/>
                </a:lnTo>
                <a:lnTo>
                  <a:pt x="10380" y="576"/>
                </a:lnTo>
                <a:lnTo>
                  <a:pt x="10384" y="572"/>
                </a:lnTo>
                <a:lnTo>
                  <a:pt x="10384" y="570"/>
                </a:lnTo>
                <a:lnTo>
                  <a:pt x="10384" y="566"/>
                </a:lnTo>
                <a:lnTo>
                  <a:pt x="10380" y="562"/>
                </a:lnTo>
                <a:lnTo>
                  <a:pt x="10374" y="558"/>
                </a:lnTo>
                <a:lnTo>
                  <a:pt x="10358" y="552"/>
                </a:lnTo>
                <a:lnTo>
                  <a:pt x="10336" y="548"/>
                </a:lnTo>
                <a:lnTo>
                  <a:pt x="10310" y="546"/>
                </a:lnTo>
                <a:lnTo>
                  <a:pt x="10296" y="548"/>
                </a:lnTo>
                <a:lnTo>
                  <a:pt x="10280" y="550"/>
                </a:lnTo>
                <a:lnTo>
                  <a:pt x="10266" y="554"/>
                </a:lnTo>
                <a:lnTo>
                  <a:pt x="10250" y="560"/>
                </a:lnTo>
                <a:lnTo>
                  <a:pt x="10230" y="570"/>
                </a:lnTo>
                <a:lnTo>
                  <a:pt x="10214" y="578"/>
                </a:lnTo>
                <a:lnTo>
                  <a:pt x="10202" y="586"/>
                </a:lnTo>
                <a:lnTo>
                  <a:pt x="10192" y="594"/>
                </a:lnTo>
                <a:lnTo>
                  <a:pt x="10184" y="602"/>
                </a:lnTo>
                <a:lnTo>
                  <a:pt x="10180" y="608"/>
                </a:lnTo>
                <a:lnTo>
                  <a:pt x="10174" y="618"/>
                </a:lnTo>
                <a:lnTo>
                  <a:pt x="10172" y="626"/>
                </a:lnTo>
                <a:lnTo>
                  <a:pt x="10168" y="634"/>
                </a:lnTo>
                <a:lnTo>
                  <a:pt x="10166" y="636"/>
                </a:lnTo>
                <a:lnTo>
                  <a:pt x="10160" y="638"/>
                </a:lnTo>
                <a:lnTo>
                  <a:pt x="10144" y="640"/>
                </a:lnTo>
                <a:lnTo>
                  <a:pt x="10112" y="640"/>
                </a:lnTo>
                <a:lnTo>
                  <a:pt x="10098" y="642"/>
                </a:lnTo>
                <a:lnTo>
                  <a:pt x="10094" y="644"/>
                </a:lnTo>
                <a:lnTo>
                  <a:pt x="10094" y="646"/>
                </a:lnTo>
                <a:lnTo>
                  <a:pt x="10096" y="648"/>
                </a:lnTo>
                <a:lnTo>
                  <a:pt x="10098" y="652"/>
                </a:lnTo>
                <a:lnTo>
                  <a:pt x="10098" y="654"/>
                </a:lnTo>
                <a:lnTo>
                  <a:pt x="10094" y="658"/>
                </a:lnTo>
                <a:lnTo>
                  <a:pt x="10080" y="664"/>
                </a:lnTo>
                <a:lnTo>
                  <a:pt x="10050" y="670"/>
                </a:lnTo>
                <a:lnTo>
                  <a:pt x="10020" y="676"/>
                </a:lnTo>
                <a:lnTo>
                  <a:pt x="10006" y="676"/>
                </a:lnTo>
                <a:lnTo>
                  <a:pt x="10002" y="676"/>
                </a:lnTo>
                <a:lnTo>
                  <a:pt x="10000" y="674"/>
                </a:lnTo>
                <a:lnTo>
                  <a:pt x="10000" y="670"/>
                </a:lnTo>
                <a:lnTo>
                  <a:pt x="10000" y="666"/>
                </a:lnTo>
                <a:lnTo>
                  <a:pt x="9998" y="664"/>
                </a:lnTo>
                <a:lnTo>
                  <a:pt x="9994" y="662"/>
                </a:lnTo>
                <a:lnTo>
                  <a:pt x="9988" y="660"/>
                </a:lnTo>
                <a:lnTo>
                  <a:pt x="9964" y="660"/>
                </a:lnTo>
                <a:lnTo>
                  <a:pt x="9922" y="664"/>
                </a:lnTo>
                <a:lnTo>
                  <a:pt x="9882" y="670"/>
                </a:lnTo>
                <a:lnTo>
                  <a:pt x="9870" y="674"/>
                </a:lnTo>
                <a:lnTo>
                  <a:pt x="9862" y="678"/>
                </a:lnTo>
                <a:lnTo>
                  <a:pt x="9858" y="680"/>
                </a:lnTo>
                <a:lnTo>
                  <a:pt x="9856" y="684"/>
                </a:lnTo>
                <a:lnTo>
                  <a:pt x="9858" y="690"/>
                </a:lnTo>
                <a:lnTo>
                  <a:pt x="9860" y="692"/>
                </a:lnTo>
                <a:lnTo>
                  <a:pt x="9858" y="696"/>
                </a:lnTo>
                <a:lnTo>
                  <a:pt x="9856" y="698"/>
                </a:lnTo>
                <a:lnTo>
                  <a:pt x="9852" y="700"/>
                </a:lnTo>
                <a:lnTo>
                  <a:pt x="9844" y="704"/>
                </a:lnTo>
                <a:lnTo>
                  <a:pt x="9830" y="706"/>
                </a:lnTo>
                <a:lnTo>
                  <a:pt x="9786" y="710"/>
                </a:lnTo>
                <a:lnTo>
                  <a:pt x="9738" y="716"/>
                </a:lnTo>
                <a:lnTo>
                  <a:pt x="9708" y="720"/>
                </a:lnTo>
                <a:lnTo>
                  <a:pt x="9688" y="726"/>
                </a:lnTo>
                <a:lnTo>
                  <a:pt x="9678" y="732"/>
                </a:lnTo>
                <a:lnTo>
                  <a:pt x="9672" y="738"/>
                </a:lnTo>
                <a:lnTo>
                  <a:pt x="9664" y="742"/>
                </a:lnTo>
                <a:lnTo>
                  <a:pt x="9652" y="746"/>
                </a:lnTo>
                <a:lnTo>
                  <a:pt x="9630" y="748"/>
                </a:lnTo>
                <a:lnTo>
                  <a:pt x="9618" y="750"/>
                </a:lnTo>
                <a:lnTo>
                  <a:pt x="9606" y="752"/>
                </a:lnTo>
                <a:lnTo>
                  <a:pt x="9596" y="756"/>
                </a:lnTo>
                <a:lnTo>
                  <a:pt x="9588" y="760"/>
                </a:lnTo>
                <a:lnTo>
                  <a:pt x="9580" y="766"/>
                </a:lnTo>
                <a:lnTo>
                  <a:pt x="9574" y="772"/>
                </a:lnTo>
                <a:lnTo>
                  <a:pt x="9570" y="778"/>
                </a:lnTo>
                <a:lnTo>
                  <a:pt x="9568" y="784"/>
                </a:lnTo>
                <a:lnTo>
                  <a:pt x="9566" y="790"/>
                </a:lnTo>
                <a:lnTo>
                  <a:pt x="9566" y="796"/>
                </a:lnTo>
                <a:lnTo>
                  <a:pt x="9568" y="802"/>
                </a:lnTo>
                <a:lnTo>
                  <a:pt x="9570" y="806"/>
                </a:lnTo>
                <a:lnTo>
                  <a:pt x="9574" y="810"/>
                </a:lnTo>
                <a:lnTo>
                  <a:pt x="9580" y="814"/>
                </a:lnTo>
                <a:lnTo>
                  <a:pt x="9586" y="818"/>
                </a:lnTo>
                <a:lnTo>
                  <a:pt x="9592" y="818"/>
                </a:lnTo>
                <a:lnTo>
                  <a:pt x="9604" y="820"/>
                </a:lnTo>
                <a:lnTo>
                  <a:pt x="9612" y="824"/>
                </a:lnTo>
                <a:lnTo>
                  <a:pt x="9614" y="828"/>
                </a:lnTo>
                <a:lnTo>
                  <a:pt x="9612" y="832"/>
                </a:lnTo>
                <a:lnTo>
                  <a:pt x="9604" y="838"/>
                </a:lnTo>
                <a:lnTo>
                  <a:pt x="9594" y="842"/>
                </a:lnTo>
                <a:lnTo>
                  <a:pt x="9578" y="848"/>
                </a:lnTo>
                <a:lnTo>
                  <a:pt x="9560" y="852"/>
                </a:lnTo>
                <a:lnTo>
                  <a:pt x="9526" y="858"/>
                </a:lnTo>
                <a:lnTo>
                  <a:pt x="9494" y="860"/>
                </a:lnTo>
                <a:lnTo>
                  <a:pt x="9430" y="862"/>
                </a:lnTo>
                <a:lnTo>
                  <a:pt x="9402" y="862"/>
                </a:lnTo>
                <a:lnTo>
                  <a:pt x="9378" y="866"/>
                </a:lnTo>
                <a:lnTo>
                  <a:pt x="9368" y="868"/>
                </a:lnTo>
                <a:lnTo>
                  <a:pt x="9358" y="870"/>
                </a:lnTo>
                <a:lnTo>
                  <a:pt x="9352" y="876"/>
                </a:lnTo>
                <a:lnTo>
                  <a:pt x="9346" y="882"/>
                </a:lnTo>
                <a:lnTo>
                  <a:pt x="9340" y="892"/>
                </a:lnTo>
                <a:lnTo>
                  <a:pt x="9338" y="894"/>
                </a:lnTo>
                <a:lnTo>
                  <a:pt x="9340" y="898"/>
                </a:lnTo>
                <a:lnTo>
                  <a:pt x="9344" y="900"/>
                </a:lnTo>
                <a:lnTo>
                  <a:pt x="9352" y="902"/>
                </a:lnTo>
                <a:lnTo>
                  <a:pt x="9358" y="906"/>
                </a:lnTo>
                <a:lnTo>
                  <a:pt x="9364" y="910"/>
                </a:lnTo>
                <a:lnTo>
                  <a:pt x="9366" y="914"/>
                </a:lnTo>
                <a:lnTo>
                  <a:pt x="9366" y="918"/>
                </a:lnTo>
                <a:lnTo>
                  <a:pt x="9364" y="924"/>
                </a:lnTo>
                <a:lnTo>
                  <a:pt x="9360" y="930"/>
                </a:lnTo>
                <a:lnTo>
                  <a:pt x="9356" y="938"/>
                </a:lnTo>
                <a:lnTo>
                  <a:pt x="9356" y="944"/>
                </a:lnTo>
                <a:lnTo>
                  <a:pt x="9356" y="948"/>
                </a:lnTo>
                <a:lnTo>
                  <a:pt x="9360" y="952"/>
                </a:lnTo>
                <a:lnTo>
                  <a:pt x="9368" y="956"/>
                </a:lnTo>
                <a:lnTo>
                  <a:pt x="9382" y="958"/>
                </a:lnTo>
                <a:lnTo>
                  <a:pt x="9394" y="960"/>
                </a:lnTo>
                <a:lnTo>
                  <a:pt x="9408" y="962"/>
                </a:lnTo>
                <a:lnTo>
                  <a:pt x="9412" y="966"/>
                </a:lnTo>
                <a:lnTo>
                  <a:pt x="9418" y="968"/>
                </a:lnTo>
                <a:lnTo>
                  <a:pt x="9420" y="974"/>
                </a:lnTo>
                <a:lnTo>
                  <a:pt x="9422" y="978"/>
                </a:lnTo>
                <a:lnTo>
                  <a:pt x="9422" y="984"/>
                </a:lnTo>
                <a:lnTo>
                  <a:pt x="9426" y="988"/>
                </a:lnTo>
                <a:lnTo>
                  <a:pt x="9428" y="992"/>
                </a:lnTo>
                <a:lnTo>
                  <a:pt x="9434" y="994"/>
                </a:lnTo>
                <a:lnTo>
                  <a:pt x="9446" y="996"/>
                </a:lnTo>
                <a:lnTo>
                  <a:pt x="9458" y="996"/>
                </a:lnTo>
                <a:lnTo>
                  <a:pt x="9468" y="998"/>
                </a:lnTo>
                <a:lnTo>
                  <a:pt x="9472" y="1000"/>
                </a:lnTo>
                <a:lnTo>
                  <a:pt x="9474" y="1002"/>
                </a:lnTo>
                <a:lnTo>
                  <a:pt x="9476" y="1006"/>
                </a:lnTo>
                <a:lnTo>
                  <a:pt x="9476" y="1012"/>
                </a:lnTo>
                <a:lnTo>
                  <a:pt x="9474" y="1018"/>
                </a:lnTo>
                <a:lnTo>
                  <a:pt x="9470" y="1028"/>
                </a:lnTo>
                <a:lnTo>
                  <a:pt x="9466" y="1036"/>
                </a:lnTo>
                <a:lnTo>
                  <a:pt x="9466" y="1044"/>
                </a:lnTo>
                <a:lnTo>
                  <a:pt x="9464" y="1050"/>
                </a:lnTo>
                <a:lnTo>
                  <a:pt x="9466" y="1056"/>
                </a:lnTo>
                <a:lnTo>
                  <a:pt x="9470" y="1066"/>
                </a:lnTo>
                <a:lnTo>
                  <a:pt x="9478" y="1074"/>
                </a:lnTo>
                <a:lnTo>
                  <a:pt x="9484" y="1082"/>
                </a:lnTo>
                <a:lnTo>
                  <a:pt x="9486" y="1086"/>
                </a:lnTo>
                <a:lnTo>
                  <a:pt x="9486" y="1090"/>
                </a:lnTo>
                <a:lnTo>
                  <a:pt x="9486" y="1094"/>
                </a:lnTo>
                <a:lnTo>
                  <a:pt x="9484" y="1100"/>
                </a:lnTo>
                <a:lnTo>
                  <a:pt x="9480" y="1106"/>
                </a:lnTo>
                <a:lnTo>
                  <a:pt x="9472" y="1112"/>
                </a:lnTo>
                <a:lnTo>
                  <a:pt x="9458" y="1122"/>
                </a:lnTo>
                <a:lnTo>
                  <a:pt x="9456" y="1122"/>
                </a:lnTo>
                <a:lnTo>
                  <a:pt x="9454" y="1120"/>
                </a:lnTo>
                <a:lnTo>
                  <a:pt x="9454" y="1112"/>
                </a:lnTo>
                <a:lnTo>
                  <a:pt x="9458" y="1098"/>
                </a:lnTo>
                <a:lnTo>
                  <a:pt x="9460" y="1084"/>
                </a:lnTo>
                <a:lnTo>
                  <a:pt x="9460" y="1076"/>
                </a:lnTo>
                <a:lnTo>
                  <a:pt x="9460" y="1070"/>
                </a:lnTo>
                <a:lnTo>
                  <a:pt x="9458" y="1066"/>
                </a:lnTo>
                <a:lnTo>
                  <a:pt x="9454" y="1064"/>
                </a:lnTo>
                <a:lnTo>
                  <a:pt x="9448" y="1062"/>
                </a:lnTo>
                <a:lnTo>
                  <a:pt x="9440" y="1064"/>
                </a:lnTo>
                <a:lnTo>
                  <a:pt x="9432" y="1066"/>
                </a:lnTo>
                <a:lnTo>
                  <a:pt x="9426" y="1068"/>
                </a:lnTo>
                <a:lnTo>
                  <a:pt x="9424" y="1066"/>
                </a:lnTo>
                <a:lnTo>
                  <a:pt x="9424" y="1064"/>
                </a:lnTo>
                <a:lnTo>
                  <a:pt x="9430" y="1054"/>
                </a:lnTo>
                <a:lnTo>
                  <a:pt x="9440" y="1042"/>
                </a:lnTo>
                <a:lnTo>
                  <a:pt x="9448" y="1030"/>
                </a:lnTo>
                <a:lnTo>
                  <a:pt x="9450" y="1024"/>
                </a:lnTo>
                <a:lnTo>
                  <a:pt x="9452" y="1020"/>
                </a:lnTo>
                <a:lnTo>
                  <a:pt x="9450" y="1016"/>
                </a:lnTo>
                <a:lnTo>
                  <a:pt x="9446" y="1012"/>
                </a:lnTo>
                <a:lnTo>
                  <a:pt x="9440" y="1010"/>
                </a:lnTo>
                <a:lnTo>
                  <a:pt x="9428" y="1010"/>
                </a:lnTo>
                <a:lnTo>
                  <a:pt x="9408" y="1008"/>
                </a:lnTo>
                <a:lnTo>
                  <a:pt x="9392" y="1004"/>
                </a:lnTo>
                <a:lnTo>
                  <a:pt x="9380" y="998"/>
                </a:lnTo>
                <a:lnTo>
                  <a:pt x="9372" y="990"/>
                </a:lnTo>
                <a:lnTo>
                  <a:pt x="9362" y="982"/>
                </a:lnTo>
                <a:lnTo>
                  <a:pt x="9348" y="974"/>
                </a:lnTo>
                <a:lnTo>
                  <a:pt x="9330" y="966"/>
                </a:lnTo>
                <a:lnTo>
                  <a:pt x="9304" y="962"/>
                </a:lnTo>
                <a:lnTo>
                  <a:pt x="9288" y="960"/>
                </a:lnTo>
                <a:lnTo>
                  <a:pt x="9274" y="958"/>
                </a:lnTo>
                <a:lnTo>
                  <a:pt x="9262" y="960"/>
                </a:lnTo>
                <a:lnTo>
                  <a:pt x="9254" y="962"/>
                </a:lnTo>
                <a:lnTo>
                  <a:pt x="9246" y="964"/>
                </a:lnTo>
                <a:lnTo>
                  <a:pt x="9240" y="968"/>
                </a:lnTo>
                <a:lnTo>
                  <a:pt x="9234" y="974"/>
                </a:lnTo>
                <a:lnTo>
                  <a:pt x="9230" y="982"/>
                </a:lnTo>
                <a:lnTo>
                  <a:pt x="9228" y="988"/>
                </a:lnTo>
                <a:lnTo>
                  <a:pt x="9226" y="992"/>
                </a:lnTo>
                <a:lnTo>
                  <a:pt x="9222" y="992"/>
                </a:lnTo>
                <a:lnTo>
                  <a:pt x="9218" y="992"/>
                </a:lnTo>
                <a:lnTo>
                  <a:pt x="9204" y="988"/>
                </a:lnTo>
                <a:lnTo>
                  <a:pt x="9190" y="988"/>
                </a:lnTo>
                <a:lnTo>
                  <a:pt x="9180" y="990"/>
                </a:lnTo>
                <a:lnTo>
                  <a:pt x="9172" y="996"/>
                </a:lnTo>
                <a:lnTo>
                  <a:pt x="9170" y="1000"/>
                </a:lnTo>
                <a:lnTo>
                  <a:pt x="9170" y="1004"/>
                </a:lnTo>
                <a:lnTo>
                  <a:pt x="9170" y="1006"/>
                </a:lnTo>
                <a:lnTo>
                  <a:pt x="9172" y="1012"/>
                </a:lnTo>
                <a:lnTo>
                  <a:pt x="9178" y="1016"/>
                </a:lnTo>
                <a:lnTo>
                  <a:pt x="9184" y="1020"/>
                </a:lnTo>
                <a:lnTo>
                  <a:pt x="9202" y="1028"/>
                </a:lnTo>
                <a:lnTo>
                  <a:pt x="9220" y="1034"/>
                </a:lnTo>
                <a:lnTo>
                  <a:pt x="9230" y="1040"/>
                </a:lnTo>
                <a:lnTo>
                  <a:pt x="9232" y="1042"/>
                </a:lnTo>
                <a:lnTo>
                  <a:pt x="9234" y="1044"/>
                </a:lnTo>
                <a:lnTo>
                  <a:pt x="9230" y="1046"/>
                </a:lnTo>
                <a:lnTo>
                  <a:pt x="9220" y="1048"/>
                </a:lnTo>
                <a:lnTo>
                  <a:pt x="9206" y="1048"/>
                </a:lnTo>
                <a:lnTo>
                  <a:pt x="9168" y="1044"/>
                </a:lnTo>
                <a:lnTo>
                  <a:pt x="9160" y="1042"/>
                </a:lnTo>
                <a:lnTo>
                  <a:pt x="9152" y="1040"/>
                </a:lnTo>
                <a:lnTo>
                  <a:pt x="9148" y="1036"/>
                </a:lnTo>
                <a:lnTo>
                  <a:pt x="9146" y="1030"/>
                </a:lnTo>
                <a:lnTo>
                  <a:pt x="9144" y="1024"/>
                </a:lnTo>
                <a:lnTo>
                  <a:pt x="9144" y="1018"/>
                </a:lnTo>
                <a:lnTo>
                  <a:pt x="9148" y="1004"/>
                </a:lnTo>
                <a:lnTo>
                  <a:pt x="9152" y="988"/>
                </a:lnTo>
                <a:lnTo>
                  <a:pt x="9156" y="972"/>
                </a:lnTo>
                <a:lnTo>
                  <a:pt x="9158" y="956"/>
                </a:lnTo>
                <a:lnTo>
                  <a:pt x="9156" y="950"/>
                </a:lnTo>
                <a:lnTo>
                  <a:pt x="9154" y="944"/>
                </a:lnTo>
                <a:lnTo>
                  <a:pt x="9146" y="934"/>
                </a:lnTo>
                <a:lnTo>
                  <a:pt x="9140" y="926"/>
                </a:lnTo>
                <a:lnTo>
                  <a:pt x="9132" y="922"/>
                </a:lnTo>
                <a:lnTo>
                  <a:pt x="9128" y="920"/>
                </a:lnTo>
                <a:lnTo>
                  <a:pt x="9124" y="922"/>
                </a:lnTo>
                <a:lnTo>
                  <a:pt x="9122" y="928"/>
                </a:lnTo>
                <a:lnTo>
                  <a:pt x="9122" y="938"/>
                </a:lnTo>
                <a:lnTo>
                  <a:pt x="9126" y="952"/>
                </a:lnTo>
                <a:lnTo>
                  <a:pt x="9128" y="962"/>
                </a:lnTo>
                <a:lnTo>
                  <a:pt x="9128" y="970"/>
                </a:lnTo>
                <a:lnTo>
                  <a:pt x="9124" y="978"/>
                </a:lnTo>
                <a:lnTo>
                  <a:pt x="9118" y="984"/>
                </a:lnTo>
                <a:lnTo>
                  <a:pt x="9112" y="988"/>
                </a:lnTo>
                <a:lnTo>
                  <a:pt x="9104" y="992"/>
                </a:lnTo>
                <a:lnTo>
                  <a:pt x="9086" y="998"/>
                </a:lnTo>
                <a:lnTo>
                  <a:pt x="9070" y="1004"/>
                </a:lnTo>
                <a:lnTo>
                  <a:pt x="9064" y="1008"/>
                </a:lnTo>
                <a:lnTo>
                  <a:pt x="9060" y="1012"/>
                </a:lnTo>
                <a:lnTo>
                  <a:pt x="9056" y="1018"/>
                </a:lnTo>
                <a:lnTo>
                  <a:pt x="9056" y="1024"/>
                </a:lnTo>
                <a:lnTo>
                  <a:pt x="9060" y="1032"/>
                </a:lnTo>
                <a:lnTo>
                  <a:pt x="9066" y="1042"/>
                </a:lnTo>
                <a:lnTo>
                  <a:pt x="9090" y="1068"/>
                </a:lnTo>
                <a:lnTo>
                  <a:pt x="9096" y="1078"/>
                </a:lnTo>
                <a:lnTo>
                  <a:pt x="9100" y="1086"/>
                </a:lnTo>
                <a:lnTo>
                  <a:pt x="9100" y="1094"/>
                </a:lnTo>
                <a:lnTo>
                  <a:pt x="9098" y="1102"/>
                </a:lnTo>
                <a:lnTo>
                  <a:pt x="9092" y="1112"/>
                </a:lnTo>
                <a:lnTo>
                  <a:pt x="9082" y="1126"/>
                </a:lnTo>
                <a:lnTo>
                  <a:pt x="9072" y="1138"/>
                </a:lnTo>
                <a:lnTo>
                  <a:pt x="9068" y="1148"/>
                </a:lnTo>
                <a:lnTo>
                  <a:pt x="9068" y="1156"/>
                </a:lnTo>
                <a:lnTo>
                  <a:pt x="9070" y="1162"/>
                </a:lnTo>
                <a:lnTo>
                  <a:pt x="9078" y="1172"/>
                </a:lnTo>
                <a:lnTo>
                  <a:pt x="9080" y="1180"/>
                </a:lnTo>
                <a:lnTo>
                  <a:pt x="9082" y="1190"/>
                </a:lnTo>
                <a:lnTo>
                  <a:pt x="9082" y="1196"/>
                </a:lnTo>
                <a:lnTo>
                  <a:pt x="9084" y="1198"/>
                </a:lnTo>
                <a:lnTo>
                  <a:pt x="9088" y="1200"/>
                </a:lnTo>
                <a:lnTo>
                  <a:pt x="9092" y="1202"/>
                </a:lnTo>
                <a:lnTo>
                  <a:pt x="9106" y="1200"/>
                </a:lnTo>
                <a:lnTo>
                  <a:pt x="9122" y="1196"/>
                </a:lnTo>
                <a:lnTo>
                  <a:pt x="9142" y="1192"/>
                </a:lnTo>
                <a:lnTo>
                  <a:pt x="9164" y="1190"/>
                </a:lnTo>
                <a:lnTo>
                  <a:pt x="9176" y="1192"/>
                </a:lnTo>
                <a:lnTo>
                  <a:pt x="9188" y="1194"/>
                </a:lnTo>
                <a:lnTo>
                  <a:pt x="9198" y="1198"/>
                </a:lnTo>
                <a:lnTo>
                  <a:pt x="9210" y="1204"/>
                </a:lnTo>
                <a:lnTo>
                  <a:pt x="9228" y="1216"/>
                </a:lnTo>
                <a:lnTo>
                  <a:pt x="9240" y="1226"/>
                </a:lnTo>
                <a:lnTo>
                  <a:pt x="9246" y="1236"/>
                </a:lnTo>
                <a:lnTo>
                  <a:pt x="9248" y="1242"/>
                </a:lnTo>
                <a:lnTo>
                  <a:pt x="9248" y="1248"/>
                </a:lnTo>
                <a:lnTo>
                  <a:pt x="9246" y="1254"/>
                </a:lnTo>
                <a:lnTo>
                  <a:pt x="9238" y="1264"/>
                </a:lnTo>
                <a:lnTo>
                  <a:pt x="9232" y="1278"/>
                </a:lnTo>
                <a:lnTo>
                  <a:pt x="9224" y="1292"/>
                </a:lnTo>
                <a:lnTo>
                  <a:pt x="9220" y="1296"/>
                </a:lnTo>
                <a:lnTo>
                  <a:pt x="9218" y="1296"/>
                </a:lnTo>
                <a:lnTo>
                  <a:pt x="9218" y="1292"/>
                </a:lnTo>
                <a:lnTo>
                  <a:pt x="9220" y="1280"/>
                </a:lnTo>
                <a:lnTo>
                  <a:pt x="9222" y="1266"/>
                </a:lnTo>
                <a:lnTo>
                  <a:pt x="9222" y="1252"/>
                </a:lnTo>
                <a:lnTo>
                  <a:pt x="9218" y="1238"/>
                </a:lnTo>
                <a:lnTo>
                  <a:pt x="9212" y="1226"/>
                </a:lnTo>
                <a:lnTo>
                  <a:pt x="9206" y="1220"/>
                </a:lnTo>
                <a:lnTo>
                  <a:pt x="9200" y="1216"/>
                </a:lnTo>
                <a:lnTo>
                  <a:pt x="9194" y="1212"/>
                </a:lnTo>
                <a:lnTo>
                  <a:pt x="9186" y="1210"/>
                </a:lnTo>
                <a:lnTo>
                  <a:pt x="9176" y="1210"/>
                </a:lnTo>
                <a:lnTo>
                  <a:pt x="9166" y="1210"/>
                </a:lnTo>
                <a:lnTo>
                  <a:pt x="9154" y="1212"/>
                </a:lnTo>
                <a:lnTo>
                  <a:pt x="9142" y="1216"/>
                </a:lnTo>
                <a:lnTo>
                  <a:pt x="9130" y="1220"/>
                </a:lnTo>
                <a:lnTo>
                  <a:pt x="9122" y="1224"/>
                </a:lnTo>
                <a:lnTo>
                  <a:pt x="9116" y="1230"/>
                </a:lnTo>
                <a:lnTo>
                  <a:pt x="9112" y="1236"/>
                </a:lnTo>
                <a:lnTo>
                  <a:pt x="9110" y="1242"/>
                </a:lnTo>
                <a:lnTo>
                  <a:pt x="9110" y="1248"/>
                </a:lnTo>
                <a:lnTo>
                  <a:pt x="9114" y="1262"/>
                </a:lnTo>
                <a:lnTo>
                  <a:pt x="9118" y="1274"/>
                </a:lnTo>
                <a:lnTo>
                  <a:pt x="9122" y="1286"/>
                </a:lnTo>
                <a:lnTo>
                  <a:pt x="9122" y="1292"/>
                </a:lnTo>
                <a:lnTo>
                  <a:pt x="9120" y="1296"/>
                </a:lnTo>
                <a:lnTo>
                  <a:pt x="9116" y="1302"/>
                </a:lnTo>
                <a:lnTo>
                  <a:pt x="9110" y="1304"/>
                </a:lnTo>
                <a:lnTo>
                  <a:pt x="9098" y="1312"/>
                </a:lnTo>
                <a:lnTo>
                  <a:pt x="9090" y="1320"/>
                </a:lnTo>
                <a:lnTo>
                  <a:pt x="9086" y="1328"/>
                </a:lnTo>
                <a:lnTo>
                  <a:pt x="9084" y="1336"/>
                </a:lnTo>
                <a:lnTo>
                  <a:pt x="9082" y="1344"/>
                </a:lnTo>
                <a:lnTo>
                  <a:pt x="9078" y="1352"/>
                </a:lnTo>
                <a:lnTo>
                  <a:pt x="9068" y="1360"/>
                </a:lnTo>
                <a:lnTo>
                  <a:pt x="9054" y="1368"/>
                </a:lnTo>
                <a:lnTo>
                  <a:pt x="9040" y="1376"/>
                </a:lnTo>
                <a:lnTo>
                  <a:pt x="9032" y="1382"/>
                </a:lnTo>
                <a:lnTo>
                  <a:pt x="9024" y="1396"/>
                </a:lnTo>
                <a:lnTo>
                  <a:pt x="9018" y="1400"/>
                </a:lnTo>
                <a:lnTo>
                  <a:pt x="9006" y="1402"/>
                </a:lnTo>
                <a:lnTo>
                  <a:pt x="8988" y="1400"/>
                </a:lnTo>
                <a:lnTo>
                  <a:pt x="8958" y="1394"/>
                </a:lnTo>
                <a:lnTo>
                  <a:pt x="8932" y="1390"/>
                </a:lnTo>
                <a:lnTo>
                  <a:pt x="8924" y="1386"/>
                </a:lnTo>
                <a:lnTo>
                  <a:pt x="8924" y="1384"/>
                </a:lnTo>
                <a:lnTo>
                  <a:pt x="8928" y="1384"/>
                </a:lnTo>
                <a:lnTo>
                  <a:pt x="8942" y="1380"/>
                </a:lnTo>
                <a:lnTo>
                  <a:pt x="8960" y="1374"/>
                </a:lnTo>
                <a:lnTo>
                  <a:pt x="8982" y="1368"/>
                </a:lnTo>
                <a:lnTo>
                  <a:pt x="8992" y="1362"/>
                </a:lnTo>
                <a:lnTo>
                  <a:pt x="9002" y="1356"/>
                </a:lnTo>
                <a:lnTo>
                  <a:pt x="9010" y="1348"/>
                </a:lnTo>
                <a:lnTo>
                  <a:pt x="9016" y="1338"/>
                </a:lnTo>
                <a:lnTo>
                  <a:pt x="9026" y="1322"/>
                </a:lnTo>
                <a:lnTo>
                  <a:pt x="9034" y="1312"/>
                </a:lnTo>
                <a:lnTo>
                  <a:pt x="9042" y="1306"/>
                </a:lnTo>
                <a:lnTo>
                  <a:pt x="9048" y="1302"/>
                </a:lnTo>
                <a:lnTo>
                  <a:pt x="9054" y="1300"/>
                </a:lnTo>
                <a:lnTo>
                  <a:pt x="9058" y="1294"/>
                </a:lnTo>
                <a:lnTo>
                  <a:pt x="9062" y="1286"/>
                </a:lnTo>
                <a:lnTo>
                  <a:pt x="9066" y="1272"/>
                </a:lnTo>
                <a:lnTo>
                  <a:pt x="9066" y="1256"/>
                </a:lnTo>
                <a:lnTo>
                  <a:pt x="9062" y="1244"/>
                </a:lnTo>
                <a:lnTo>
                  <a:pt x="9056" y="1234"/>
                </a:lnTo>
                <a:lnTo>
                  <a:pt x="9048" y="1224"/>
                </a:lnTo>
                <a:lnTo>
                  <a:pt x="9040" y="1214"/>
                </a:lnTo>
                <a:lnTo>
                  <a:pt x="9034" y="1202"/>
                </a:lnTo>
                <a:lnTo>
                  <a:pt x="9030" y="1186"/>
                </a:lnTo>
                <a:lnTo>
                  <a:pt x="9032" y="1166"/>
                </a:lnTo>
                <a:lnTo>
                  <a:pt x="9038" y="1126"/>
                </a:lnTo>
                <a:lnTo>
                  <a:pt x="9040" y="1110"/>
                </a:lnTo>
                <a:lnTo>
                  <a:pt x="9042" y="1094"/>
                </a:lnTo>
                <a:lnTo>
                  <a:pt x="9040" y="1080"/>
                </a:lnTo>
                <a:lnTo>
                  <a:pt x="9036" y="1068"/>
                </a:lnTo>
                <a:lnTo>
                  <a:pt x="9028" y="1056"/>
                </a:lnTo>
                <a:lnTo>
                  <a:pt x="9014" y="1042"/>
                </a:lnTo>
                <a:lnTo>
                  <a:pt x="9004" y="1032"/>
                </a:lnTo>
                <a:lnTo>
                  <a:pt x="9002" y="1028"/>
                </a:lnTo>
                <a:lnTo>
                  <a:pt x="9002" y="1024"/>
                </a:lnTo>
                <a:lnTo>
                  <a:pt x="9002" y="1020"/>
                </a:lnTo>
                <a:lnTo>
                  <a:pt x="9006" y="1018"/>
                </a:lnTo>
                <a:lnTo>
                  <a:pt x="9014" y="1012"/>
                </a:lnTo>
                <a:lnTo>
                  <a:pt x="9024" y="1004"/>
                </a:lnTo>
                <a:lnTo>
                  <a:pt x="9034" y="994"/>
                </a:lnTo>
                <a:lnTo>
                  <a:pt x="9038" y="988"/>
                </a:lnTo>
                <a:lnTo>
                  <a:pt x="9042" y="982"/>
                </a:lnTo>
                <a:lnTo>
                  <a:pt x="9044" y="974"/>
                </a:lnTo>
                <a:lnTo>
                  <a:pt x="9044" y="964"/>
                </a:lnTo>
                <a:lnTo>
                  <a:pt x="9044" y="952"/>
                </a:lnTo>
                <a:lnTo>
                  <a:pt x="9040" y="944"/>
                </a:lnTo>
                <a:lnTo>
                  <a:pt x="9036" y="936"/>
                </a:lnTo>
                <a:lnTo>
                  <a:pt x="9030" y="932"/>
                </a:lnTo>
                <a:lnTo>
                  <a:pt x="9022" y="928"/>
                </a:lnTo>
                <a:lnTo>
                  <a:pt x="9014" y="924"/>
                </a:lnTo>
                <a:lnTo>
                  <a:pt x="8994" y="922"/>
                </a:lnTo>
                <a:lnTo>
                  <a:pt x="8974" y="922"/>
                </a:lnTo>
                <a:lnTo>
                  <a:pt x="8952" y="922"/>
                </a:lnTo>
                <a:lnTo>
                  <a:pt x="8932" y="924"/>
                </a:lnTo>
                <a:lnTo>
                  <a:pt x="8916" y="922"/>
                </a:lnTo>
                <a:lnTo>
                  <a:pt x="8908" y="920"/>
                </a:lnTo>
                <a:lnTo>
                  <a:pt x="8900" y="922"/>
                </a:lnTo>
                <a:lnTo>
                  <a:pt x="8896" y="926"/>
                </a:lnTo>
                <a:lnTo>
                  <a:pt x="8890" y="932"/>
                </a:lnTo>
                <a:lnTo>
                  <a:pt x="8882" y="946"/>
                </a:lnTo>
                <a:lnTo>
                  <a:pt x="8876" y="966"/>
                </a:lnTo>
                <a:lnTo>
                  <a:pt x="8868" y="986"/>
                </a:lnTo>
                <a:lnTo>
                  <a:pt x="8860" y="1006"/>
                </a:lnTo>
                <a:lnTo>
                  <a:pt x="8854" y="1016"/>
                </a:lnTo>
                <a:lnTo>
                  <a:pt x="8846" y="1024"/>
                </a:lnTo>
                <a:lnTo>
                  <a:pt x="8838" y="1030"/>
                </a:lnTo>
                <a:lnTo>
                  <a:pt x="8826" y="1036"/>
                </a:lnTo>
                <a:lnTo>
                  <a:pt x="8804" y="1048"/>
                </a:lnTo>
                <a:lnTo>
                  <a:pt x="8798" y="1052"/>
                </a:lnTo>
                <a:lnTo>
                  <a:pt x="8794" y="1058"/>
                </a:lnTo>
                <a:lnTo>
                  <a:pt x="8792" y="1062"/>
                </a:lnTo>
                <a:lnTo>
                  <a:pt x="8794" y="1066"/>
                </a:lnTo>
                <a:lnTo>
                  <a:pt x="8800" y="1074"/>
                </a:lnTo>
                <a:lnTo>
                  <a:pt x="8808" y="1082"/>
                </a:lnTo>
                <a:lnTo>
                  <a:pt x="8812" y="1088"/>
                </a:lnTo>
                <a:lnTo>
                  <a:pt x="8814" y="1094"/>
                </a:lnTo>
                <a:lnTo>
                  <a:pt x="8816" y="1102"/>
                </a:lnTo>
                <a:lnTo>
                  <a:pt x="8814" y="1108"/>
                </a:lnTo>
                <a:lnTo>
                  <a:pt x="8812" y="1118"/>
                </a:lnTo>
                <a:lnTo>
                  <a:pt x="8806" y="1128"/>
                </a:lnTo>
                <a:lnTo>
                  <a:pt x="8800" y="1138"/>
                </a:lnTo>
                <a:lnTo>
                  <a:pt x="8798" y="1146"/>
                </a:lnTo>
                <a:lnTo>
                  <a:pt x="8800" y="1154"/>
                </a:lnTo>
                <a:lnTo>
                  <a:pt x="8804" y="1162"/>
                </a:lnTo>
                <a:lnTo>
                  <a:pt x="8812" y="1168"/>
                </a:lnTo>
                <a:lnTo>
                  <a:pt x="8820" y="1174"/>
                </a:lnTo>
                <a:lnTo>
                  <a:pt x="8842" y="1184"/>
                </a:lnTo>
                <a:lnTo>
                  <a:pt x="8862" y="1196"/>
                </a:lnTo>
                <a:lnTo>
                  <a:pt x="8872" y="1200"/>
                </a:lnTo>
                <a:lnTo>
                  <a:pt x="8878" y="1208"/>
                </a:lnTo>
                <a:lnTo>
                  <a:pt x="8884" y="1214"/>
                </a:lnTo>
                <a:lnTo>
                  <a:pt x="8886" y="1220"/>
                </a:lnTo>
                <a:lnTo>
                  <a:pt x="8886" y="1230"/>
                </a:lnTo>
                <a:lnTo>
                  <a:pt x="8880" y="1238"/>
                </a:lnTo>
                <a:lnTo>
                  <a:pt x="8870" y="1254"/>
                </a:lnTo>
                <a:lnTo>
                  <a:pt x="8866" y="1258"/>
                </a:lnTo>
                <a:lnTo>
                  <a:pt x="8862" y="1260"/>
                </a:lnTo>
                <a:lnTo>
                  <a:pt x="8858" y="1260"/>
                </a:lnTo>
                <a:lnTo>
                  <a:pt x="8854" y="1258"/>
                </a:lnTo>
                <a:lnTo>
                  <a:pt x="8844" y="1252"/>
                </a:lnTo>
                <a:lnTo>
                  <a:pt x="8830" y="1240"/>
                </a:lnTo>
                <a:lnTo>
                  <a:pt x="8806" y="1224"/>
                </a:lnTo>
                <a:lnTo>
                  <a:pt x="8772" y="1204"/>
                </a:lnTo>
                <a:lnTo>
                  <a:pt x="8752" y="1194"/>
                </a:lnTo>
                <a:lnTo>
                  <a:pt x="8726" y="1184"/>
                </a:lnTo>
                <a:lnTo>
                  <a:pt x="8698" y="1174"/>
                </a:lnTo>
                <a:lnTo>
                  <a:pt x="8674" y="1166"/>
                </a:lnTo>
                <a:lnTo>
                  <a:pt x="8652" y="1160"/>
                </a:lnTo>
                <a:lnTo>
                  <a:pt x="8630" y="1156"/>
                </a:lnTo>
                <a:lnTo>
                  <a:pt x="8612" y="1152"/>
                </a:lnTo>
                <a:lnTo>
                  <a:pt x="8594" y="1152"/>
                </a:lnTo>
                <a:lnTo>
                  <a:pt x="8580" y="1152"/>
                </a:lnTo>
                <a:lnTo>
                  <a:pt x="8568" y="1152"/>
                </a:lnTo>
                <a:lnTo>
                  <a:pt x="8556" y="1156"/>
                </a:lnTo>
                <a:lnTo>
                  <a:pt x="8548" y="1158"/>
                </a:lnTo>
                <a:lnTo>
                  <a:pt x="8542" y="1162"/>
                </a:lnTo>
                <a:lnTo>
                  <a:pt x="8540" y="1168"/>
                </a:lnTo>
                <a:lnTo>
                  <a:pt x="8538" y="1174"/>
                </a:lnTo>
                <a:lnTo>
                  <a:pt x="8538" y="1180"/>
                </a:lnTo>
                <a:lnTo>
                  <a:pt x="8542" y="1186"/>
                </a:lnTo>
                <a:lnTo>
                  <a:pt x="8548" y="1194"/>
                </a:lnTo>
                <a:lnTo>
                  <a:pt x="8552" y="1198"/>
                </a:lnTo>
                <a:lnTo>
                  <a:pt x="8552" y="1204"/>
                </a:lnTo>
                <a:lnTo>
                  <a:pt x="8552" y="1210"/>
                </a:lnTo>
                <a:lnTo>
                  <a:pt x="8550" y="1216"/>
                </a:lnTo>
                <a:lnTo>
                  <a:pt x="8542" y="1228"/>
                </a:lnTo>
                <a:lnTo>
                  <a:pt x="8530" y="1238"/>
                </a:lnTo>
                <a:lnTo>
                  <a:pt x="8518" y="1244"/>
                </a:lnTo>
                <a:lnTo>
                  <a:pt x="8512" y="1246"/>
                </a:lnTo>
                <a:lnTo>
                  <a:pt x="8506" y="1246"/>
                </a:lnTo>
                <a:lnTo>
                  <a:pt x="8500" y="1244"/>
                </a:lnTo>
                <a:lnTo>
                  <a:pt x="8496" y="1242"/>
                </a:lnTo>
                <a:lnTo>
                  <a:pt x="8494" y="1236"/>
                </a:lnTo>
                <a:lnTo>
                  <a:pt x="8494" y="1230"/>
                </a:lnTo>
                <a:lnTo>
                  <a:pt x="8492" y="1216"/>
                </a:lnTo>
                <a:lnTo>
                  <a:pt x="8490" y="1208"/>
                </a:lnTo>
                <a:lnTo>
                  <a:pt x="8486" y="1206"/>
                </a:lnTo>
                <a:lnTo>
                  <a:pt x="8478" y="1206"/>
                </a:lnTo>
                <a:lnTo>
                  <a:pt x="8470" y="1208"/>
                </a:lnTo>
                <a:lnTo>
                  <a:pt x="8458" y="1214"/>
                </a:lnTo>
                <a:lnTo>
                  <a:pt x="8430" y="1234"/>
                </a:lnTo>
                <a:lnTo>
                  <a:pt x="8416" y="1242"/>
                </a:lnTo>
                <a:lnTo>
                  <a:pt x="8410" y="1242"/>
                </a:lnTo>
                <a:lnTo>
                  <a:pt x="8404" y="1242"/>
                </a:lnTo>
                <a:lnTo>
                  <a:pt x="8394" y="1240"/>
                </a:lnTo>
                <a:lnTo>
                  <a:pt x="8386" y="1236"/>
                </a:lnTo>
                <a:lnTo>
                  <a:pt x="8378" y="1232"/>
                </a:lnTo>
                <a:lnTo>
                  <a:pt x="8366" y="1230"/>
                </a:lnTo>
                <a:lnTo>
                  <a:pt x="8358" y="1232"/>
                </a:lnTo>
                <a:lnTo>
                  <a:pt x="8350" y="1234"/>
                </a:lnTo>
                <a:lnTo>
                  <a:pt x="8330" y="1246"/>
                </a:lnTo>
                <a:lnTo>
                  <a:pt x="8308" y="1256"/>
                </a:lnTo>
                <a:lnTo>
                  <a:pt x="8300" y="1258"/>
                </a:lnTo>
                <a:lnTo>
                  <a:pt x="8294" y="1260"/>
                </a:lnTo>
                <a:lnTo>
                  <a:pt x="8288" y="1260"/>
                </a:lnTo>
                <a:lnTo>
                  <a:pt x="8284" y="1258"/>
                </a:lnTo>
                <a:lnTo>
                  <a:pt x="8280" y="1254"/>
                </a:lnTo>
                <a:lnTo>
                  <a:pt x="8278" y="1250"/>
                </a:lnTo>
                <a:lnTo>
                  <a:pt x="8278" y="1240"/>
                </a:lnTo>
                <a:lnTo>
                  <a:pt x="8280" y="1230"/>
                </a:lnTo>
                <a:lnTo>
                  <a:pt x="8286" y="1220"/>
                </a:lnTo>
                <a:lnTo>
                  <a:pt x="8294" y="1212"/>
                </a:lnTo>
                <a:lnTo>
                  <a:pt x="8300" y="1206"/>
                </a:lnTo>
                <a:lnTo>
                  <a:pt x="8300" y="1204"/>
                </a:lnTo>
                <a:lnTo>
                  <a:pt x="8298" y="1204"/>
                </a:lnTo>
                <a:lnTo>
                  <a:pt x="8290" y="1204"/>
                </a:lnTo>
                <a:lnTo>
                  <a:pt x="8276" y="1206"/>
                </a:lnTo>
                <a:lnTo>
                  <a:pt x="8256" y="1214"/>
                </a:lnTo>
                <a:lnTo>
                  <a:pt x="8230" y="1224"/>
                </a:lnTo>
                <a:lnTo>
                  <a:pt x="8200" y="1236"/>
                </a:lnTo>
                <a:lnTo>
                  <a:pt x="8164" y="1254"/>
                </a:lnTo>
                <a:lnTo>
                  <a:pt x="8130" y="1270"/>
                </a:lnTo>
                <a:lnTo>
                  <a:pt x="8104" y="1278"/>
                </a:lnTo>
                <a:lnTo>
                  <a:pt x="8084" y="1282"/>
                </a:lnTo>
                <a:lnTo>
                  <a:pt x="8068" y="1286"/>
                </a:lnTo>
                <a:lnTo>
                  <a:pt x="8056" y="1288"/>
                </a:lnTo>
                <a:lnTo>
                  <a:pt x="8048" y="1294"/>
                </a:lnTo>
                <a:lnTo>
                  <a:pt x="8040" y="1304"/>
                </a:lnTo>
                <a:lnTo>
                  <a:pt x="8034" y="1322"/>
                </a:lnTo>
                <a:lnTo>
                  <a:pt x="8026" y="1342"/>
                </a:lnTo>
                <a:lnTo>
                  <a:pt x="8020" y="1352"/>
                </a:lnTo>
                <a:lnTo>
                  <a:pt x="8016" y="1356"/>
                </a:lnTo>
                <a:lnTo>
                  <a:pt x="8010" y="1358"/>
                </a:lnTo>
                <a:lnTo>
                  <a:pt x="7996" y="1354"/>
                </a:lnTo>
                <a:lnTo>
                  <a:pt x="7986" y="1356"/>
                </a:lnTo>
                <a:lnTo>
                  <a:pt x="7976" y="1360"/>
                </a:lnTo>
                <a:lnTo>
                  <a:pt x="7966" y="1364"/>
                </a:lnTo>
                <a:lnTo>
                  <a:pt x="7960" y="1364"/>
                </a:lnTo>
                <a:lnTo>
                  <a:pt x="7956" y="1362"/>
                </a:lnTo>
                <a:lnTo>
                  <a:pt x="7954" y="1358"/>
                </a:lnTo>
                <a:lnTo>
                  <a:pt x="7952" y="1352"/>
                </a:lnTo>
                <a:lnTo>
                  <a:pt x="7948" y="1344"/>
                </a:lnTo>
                <a:lnTo>
                  <a:pt x="7942" y="1338"/>
                </a:lnTo>
                <a:lnTo>
                  <a:pt x="7930" y="1330"/>
                </a:lnTo>
                <a:lnTo>
                  <a:pt x="7920" y="1324"/>
                </a:lnTo>
                <a:lnTo>
                  <a:pt x="7918" y="1322"/>
                </a:lnTo>
                <a:lnTo>
                  <a:pt x="7918" y="1318"/>
                </a:lnTo>
                <a:lnTo>
                  <a:pt x="7918" y="1314"/>
                </a:lnTo>
                <a:lnTo>
                  <a:pt x="7920" y="1312"/>
                </a:lnTo>
                <a:lnTo>
                  <a:pt x="7926" y="1304"/>
                </a:lnTo>
                <a:lnTo>
                  <a:pt x="7934" y="1300"/>
                </a:lnTo>
                <a:lnTo>
                  <a:pt x="7946" y="1296"/>
                </a:lnTo>
                <a:lnTo>
                  <a:pt x="7958" y="1292"/>
                </a:lnTo>
                <a:lnTo>
                  <a:pt x="7970" y="1292"/>
                </a:lnTo>
                <a:lnTo>
                  <a:pt x="7976" y="1290"/>
                </a:lnTo>
                <a:lnTo>
                  <a:pt x="7980" y="1288"/>
                </a:lnTo>
                <a:lnTo>
                  <a:pt x="7982" y="1286"/>
                </a:lnTo>
                <a:lnTo>
                  <a:pt x="7984" y="1282"/>
                </a:lnTo>
                <a:lnTo>
                  <a:pt x="7982" y="1274"/>
                </a:lnTo>
                <a:lnTo>
                  <a:pt x="7978" y="1264"/>
                </a:lnTo>
                <a:lnTo>
                  <a:pt x="7968" y="1254"/>
                </a:lnTo>
                <a:lnTo>
                  <a:pt x="7956" y="1246"/>
                </a:lnTo>
                <a:lnTo>
                  <a:pt x="7942" y="1240"/>
                </a:lnTo>
                <a:lnTo>
                  <a:pt x="7934" y="1238"/>
                </a:lnTo>
                <a:lnTo>
                  <a:pt x="7926" y="1238"/>
                </a:lnTo>
                <a:lnTo>
                  <a:pt x="7910" y="1238"/>
                </a:lnTo>
                <a:lnTo>
                  <a:pt x="7892" y="1236"/>
                </a:lnTo>
                <a:lnTo>
                  <a:pt x="7866" y="1230"/>
                </a:lnTo>
                <a:lnTo>
                  <a:pt x="7858" y="1230"/>
                </a:lnTo>
                <a:lnTo>
                  <a:pt x="7856" y="1230"/>
                </a:lnTo>
                <a:lnTo>
                  <a:pt x="7860" y="1236"/>
                </a:lnTo>
                <a:lnTo>
                  <a:pt x="7870" y="1246"/>
                </a:lnTo>
                <a:lnTo>
                  <a:pt x="7876" y="1252"/>
                </a:lnTo>
                <a:lnTo>
                  <a:pt x="7880" y="1258"/>
                </a:lnTo>
                <a:lnTo>
                  <a:pt x="7882" y="1264"/>
                </a:lnTo>
                <a:lnTo>
                  <a:pt x="7884" y="1270"/>
                </a:lnTo>
                <a:lnTo>
                  <a:pt x="7882" y="1284"/>
                </a:lnTo>
                <a:lnTo>
                  <a:pt x="7876" y="1296"/>
                </a:lnTo>
                <a:lnTo>
                  <a:pt x="7872" y="1306"/>
                </a:lnTo>
                <a:lnTo>
                  <a:pt x="7870" y="1318"/>
                </a:lnTo>
                <a:lnTo>
                  <a:pt x="7870" y="1324"/>
                </a:lnTo>
                <a:lnTo>
                  <a:pt x="7874" y="1328"/>
                </a:lnTo>
                <a:lnTo>
                  <a:pt x="7878" y="1334"/>
                </a:lnTo>
                <a:lnTo>
                  <a:pt x="7884" y="1340"/>
                </a:lnTo>
                <a:lnTo>
                  <a:pt x="7896" y="1348"/>
                </a:lnTo>
                <a:lnTo>
                  <a:pt x="7900" y="1352"/>
                </a:lnTo>
                <a:lnTo>
                  <a:pt x="7902" y="1356"/>
                </a:lnTo>
                <a:lnTo>
                  <a:pt x="7902" y="1364"/>
                </a:lnTo>
                <a:lnTo>
                  <a:pt x="7898" y="1372"/>
                </a:lnTo>
                <a:lnTo>
                  <a:pt x="7892" y="1380"/>
                </a:lnTo>
                <a:lnTo>
                  <a:pt x="7888" y="1390"/>
                </a:lnTo>
                <a:lnTo>
                  <a:pt x="7884" y="1400"/>
                </a:lnTo>
                <a:lnTo>
                  <a:pt x="7886" y="1414"/>
                </a:lnTo>
                <a:lnTo>
                  <a:pt x="7886" y="1424"/>
                </a:lnTo>
                <a:lnTo>
                  <a:pt x="7884" y="1422"/>
                </a:lnTo>
                <a:lnTo>
                  <a:pt x="7876" y="1414"/>
                </a:lnTo>
                <a:lnTo>
                  <a:pt x="7864" y="1402"/>
                </a:lnTo>
                <a:lnTo>
                  <a:pt x="7850" y="1390"/>
                </a:lnTo>
                <a:lnTo>
                  <a:pt x="7842" y="1386"/>
                </a:lnTo>
                <a:lnTo>
                  <a:pt x="7832" y="1382"/>
                </a:lnTo>
                <a:lnTo>
                  <a:pt x="7822" y="1382"/>
                </a:lnTo>
                <a:lnTo>
                  <a:pt x="7810" y="1382"/>
                </a:lnTo>
                <a:lnTo>
                  <a:pt x="7798" y="1386"/>
                </a:lnTo>
                <a:lnTo>
                  <a:pt x="7786" y="1394"/>
                </a:lnTo>
                <a:lnTo>
                  <a:pt x="7762" y="1410"/>
                </a:lnTo>
                <a:lnTo>
                  <a:pt x="7740" y="1422"/>
                </a:lnTo>
                <a:lnTo>
                  <a:pt x="7724" y="1432"/>
                </a:lnTo>
                <a:lnTo>
                  <a:pt x="7712" y="1440"/>
                </a:lnTo>
                <a:lnTo>
                  <a:pt x="7706" y="1448"/>
                </a:lnTo>
                <a:lnTo>
                  <a:pt x="7706" y="1452"/>
                </a:lnTo>
                <a:lnTo>
                  <a:pt x="7706" y="1456"/>
                </a:lnTo>
                <a:lnTo>
                  <a:pt x="7712" y="1468"/>
                </a:lnTo>
                <a:lnTo>
                  <a:pt x="7724" y="1482"/>
                </a:lnTo>
                <a:lnTo>
                  <a:pt x="7736" y="1498"/>
                </a:lnTo>
                <a:lnTo>
                  <a:pt x="7738" y="1504"/>
                </a:lnTo>
                <a:lnTo>
                  <a:pt x="7740" y="1508"/>
                </a:lnTo>
                <a:lnTo>
                  <a:pt x="7738" y="1512"/>
                </a:lnTo>
                <a:lnTo>
                  <a:pt x="7736" y="1516"/>
                </a:lnTo>
                <a:lnTo>
                  <a:pt x="7732" y="1518"/>
                </a:lnTo>
                <a:lnTo>
                  <a:pt x="7726" y="1520"/>
                </a:lnTo>
                <a:lnTo>
                  <a:pt x="7710" y="1520"/>
                </a:lnTo>
                <a:lnTo>
                  <a:pt x="7690" y="1516"/>
                </a:lnTo>
                <a:lnTo>
                  <a:pt x="7668" y="1508"/>
                </a:lnTo>
                <a:lnTo>
                  <a:pt x="7642" y="1496"/>
                </a:lnTo>
                <a:lnTo>
                  <a:pt x="7618" y="1486"/>
                </a:lnTo>
                <a:lnTo>
                  <a:pt x="7600" y="1482"/>
                </a:lnTo>
                <a:lnTo>
                  <a:pt x="7586" y="1480"/>
                </a:lnTo>
                <a:lnTo>
                  <a:pt x="7576" y="1482"/>
                </a:lnTo>
                <a:lnTo>
                  <a:pt x="7574" y="1484"/>
                </a:lnTo>
                <a:lnTo>
                  <a:pt x="7572" y="1486"/>
                </a:lnTo>
                <a:lnTo>
                  <a:pt x="7572" y="1494"/>
                </a:lnTo>
                <a:lnTo>
                  <a:pt x="7576" y="1504"/>
                </a:lnTo>
                <a:lnTo>
                  <a:pt x="7584" y="1514"/>
                </a:lnTo>
                <a:lnTo>
                  <a:pt x="7596" y="1524"/>
                </a:lnTo>
                <a:lnTo>
                  <a:pt x="7610" y="1530"/>
                </a:lnTo>
                <a:lnTo>
                  <a:pt x="7632" y="1540"/>
                </a:lnTo>
                <a:lnTo>
                  <a:pt x="7638" y="1544"/>
                </a:lnTo>
                <a:lnTo>
                  <a:pt x="7640" y="1546"/>
                </a:lnTo>
                <a:lnTo>
                  <a:pt x="7640" y="1548"/>
                </a:lnTo>
                <a:lnTo>
                  <a:pt x="7636" y="1554"/>
                </a:lnTo>
                <a:lnTo>
                  <a:pt x="7624" y="1562"/>
                </a:lnTo>
                <a:lnTo>
                  <a:pt x="7610" y="1568"/>
                </a:lnTo>
                <a:lnTo>
                  <a:pt x="7604" y="1570"/>
                </a:lnTo>
                <a:lnTo>
                  <a:pt x="7600" y="1568"/>
                </a:lnTo>
                <a:lnTo>
                  <a:pt x="7592" y="1564"/>
                </a:lnTo>
                <a:lnTo>
                  <a:pt x="7586" y="1558"/>
                </a:lnTo>
                <a:lnTo>
                  <a:pt x="7580" y="1550"/>
                </a:lnTo>
                <a:lnTo>
                  <a:pt x="7570" y="1540"/>
                </a:lnTo>
                <a:lnTo>
                  <a:pt x="7560" y="1532"/>
                </a:lnTo>
                <a:lnTo>
                  <a:pt x="7552" y="1530"/>
                </a:lnTo>
                <a:lnTo>
                  <a:pt x="7544" y="1528"/>
                </a:lnTo>
                <a:lnTo>
                  <a:pt x="7528" y="1524"/>
                </a:lnTo>
                <a:lnTo>
                  <a:pt x="7520" y="1518"/>
                </a:lnTo>
                <a:lnTo>
                  <a:pt x="7516" y="1512"/>
                </a:lnTo>
                <a:lnTo>
                  <a:pt x="7516" y="1506"/>
                </a:lnTo>
                <a:lnTo>
                  <a:pt x="7516" y="1498"/>
                </a:lnTo>
                <a:lnTo>
                  <a:pt x="7514" y="1490"/>
                </a:lnTo>
                <a:lnTo>
                  <a:pt x="7512" y="1482"/>
                </a:lnTo>
                <a:lnTo>
                  <a:pt x="7504" y="1474"/>
                </a:lnTo>
                <a:lnTo>
                  <a:pt x="7498" y="1468"/>
                </a:lnTo>
                <a:lnTo>
                  <a:pt x="7496" y="1464"/>
                </a:lnTo>
                <a:lnTo>
                  <a:pt x="7496" y="1460"/>
                </a:lnTo>
                <a:lnTo>
                  <a:pt x="7496" y="1458"/>
                </a:lnTo>
                <a:lnTo>
                  <a:pt x="7500" y="1452"/>
                </a:lnTo>
                <a:lnTo>
                  <a:pt x="7506" y="1446"/>
                </a:lnTo>
                <a:lnTo>
                  <a:pt x="7512" y="1438"/>
                </a:lnTo>
                <a:lnTo>
                  <a:pt x="7514" y="1432"/>
                </a:lnTo>
                <a:lnTo>
                  <a:pt x="7512" y="1428"/>
                </a:lnTo>
                <a:lnTo>
                  <a:pt x="7510" y="1424"/>
                </a:lnTo>
                <a:lnTo>
                  <a:pt x="7506" y="1418"/>
                </a:lnTo>
                <a:lnTo>
                  <a:pt x="7500" y="1412"/>
                </a:lnTo>
                <a:lnTo>
                  <a:pt x="7484" y="1402"/>
                </a:lnTo>
                <a:lnTo>
                  <a:pt x="7470" y="1394"/>
                </a:lnTo>
                <a:lnTo>
                  <a:pt x="7442" y="1378"/>
                </a:lnTo>
                <a:lnTo>
                  <a:pt x="7432" y="1370"/>
                </a:lnTo>
                <a:lnTo>
                  <a:pt x="7422" y="1364"/>
                </a:lnTo>
                <a:lnTo>
                  <a:pt x="7416" y="1354"/>
                </a:lnTo>
                <a:lnTo>
                  <a:pt x="7412" y="1344"/>
                </a:lnTo>
                <a:lnTo>
                  <a:pt x="7410" y="1336"/>
                </a:lnTo>
                <a:lnTo>
                  <a:pt x="7410" y="1334"/>
                </a:lnTo>
                <a:lnTo>
                  <a:pt x="7420" y="1344"/>
                </a:lnTo>
                <a:lnTo>
                  <a:pt x="7430" y="1352"/>
                </a:lnTo>
                <a:lnTo>
                  <a:pt x="7446" y="1362"/>
                </a:lnTo>
                <a:lnTo>
                  <a:pt x="7466" y="1370"/>
                </a:lnTo>
                <a:lnTo>
                  <a:pt x="7492" y="1376"/>
                </a:lnTo>
                <a:lnTo>
                  <a:pt x="7520" y="1382"/>
                </a:lnTo>
                <a:lnTo>
                  <a:pt x="7548" y="1390"/>
                </a:lnTo>
                <a:lnTo>
                  <a:pt x="7606" y="1408"/>
                </a:lnTo>
                <a:lnTo>
                  <a:pt x="7632" y="1414"/>
                </a:lnTo>
                <a:lnTo>
                  <a:pt x="7646" y="1416"/>
                </a:lnTo>
                <a:lnTo>
                  <a:pt x="7660" y="1416"/>
                </a:lnTo>
                <a:lnTo>
                  <a:pt x="7674" y="1416"/>
                </a:lnTo>
                <a:lnTo>
                  <a:pt x="7686" y="1414"/>
                </a:lnTo>
                <a:lnTo>
                  <a:pt x="7700" y="1408"/>
                </a:lnTo>
                <a:lnTo>
                  <a:pt x="7714" y="1402"/>
                </a:lnTo>
                <a:lnTo>
                  <a:pt x="7738" y="1388"/>
                </a:lnTo>
                <a:lnTo>
                  <a:pt x="7756" y="1374"/>
                </a:lnTo>
                <a:lnTo>
                  <a:pt x="7770" y="1360"/>
                </a:lnTo>
                <a:lnTo>
                  <a:pt x="7774" y="1354"/>
                </a:lnTo>
                <a:lnTo>
                  <a:pt x="7776" y="1346"/>
                </a:lnTo>
                <a:lnTo>
                  <a:pt x="7778" y="1340"/>
                </a:lnTo>
                <a:lnTo>
                  <a:pt x="7778" y="1334"/>
                </a:lnTo>
                <a:lnTo>
                  <a:pt x="7774" y="1326"/>
                </a:lnTo>
                <a:lnTo>
                  <a:pt x="7770" y="1320"/>
                </a:lnTo>
                <a:lnTo>
                  <a:pt x="7764" y="1312"/>
                </a:lnTo>
                <a:lnTo>
                  <a:pt x="7756" y="1304"/>
                </a:lnTo>
                <a:lnTo>
                  <a:pt x="7734" y="1288"/>
                </a:lnTo>
                <a:lnTo>
                  <a:pt x="7694" y="1264"/>
                </a:lnTo>
                <a:lnTo>
                  <a:pt x="7666" y="1252"/>
                </a:lnTo>
                <a:lnTo>
                  <a:pt x="7638" y="1238"/>
                </a:lnTo>
                <a:lnTo>
                  <a:pt x="7594" y="1212"/>
                </a:lnTo>
                <a:lnTo>
                  <a:pt x="7570" y="1198"/>
                </a:lnTo>
                <a:lnTo>
                  <a:pt x="7552" y="1190"/>
                </a:lnTo>
                <a:lnTo>
                  <a:pt x="7538" y="1188"/>
                </a:lnTo>
                <a:lnTo>
                  <a:pt x="7528" y="1188"/>
                </a:lnTo>
                <a:lnTo>
                  <a:pt x="7518" y="1190"/>
                </a:lnTo>
                <a:lnTo>
                  <a:pt x="7508" y="1190"/>
                </a:lnTo>
                <a:lnTo>
                  <a:pt x="7492" y="1188"/>
                </a:lnTo>
                <a:lnTo>
                  <a:pt x="7472" y="1182"/>
                </a:lnTo>
                <a:lnTo>
                  <a:pt x="7452" y="1176"/>
                </a:lnTo>
                <a:lnTo>
                  <a:pt x="7442" y="1170"/>
                </a:lnTo>
                <a:lnTo>
                  <a:pt x="7440" y="1166"/>
                </a:lnTo>
                <a:lnTo>
                  <a:pt x="7440" y="1164"/>
                </a:lnTo>
                <a:lnTo>
                  <a:pt x="7442" y="1160"/>
                </a:lnTo>
                <a:lnTo>
                  <a:pt x="7442" y="1156"/>
                </a:lnTo>
                <a:lnTo>
                  <a:pt x="7436" y="1152"/>
                </a:lnTo>
                <a:lnTo>
                  <a:pt x="7424" y="1146"/>
                </a:lnTo>
                <a:lnTo>
                  <a:pt x="7410" y="1140"/>
                </a:lnTo>
                <a:lnTo>
                  <a:pt x="7402" y="1140"/>
                </a:lnTo>
                <a:lnTo>
                  <a:pt x="7398" y="1144"/>
                </a:lnTo>
                <a:lnTo>
                  <a:pt x="7394" y="1148"/>
                </a:lnTo>
                <a:lnTo>
                  <a:pt x="7390" y="1152"/>
                </a:lnTo>
                <a:lnTo>
                  <a:pt x="7384" y="1156"/>
                </a:lnTo>
                <a:lnTo>
                  <a:pt x="7370" y="1156"/>
                </a:lnTo>
                <a:lnTo>
                  <a:pt x="7350" y="1150"/>
                </a:lnTo>
                <a:lnTo>
                  <a:pt x="7342" y="1150"/>
                </a:lnTo>
                <a:lnTo>
                  <a:pt x="7336" y="1150"/>
                </a:lnTo>
                <a:lnTo>
                  <a:pt x="7332" y="1148"/>
                </a:lnTo>
                <a:lnTo>
                  <a:pt x="7328" y="1146"/>
                </a:lnTo>
                <a:lnTo>
                  <a:pt x="7326" y="1144"/>
                </a:lnTo>
                <a:lnTo>
                  <a:pt x="7322" y="1148"/>
                </a:lnTo>
                <a:lnTo>
                  <a:pt x="7320" y="1152"/>
                </a:lnTo>
                <a:lnTo>
                  <a:pt x="7314" y="1154"/>
                </a:lnTo>
                <a:lnTo>
                  <a:pt x="7304" y="1156"/>
                </a:lnTo>
                <a:lnTo>
                  <a:pt x="7302" y="1154"/>
                </a:lnTo>
                <a:lnTo>
                  <a:pt x="7304" y="1152"/>
                </a:lnTo>
                <a:lnTo>
                  <a:pt x="7306" y="1148"/>
                </a:lnTo>
                <a:lnTo>
                  <a:pt x="7306" y="1142"/>
                </a:lnTo>
                <a:lnTo>
                  <a:pt x="7304" y="1140"/>
                </a:lnTo>
                <a:lnTo>
                  <a:pt x="7302" y="1138"/>
                </a:lnTo>
                <a:lnTo>
                  <a:pt x="7298" y="1136"/>
                </a:lnTo>
                <a:lnTo>
                  <a:pt x="7292" y="1134"/>
                </a:lnTo>
                <a:lnTo>
                  <a:pt x="7282" y="1134"/>
                </a:lnTo>
                <a:lnTo>
                  <a:pt x="7276" y="1130"/>
                </a:lnTo>
                <a:lnTo>
                  <a:pt x="7270" y="1128"/>
                </a:lnTo>
                <a:lnTo>
                  <a:pt x="7264" y="1128"/>
                </a:lnTo>
                <a:lnTo>
                  <a:pt x="7260" y="1126"/>
                </a:lnTo>
                <a:lnTo>
                  <a:pt x="7264" y="1124"/>
                </a:lnTo>
                <a:lnTo>
                  <a:pt x="7276" y="1124"/>
                </a:lnTo>
                <a:lnTo>
                  <a:pt x="7298" y="1128"/>
                </a:lnTo>
                <a:lnTo>
                  <a:pt x="7308" y="1130"/>
                </a:lnTo>
                <a:lnTo>
                  <a:pt x="7318" y="1130"/>
                </a:lnTo>
                <a:lnTo>
                  <a:pt x="7324" y="1128"/>
                </a:lnTo>
                <a:lnTo>
                  <a:pt x="7330" y="1124"/>
                </a:lnTo>
                <a:lnTo>
                  <a:pt x="7338" y="1118"/>
                </a:lnTo>
                <a:lnTo>
                  <a:pt x="7342" y="1116"/>
                </a:lnTo>
                <a:lnTo>
                  <a:pt x="7348" y="1116"/>
                </a:lnTo>
                <a:lnTo>
                  <a:pt x="7352" y="1116"/>
                </a:lnTo>
                <a:lnTo>
                  <a:pt x="7356" y="1116"/>
                </a:lnTo>
                <a:lnTo>
                  <a:pt x="7358" y="1114"/>
                </a:lnTo>
                <a:lnTo>
                  <a:pt x="7360" y="1110"/>
                </a:lnTo>
                <a:lnTo>
                  <a:pt x="7360" y="1108"/>
                </a:lnTo>
                <a:lnTo>
                  <a:pt x="7358" y="1106"/>
                </a:lnTo>
                <a:lnTo>
                  <a:pt x="7356" y="1104"/>
                </a:lnTo>
                <a:lnTo>
                  <a:pt x="7352" y="1104"/>
                </a:lnTo>
                <a:lnTo>
                  <a:pt x="7346" y="1102"/>
                </a:lnTo>
                <a:lnTo>
                  <a:pt x="7342" y="1100"/>
                </a:lnTo>
                <a:lnTo>
                  <a:pt x="7340" y="1096"/>
                </a:lnTo>
                <a:lnTo>
                  <a:pt x="7336" y="1094"/>
                </a:lnTo>
                <a:lnTo>
                  <a:pt x="7332" y="1094"/>
                </a:lnTo>
                <a:lnTo>
                  <a:pt x="7328" y="1092"/>
                </a:lnTo>
                <a:lnTo>
                  <a:pt x="7326" y="1088"/>
                </a:lnTo>
                <a:lnTo>
                  <a:pt x="7320" y="1084"/>
                </a:lnTo>
                <a:lnTo>
                  <a:pt x="7318" y="1084"/>
                </a:lnTo>
                <a:lnTo>
                  <a:pt x="7314" y="1084"/>
                </a:lnTo>
                <a:lnTo>
                  <a:pt x="7308" y="1086"/>
                </a:lnTo>
                <a:lnTo>
                  <a:pt x="7308" y="1084"/>
                </a:lnTo>
                <a:lnTo>
                  <a:pt x="7306" y="1082"/>
                </a:lnTo>
                <a:lnTo>
                  <a:pt x="7298" y="1084"/>
                </a:lnTo>
                <a:lnTo>
                  <a:pt x="7290" y="1084"/>
                </a:lnTo>
                <a:lnTo>
                  <a:pt x="7290" y="1082"/>
                </a:lnTo>
                <a:lnTo>
                  <a:pt x="7290" y="1080"/>
                </a:lnTo>
                <a:lnTo>
                  <a:pt x="7290" y="1078"/>
                </a:lnTo>
                <a:lnTo>
                  <a:pt x="7286" y="1074"/>
                </a:lnTo>
                <a:lnTo>
                  <a:pt x="7280" y="1072"/>
                </a:lnTo>
                <a:lnTo>
                  <a:pt x="7274" y="1072"/>
                </a:lnTo>
                <a:lnTo>
                  <a:pt x="7268" y="1072"/>
                </a:lnTo>
                <a:lnTo>
                  <a:pt x="7262" y="1074"/>
                </a:lnTo>
                <a:lnTo>
                  <a:pt x="7258" y="1078"/>
                </a:lnTo>
                <a:lnTo>
                  <a:pt x="7256" y="1082"/>
                </a:lnTo>
                <a:lnTo>
                  <a:pt x="7254" y="1088"/>
                </a:lnTo>
                <a:lnTo>
                  <a:pt x="7254" y="1098"/>
                </a:lnTo>
                <a:lnTo>
                  <a:pt x="7256" y="1104"/>
                </a:lnTo>
                <a:lnTo>
                  <a:pt x="7254" y="1102"/>
                </a:lnTo>
                <a:lnTo>
                  <a:pt x="7248" y="1100"/>
                </a:lnTo>
                <a:lnTo>
                  <a:pt x="7246" y="1100"/>
                </a:lnTo>
                <a:lnTo>
                  <a:pt x="7242" y="1100"/>
                </a:lnTo>
                <a:lnTo>
                  <a:pt x="7236" y="1102"/>
                </a:lnTo>
                <a:lnTo>
                  <a:pt x="7232" y="1100"/>
                </a:lnTo>
                <a:lnTo>
                  <a:pt x="7232" y="1098"/>
                </a:lnTo>
                <a:lnTo>
                  <a:pt x="7238" y="1094"/>
                </a:lnTo>
                <a:lnTo>
                  <a:pt x="7244" y="1090"/>
                </a:lnTo>
                <a:lnTo>
                  <a:pt x="7248" y="1086"/>
                </a:lnTo>
                <a:lnTo>
                  <a:pt x="7250" y="1084"/>
                </a:lnTo>
                <a:lnTo>
                  <a:pt x="7246" y="1082"/>
                </a:lnTo>
                <a:lnTo>
                  <a:pt x="7240" y="1084"/>
                </a:lnTo>
                <a:lnTo>
                  <a:pt x="7238" y="1082"/>
                </a:lnTo>
                <a:lnTo>
                  <a:pt x="7240" y="1078"/>
                </a:lnTo>
                <a:lnTo>
                  <a:pt x="7242" y="1076"/>
                </a:lnTo>
                <a:lnTo>
                  <a:pt x="7250" y="1074"/>
                </a:lnTo>
                <a:lnTo>
                  <a:pt x="7256" y="1070"/>
                </a:lnTo>
                <a:lnTo>
                  <a:pt x="7258" y="1068"/>
                </a:lnTo>
                <a:lnTo>
                  <a:pt x="7258" y="1066"/>
                </a:lnTo>
                <a:lnTo>
                  <a:pt x="7258" y="1064"/>
                </a:lnTo>
                <a:lnTo>
                  <a:pt x="7256" y="1062"/>
                </a:lnTo>
                <a:lnTo>
                  <a:pt x="7250" y="1064"/>
                </a:lnTo>
                <a:lnTo>
                  <a:pt x="7246" y="1064"/>
                </a:lnTo>
                <a:lnTo>
                  <a:pt x="7246" y="1062"/>
                </a:lnTo>
                <a:lnTo>
                  <a:pt x="7244" y="1060"/>
                </a:lnTo>
                <a:lnTo>
                  <a:pt x="7244" y="1058"/>
                </a:lnTo>
                <a:lnTo>
                  <a:pt x="7244" y="1056"/>
                </a:lnTo>
                <a:lnTo>
                  <a:pt x="7238" y="1058"/>
                </a:lnTo>
                <a:lnTo>
                  <a:pt x="7232" y="1058"/>
                </a:lnTo>
                <a:lnTo>
                  <a:pt x="7230" y="1058"/>
                </a:lnTo>
                <a:lnTo>
                  <a:pt x="7226" y="1056"/>
                </a:lnTo>
                <a:lnTo>
                  <a:pt x="7222" y="1054"/>
                </a:lnTo>
                <a:lnTo>
                  <a:pt x="7220" y="1054"/>
                </a:lnTo>
                <a:lnTo>
                  <a:pt x="7218" y="1058"/>
                </a:lnTo>
                <a:lnTo>
                  <a:pt x="7216" y="1062"/>
                </a:lnTo>
                <a:lnTo>
                  <a:pt x="7214" y="1062"/>
                </a:lnTo>
                <a:lnTo>
                  <a:pt x="7212" y="1062"/>
                </a:lnTo>
                <a:lnTo>
                  <a:pt x="7208" y="1060"/>
                </a:lnTo>
                <a:lnTo>
                  <a:pt x="7206" y="1060"/>
                </a:lnTo>
                <a:lnTo>
                  <a:pt x="7202" y="1064"/>
                </a:lnTo>
                <a:lnTo>
                  <a:pt x="7202" y="1066"/>
                </a:lnTo>
                <a:lnTo>
                  <a:pt x="7202" y="1068"/>
                </a:lnTo>
                <a:lnTo>
                  <a:pt x="7204" y="1070"/>
                </a:lnTo>
                <a:lnTo>
                  <a:pt x="7208" y="1070"/>
                </a:lnTo>
                <a:lnTo>
                  <a:pt x="7214" y="1072"/>
                </a:lnTo>
                <a:lnTo>
                  <a:pt x="7212" y="1074"/>
                </a:lnTo>
                <a:lnTo>
                  <a:pt x="7208" y="1076"/>
                </a:lnTo>
                <a:lnTo>
                  <a:pt x="7208" y="1080"/>
                </a:lnTo>
                <a:lnTo>
                  <a:pt x="7204" y="1082"/>
                </a:lnTo>
                <a:lnTo>
                  <a:pt x="7200" y="1082"/>
                </a:lnTo>
                <a:lnTo>
                  <a:pt x="7200" y="1086"/>
                </a:lnTo>
                <a:lnTo>
                  <a:pt x="7198" y="1088"/>
                </a:lnTo>
                <a:lnTo>
                  <a:pt x="7196" y="1090"/>
                </a:lnTo>
                <a:lnTo>
                  <a:pt x="7194" y="1092"/>
                </a:lnTo>
                <a:lnTo>
                  <a:pt x="7194" y="1096"/>
                </a:lnTo>
                <a:lnTo>
                  <a:pt x="7196" y="1100"/>
                </a:lnTo>
                <a:lnTo>
                  <a:pt x="7194" y="1102"/>
                </a:lnTo>
                <a:lnTo>
                  <a:pt x="7190" y="1102"/>
                </a:lnTo>
                <a:lnTo>
                  <a:pt x="7180" y="1106"/>
                </a:lnTo>
                <a:lnTo>
                  <a:pt x="7176" y="1108"/>
                </a:lnTo>
                <a:lnTo>
                  <a:pt x="7176" y="1102"/>
                </a:lnTo>
                <a:lnTo>
                  <a:pt x="7180" y="1094"/>
                </a:lnTo>
                <a:lnTo>
                  <a:pt x="7180" y="1088"/>
                </a:lnTo>
                <a:lnTo>
                  <a:pt x="7180" y="1084"/>
                </a:lnTo>
                <a:lnTo>
                  <a:pt x="7182" y="1078"/>
                </a:lnTo>
                <a:lnTo>
                  <a:pt x="7184" y="1070"/>
                </a:lnTo>
                <a:lnTo>
                  <a:pt x="7184" y="1068"/>
                </a:lnTo>
                <a:lnTo>
                  <a:pt x="7182" y="1066"/>
                </a:lnTo>
                <a:lnTo>
                  <a:pt x="7178" y="1066"/>
                </a:lnTo>
                <a:lnTo>
                  <a:pt x="7174" y="1070"/>
                </a:lnTo>
                <a:lnTo>
                  <a:pt x="7164" y="1078"/>
                </a:lnTo>
                <a:lnTo>
                  <a:pt x="7140" y="1102"/>
                </a:lnTo>
                <a:lnTo>
                  <a:pt x="7134" y="1108"/>
                </a:lnTo>
                <a:lnTo>
                  <a:pt x="7134" y="1112"/>
                </a:lnTo>
                <a:lnTo>
                  <a:pt x="7134" y="1116"/>
                </a:lnTo>
                <a:lnTo>
                  <a:pt x="7130" y="1122"/>
                </a:lnTo>
                <a:lnTo>
                  <a:pt x="7124" y="1126"/>
                </a:lnTo>
                <a:lnTo>
                  <a:pt x="7122" y="1128"/>
                </a:lnTo>
                <a:lnTo>
                  <a:pt x="7118" y="1126"/>
                </a:lnTo>
                <a:lnTo>
                  <a:pt x="7116" y="1128"/>
                </a:lnTo>
                <a:lnTo>
                  <a:pt x="7112" y="1130"/>
                </a:lnTo>
                <a:lnTo>
                  <a:pt x="7112" y="1128"/>
                </a:lnTo>
                <a:lnTo>
                  <a:pt x="7112" y="1126"/>
                </a:lnTo>
                <a:lnTo>
                  <a:pt x="7116" y="1120"/>
                </a:lnTo>
                <a:lnTo>
                  <a:pt x="7120" y="1114"/>
                </a:lnTo>
                <a:lnTo>
                  <a:pt x="7120" y="1112"/>
                </a:lnTo>
                <a:lnTo>
                  <a:pt x="7120" y="1110"/>
                </a:lnTo>
                <a:lnTo>
                  <a:pt x="7122" y="1106"/>
                </a:lnTo>
                <a:lnTo>
                  <a:pt x="7126" y="1102"/>
                </a:lnTo>
                <a:lnTo>
                  <a:pt x="7124" y="1100"/>
                </a:lnTo>
                <a:lnTo>
                  <a:pt x="7124" y="1098"/>
                </a:lnTo>
                <a:lnTo>
                  <a:pt x="7124" y="1096"/>
                </a:lnTo>
                <a:lnTo>
                  <a:pt x="7132" y="1088"/>
                </a:lnTo>
                <a:lnTo>
                  <a:pt x="7150" y="1072"/>
                </a:lnTo>
                <a:lnTo>
                  <a:pt x="7152" y="1072"/>
                </a:lnTo>
                <a:lnTo>
                  <a:pt x="7150" y="1070"/>
                </a:lnTo>
                <a:lnTo>
                  <a:pt x="7144" y="1070"/>
                </a:lnTo>
                <a:lnTo>
                  <a:pt x="7138" y="1070"/>
                </a:lnTo>
                <a:lnTo>
                  <a:pt x="7136" y="1068"/>
                </a:lnTo>
                <a:lnTo>
                  <a:pt x="7132" y="1064"/>
                </a:lnTo>
                <a:lnTo>
                  <a:pt x="7130" y="1064"/>
                </a:lnTo>
                <a:lnTo>
                  <a:pt x="7128" y="1070"/>
                </a:lnTo>
                <a:lnTo>
                  <a:pt x="7126" y="1076"/>
                </a:lnTo>
                <a:lnTo>
                  <a:pt x="7122" y="1070"/>
                </a:lnTo>
                <a:lnTo>
                  <a:pt x="7118" y="1066"/>
                </a:lnTo>
                <a:lnTo>
                  <a:pt x="7114" y="1066"/>
                </a:lnTo>
                <a:lnTo>
                  <a:pt x="7112" y="1066"/>
                </a:lnTo>
                <a:lnTo>
                  <a:pt x="7108" y="1066"/>
                </a:lnTo>
                <a:lnTo>
                  <a:pt x="7106" y="1066"/>
                </a:lnTo>
                <a:lnTo>
                  <a:pt x="7102" y="1064"/>
                </a:lnTo>
                <a:lnTo>
                  <a:pt x="7098" y="1064"/>
                </a:lnTo>
                <a:lnTo>
                  <a:pt x="7096" y="1066"/>
                </a:lnTo>
                <a:lnTo>
                  <a:pt x="7098" y="1068"/>
                </a:lnTo>
                <a:lnTo>
                  <a:pt x="7100" y="1072"/>
                </a:lnTo>
                <a:lnTo>
                  <a:pt x="7100" y="1076"/>
                </a:lnTo>
                <a:lnTo>
                  <a:pt x="7098" y="1076"/>
                </a:lnTo>
                <a:lnTo>
                  <a:pt x="7094" y="1074"/>
                </a:lnTo>
                <a:lnTo>
                  <a:pt x="7088" y="1072"/>
                </a:lnTo>
                <a:lnTo>
                  <a:pt x="7084" y="1074"/>
                </a:lnTo>
                <a:lnTo>
                  <a:pt x="7086" y="1078"/>
                </a:lnTo>
                <a:lnTo>
                  <a:pt x="7094" y="1082"/>
                </a:lnTo>
                <a:lnTo>
                  <a:pt x="7102" y="1086"/>
                </a:lnTo>
                <a:lnTo>
                  <a:pt x="7106" y="1088"/>
                </a:lnTo>
                <a:lnTo>
                  <a:pt x="7104" y="1088"/>
                </a:lnTo>
                <a:lnTo>
                  <a:pt x="7094" y="1086"/>
                </a:lnTo>
                <a:lnTo>
                  <a:pt x="7088" y="1084"/>
                </a:lnTo>
                <a:lnTo>
                  <a:pt x="7088" y="1086"/>
                </a:lnTo>
                <a:lnTo>
                  <a:pt x="7086" y="1088"/>
                </a:lnTo>
                <a:lnTo>
                  <a:pt x="7084" y="1090"/>
                </a:lnTo>
                <a:lnTo>
                  <a:pt x="7080" y="1094"/>
                </a:lnTo>
                <a:lnTo>
                  <a:pt x="7072" y="1100"/>
                </a:lnTo>
                <a:lnTo>
                  <a:pt x="7060" y="1106"/>
                </a:lnTo>
                <a:lnTo>
                  <a:pt x="7056" y="1110"/>
                </a:lnTo>
                <a:lnTo>
                  <a:pt x="7056" y="1112"/>
                </a:lnTo>
                <a:lnTo>
                  <a:pt x="7050" y="1116"/>
                </a:lnTo>
                <a:lnTo>
                  <a:pt x="7046" y="1118"/>
                </a:lnTo>
                <a:lnTo>
                  <a:pt x="7044" y="1120"/>
                </a:lnTo>
                <a:lnTo>
                  <a:pt x="7044" y="1122"/>
                </a:lnTo>
                <a:lnTo>
                  <a:pt x="7048" y="1124"/>
                </a:lnTo>
                <a:lnTo>
                  <a:pt x="7046" y="1126"/>
                </a:lnTo>
                <a:lnTo>
                  <a:pt x="7044" y="1126"/>
                </a:lnTo>
                <a:lnTo>
                  <a:pt x="7042" y="1128"/>
                </a:lnTo>
                <a:lnTo>
                  <a:pt x="7042" y="1130"/>
                </a:lnTo>
                <a:lnTo>
                  <a:pt x="7046" y="1132"/>
                </a:lnTo>
                <a:lnTo>
                  <a:pt x="7052" y="1134"/>
                </a:lnTo>
                <a:lnTo>
                  <a:pt x="7054" y="1136"/>
                </a:lnTo>
                <a:lnTo>
                  <a:pt x="7052" y="1136"/>
                </a:lnTo>
                <a:lnTo>
                  <a:pt x="7048" y="1136"/>
                </a:lnTo>
                <a:lnTo>
                  <a:pt x="7040" y="1136"/>
                </a:lnTo>
                <a:lnTo>
                  <a:pt x="7034" y="1132"/>
                </a:lnTo>
                <a:lnTo>
                  <a:pt x="7034" y="1130"/>
                </a:lnTo>
                <a:lnTo>
                  <a:pt x="7034" y="1128"/>
                </a:lnTo>
                <a:lnTo>
                  <a:pt x="7036" y="1124"/>
                </a:lnTo>
                <a:lnTo>
                  <a:pt x="7034" y="1122"/>
                </a:lnTo>
                <a:lnTo>
                  <a:pt x="7028" y="1118"/>
                </a:lnTo>
                <a:lnTo>
                  <a:pt x="7018" y="1116"/>
                </a:lnTo>
                <a:lnTo>
                  <a:pt x="7012" y="1116"/>
                </a:lnTo>
                <a:lnTo>
                  <a:pt x="7008" y="1116"/>
                </a:lnTo>
                <a:lnTo>
                  <a:pt x="7006" y="1114"/>
                </a:lnTo>
                <a:lnTo>
                  <a:pt x="7004" y="1114"/>
                </a:lnTo>
                <a:lnTo>
                  <a:pt x="7002" y="1114"/>
                </a:lnTo>
                <a:lnTo>
                  <a:pt x="6998" y="1114"/>
                </a:lnTo>
                <a:lnTo>
                  <a:pt x="6992" y="1112"/>
                </a:lnTo>
                <a:lnTo>
                  <a:pt x="6990" y="1112"/>
                </a:lnTo>
                <a:lnTo>
                  <a:pt x="6988" y="1120"/>
                </a:lnTo>
                <a:lnTo>
                  <a:pt x="6988" y="1124"/>
                </a:lnTo>
                <a:lnTo>
                  <a:pt x="6984" y="1120"/>
                </a:lnTo>
                <a:lnTo>
                  <a:pt x="6982" y="1116"/>
                </a:lnTo>
                <a:lnTo>
                  <a:pt x="6978" y="1114"/>
                </a:lnTo>
                <a:lnTo>
                  <a:pt x="6974" y="1114"/>
                </a:lnTo>
                <a:lnTo>
                  <a:pt x="6968" y="1114"/>
                </a:lnTo>
                <a:lnTo>
                  <a:pt x="6964" y="1118"/>
                </a:lnTo>
                <a:lnTo>
                  <a:pt x="6964" y="1120"/>
                </a:lnTo>
                <a:lnTo>
                  <a:pt x="6966" y="1122"/>
                </a:lnTo>
                <a:lnTo>
                  <a:pt x="6970" y="1124"/>
                </a:lnTo>
                <a:lnTo>
                  <a:pt x="6972" y="1124"/>
                </a:lnTo>
                <a:lnTo>
                  <a:pt x="6972" y="1126"/>
                </a:lnTo>
                <a:lnTo>
                  <a:pt x="6974" y="1128"/>
                </a:lnTo>
                <a:lnTo>
                  <a:pt x="6978" y="1128"/>
                </a:lnTo>
                <a:lnTo>
                  <a:pt x="6982" y="1128"/>
                </a:lnTo>
                <a:lnTo>
                  <a:pt x="6986" y="1132"/>
                </a:lnTo>
                <a:lnTo>
                  <a:pt x="6988" y="1134"/>
                </a:lnTo>
                <a:lnTo>
                  <a:pt x="6992" y="1134"/>
                </a:lnTo>
                <a:lnTo>
                  <a:pt x="6994" y="1134"/>
                </a:lnTo>
                <a:lnTo>
                  <a:pt x="6992" y="1138"/>
                </a:lnTo>
                <a:lnTo>
                  <a:pt x="6990" y="1140"/>
                </a:lnTo>
                <a:lnTo>
                  <a:pt x="6990" y="1142"/>
                </a:lnTo>
                <a:lnTo>
                  <a:pt x="6996" y="1150"/>
                </a:lnTo>
                <a:lnTo>
                  <a:pt x="6998" y="1154"/>
                </a:lnTo>
                <a:lnTo>
                  <a:pt x="6996" y="1152"/>
                </a:lnTo>
                <a:lnTo>
                  <a:pt x="6980" y="1140"/>
                </a:lnTo>
                <a:lnTo>
                  <a:pt x="6970" y="1134"/>
                </a:lnTo>
                <a:lnTo>
                  <a:pt x="6964" y="1134"/>
                </a:lnTo>
                <a:lnTo>
                  <a:pt x="6962" y="1136"/>
                </a:lnTo>
                <a:lnTo>
                  <a:pt x="6964" y="1138"/>
                </a:lnTo>
                <a:lnTo>
                  <a:pt x="6964" y="1140"/>
                </a:lnTo>
                <a:lnTo>
                  <a:pt x="6964" y="1142"/>
                </a:lnTo>
                <a:lnTo>
                  <a:pt x="6960" y="1144"/>
                </a:lnTo>
                <a:lnTo>
                  <a:pt x="6958" y="1144"/>
                </a:lnTo>
                <a:lnTo>
                  <a:pt x="6956" y="1142"/>
                </a:lnTo>
                <a:lnTo>
                  <a:pt x="6958" y="1140"/>
                </a:lnTo>
                <a:lnTo>
                  <a:pt x="6958" y="1138"/>
                </a:lnTo>
                <a:lnTo>
                  <a:pt x="6956" y="1138"/>
                </a:lnTo>
                <a:lnTo>
                  <a:pt x="6950" y="1142"/>
                </a:lnTo>
                <a:lnTo>
                  <a:pt x="6938" y="1152"/>
                </a:lnTo>
                <a:lnTo>
                  <a:pt x="6936" y="1152"/>
                </a:lnTo>
                <a:lnTo>
                  <a:pt x="6934" y="1154"/>
                </a:lnTo>
                <a:lnTo>
                  <a:pt x="6934" y="1162"/>
                </a:lnTo>
                <a:lnTo>
                  <a:pt x="6932" y="1168"/>
                </a:lnTo>
                <a:lnTo>
                  <a:pt x="6928" y="1172"/>
                </a:lnTo>
                <a:lnTo>
                  <a:pt x="6922" y="1180"/>
                </a:lnTo>
                <a:lnTo>
                  <a:pt x="6914" y="1186"/>
                </a:lnTo>
                <a:lnTo>
                  <a:pt x="6922" y="1172"/>
                </a:lnTo>
                <a:lnTo>
                  <a:pt x="6926" y="1160"/>
                </a:lnTo>
                <a:lnTo>
                  <a:pt x="6928" y="1150"/>
                </a:lnTo>
                <a:lnTo>
                  <a:pt x="6928" y="1140"/>
                </a:lnTo>
                <a:lnTo>
                  <a:pt x="6926" y="1136"/>
                </a:lnTo>
                <a:lnTo>
                  <a:pt x="6924" y="1138"/>
                </a:lnTo>
                <a:lnTo>
                  <a:pt x="6922" y="1142"/>
                </a:lnTo>
                <a:lnTo>
                  <a:pt x="6920" y="1142"/>
                </a:lnTo>
                <a:lnTo>
                  <a:pt x="6918" y="1140"/>
                </a:lnTo>
                <a:lnTo>
                  <a:pt x="6916" y="1140"/>
                </a:lnTo>
                <a:lnTo>
                  <a:pt x="6908" y="1150"/>
                </a:lnTo>
                <a:lnTo>
                  <a:pt x="6906" y="1156"/>
                </a:lnTo>
                <a:lnTo>
                  <a:pt x="6906" y="1160"/>
                </a:lnTo>
                <a:lnTo>
                  <a:pt x="6908" y="1160"/>
                </a:lnTo>
                <a:lnTo>
                  <a:pt x="6904" y="1164"/>
                </a:lnTo>
                <a:lnTo>
                  <a:pt x="6902" y="1166"/>
                </a:lnTo>
                <a:lnTo>
                  <a:pt x="6898" y="1166"/>
                </a:lnTo>
                <a:lnTo>
                  <a:pt x="6898" y="1162"/>
                </a:lnTo>
                <a:lnTo>
                  <a:pt x="6900" y="1158"/>
                </a:lnTo>
                <a:lnTo>
                  <a:pt x="6902" y="1152"/>
                </a:lnTo>
                <a:lnTo>
                  <a:pt x="6902" y="1150"/>
                </a:lnTo>
                <a:lnTo>
                  <a:pt x="6900" y="1148"/>
                </a:lnTo>
                <a:lnTo>
                  <a:pt x="6896" y="1148"/>
                </a:lnTo>
                <a:lnTo>
                  <a:pt x="6888" y="1150"/>
                </a:lnTo>
                <a:lnTo>
                  <a:pt x="6882" y="1152"/>
                </a:lnTo>
                <a:lnTo>
                  <a:pt x="6870" y="1160"/>
                </a:lnTo>
                <a:lnTo>
                  <a:pt x="6868" y="1162"/>
                </a:lnTo>
                <a:lnTo>
                  <a:pt x="6870" y="1164"/>
                </a:lnTo>
                <a:lnTo>
                  <a:pt x="6872" y="1166"/>
                </a:lnTo>
                <a:lnTo>
                  <a:pt x="6872" y="1168"/>
                </a:lnTo>
                <a:lnTo>
                  <a:pt x="6872" y="1170"/>
                </a:lnTo>
                <a:lnTo>
                  <a:pt x="6872" y="1174"/>
                </a:lnTo>
                <a:lnTo>
                  <a:pt x="6874" y="1174"/>
                </a:lnTo>
                <a:lnTo>
                  <a:pt x="6882" y="1178"/>
                </a:lnTo>
                <a:lnTo>
                  <a:pt x="6886" y="1178"/>
                </a:lnTo>
                <a:lnTo>
                  <a:pt x="6890" y="1182"/>
                </a:lnTo>
                <a:lnTo>
                  <a:pt x="6892" y="1186"/>
                </a:lnTo>
                <a:lnTo>
                  <a:pt x="6894" y="1192"/>
                </a:lnTo>
                <a:lnTo>
                  <a:pt x="6884" y="1188"/>
                </a:lnTo>
                <a:lnTo>
                  <a:pt x="6884" y="1186"/>
                </a:lnTo>
                <a:lnTo>
                  <a:pt x="6886" y="1184"/>
                </a:lnTo>
                <a:lnTo>
                  <a:pt x="6880" y="1182"/>
                </a:lnTo>
                <a:lnTo>
                  <a:pt x="6874" y="1180"/>
                </a:lnTo>
                <a:lnTo>
                  <a:pt x="6870" y="1178"/>
                </a:lnTo>
                <a:lnTo>
                  <a:pt x="6868" y="1172"/>
                </a:lnTo>
                <a:lnTo>
                  <a:pt x="6864" y="1168"/>
                </a:lnTo>
                <a:lnTo>
                  <a:pt x="6858" y="1168"/>
                </a:lnTo>
                <a:lnTo>
                  <a:pt x="6850" y="1172"/>
                </a:lnTo>
                <a:lnTo>
                  <a:pt x="6850" y="1174"/>
                </a:lnTo>
                <a:lnTo>
                  <a:pt x="6858" y="1180"/>
                </a:lnTo>
                <a:lnTo>
                  <a:pt x="6862" y="1184"/>
                </a:lnTo>
                <a:lnTo>
                  <a:pt x="6860" y="1186"/>
                </a:lnTo>
                <a:lnTo>
                  <a:pt x="6856" y="1184"/>
                </a:lnTo>
                <a:lnTo>
                  <a:pt x="6852" y="1180"/>
                </a:lnTo>
                <a:lnTo>
                  <a:pt x="6842" y="1172"/>
                </a:lnTo>
                <a:lnTo>
                  <a:pt x="6838" y="1172"/>
                </a:lnTo>
                <a:lnTo>
                  <a:pt x="6838" y="1174"/>
                </a:lnTo>
                <a:lnTo>
                  <a:pt x="6840" y="1178"/>
                </a:lnTo>
                <a:lnTo>
                  <a:pt x="6838" y="1180"/>
                </a:lnTo>
                <a:lnTo>
                  <a:pt x="6836" y="1182"/>
                </a:lnTo>
                <a:lnTo>
                  <a:pt x="6834" y="1184"/>
                </a:lnTo>
                <a:lnTo>
                  <a:pt x="6836" y="1190"/>
                </a:lnTo>
                <a:lnTo>
                  <a:pt x="6836" y="1194"/>
                </a:lnTo>
                <a:lnTo>
                  <a:pt x="6836" y="1196"/>
                </a:lnTo>
                <a:lnTo>
                  <a:pt x="6830" y="1198"/>
                </a:lnTo>
                <a:lnTo>
                  <a:pt x="6822" y="1200"/>
                </a:lnTo>
                <a:lnTo>
                  <a:pt x="6818" y="1202"/>
                </a:lnTo>
                <a:lnTo>
                  <a:pt x="6814" y="1206"/>
                </a:lnTo>
                <a:lnTo>
                  <a:pt x="6812" y="1210"/>
                </a:lnTo>
                <a:lnTo>
                  <a:pt x="6814" y="1212"/>
                </a:lnTo>
                <a:lnTo>
                  <a:pt x="6818" y="1214"/>
                </a:lnTo>
                <a:lnTo>
                  <a:pt x="6822" y="1214"/>
                </a:lnTo>
                <a:lnTo>
                  <a:pt x="6816" y="1216"/>
                </a:lnTo>
                <a:lnTo>
                  <a:pt x="6808" y="1220"/>
                </a:lnTo>
                <a:lnTo>
                  <a:pt x="6804" y="1222"/>
                </a:lnTo>
                <a:lnTo>
                  <a:pt x="6802" y="1226"/>
                </a:lnTo>
                <a:lnTo>
                  <a:pt x="6798" y="1228"/>
                </a:lnTo>
                <a:lnTo>
                  <a:pt x="6792" y="1230"/>
                </a:lnTo>
                <a:lnTo>
                  <a:pt x="6786" y="1230"/>
                </a:lnTo>
                <a:lnTo>
                  <a:pt x="6780" y="1232"/>
                </a:lnTo>
                <a:lnTo>
                  <a:pt x="6774" y="1240"/>
                </a:lnTo>
                <a:lnTo>
                  <a:pt x="6772" y="1244"/>
                </a:lnTo>
                <a:lnTo>
                  <a:pt x="6772" y="1246"/>
                </a:lnTo>
                <a:lnTo>
                  <a:pt x="6776" y="1248"/>
                </a:lnTo>
                <a:lnTo>
                  <a:pt x="6780" y="1246"/>
                </a:lnTo>
                <a:lnTo>
                  <a:pt x="6790" y="1244"/>
                </a:lnTo>
                <a:lnTo>
                  <a:pt x="6792" y="1244"/>
                </a:lnTo>
                <a:lnTo>
                  <a:pt x="6794" y="1244"/>
                </a:lnTo>
                <a:lnTo>
                  <a:pt x="6794" y="1246"/>
                </a:lnTo>
                <a:lnTo>
                  <a:pt x="6796" y="1248"/>
                </a:lnTo>
                <a:lnTo>
                  <a:pt x="6808" y="1242"/>
                </a:lnTo>
                <a:lnTo>
                  <a:pt x="6812" y="1240"/>
                </a:lnTo>
                <a:lnTo>
                  <a:pt x="6814" y="1240"/>
                </a:lnTo>
                <a:lnTo>
                  <a:pt x="6812" y="1244"/>
                </a:lnTo>
                <a:lnTo>
                  <a:pt x="6804" y="1250"/>
                </a:lnTo>
                <a:lnTo>
                  <a:pt x="6794" y="1254"/>
                </a:lnTo>
                <a:lnTo>
                  <a:pt x="6786" y="1254"/>
                </a:lnTo>
                <a:lnTo>
                  <a:pt x="6784" y="1252"/>
                </a:lnTo>
                <a:lnTo>
                  <a:pt x="6780" y="1252"/>
                </a:lnTo>
                <a:lnTo>
                  <a:pt x="6772" y="1250"/>
                </a:lnTo>
                <a:lnTo>
                  <a:pt x="6764" y="1252"/>
                </a:lnTo>
                <a:lnTo>
                  <a:pt x="6756" y="1254"/>
                </a:lnTo>
                <a:lnTo>
                  <a:pt x="6754" y="1258"/>
                </a:lnTo>
                <a:lnTo>
                  <a:pt x="6758" y="1260"/>
                </a:lnTo>
                <a:lnTo>
                  <a:pt x="6760" y="1262"/>
                </a:lnTo>
                <a:lnTo>
                  <a:pt x="6760" y="1264"/>
                </a:lnTo>
                <a:lnTo>
                  <a:pt x="6764" y="1264"/>
                </a:lnTo>
                <a:lnTo>
                  <a:pt x="6770" y="1266"/>
                </a:lnTo>
                <a:lnTo>
                  <a:pt x="6768" y="1270"/>
                </a:lnTo>
                <a:lnTo>
                  <a:pt x="6764" y="1274"/>
                </a:lnTo>
                <a:lnTo>
                  <a:pt x="6762" y="1278"/>
                </a:lnTo>
                <a:lnTo>
                  <a:pt x="6762" y="1282"/>
                </a:lnTo>
                <a:lnTo>
                  <a:pt x="6760" y="1286"/>
                </a:lnTo>
                <a:lnTo>
                  <a:pt x="6758" y="1284"/>
                </a:lnTo>
                <a:lnTo>
                  <a:pt x="6756" y="1278"/>
                </a:lnTo>
                <a:lnTo>
                  <a:pt x="6754" y="1272"/>
                </a:lnTo>
                <a:lnTo>
                  <a:pt x="6754" y="1266"/>
                </a:lnTo>
                <a:lnTo>
                  <a:pt x="6754" y="1262"/>
                </a:lnTo>
                <a:lnTo>
                  <a:pt x="6750" y="1262"/>
                </a:lnTo>
                <a:lnTo>
                  <a:pt x="6748" y="1266"/>
                </a:lnTo>
                <a:lnTo>
                  <a:pt x="6744" y="1270"/>
                </a:lnTo>
                <a:lnTo>
                  <a:pt x="6742" y="1272"/>
                </a:lnTo>
                <a:lnTo>
                  <a:pt x="6742" y="1270"/>
                </a:lnTo>
                <a:lnTo>
                  <a:pt x="6740" y="1268"/>
                </a:lnTo>
                <a:lnTo>
                  <a:pt x="6736" y="1268"/>
                </a:lnTo>
                <a:lnTo>
                  <a:pt x="6730" y="1270"/>
                </a:lnTo>
                <a:lnTo>
                  <a:pt x="6726" y="1272"/>
                </a:lnTo>
                <a:lnTo>
                  <a:pt x="6724" y="1274"/>
                </a:lnTo>
                <a:lnTo>
                  <a:pt x="6724" y="1276"/>
                </a:lnTo>
                <a:lnTo>
                  <a:pt x="6726" y="1278"/>
                </a:lnTo>
                <a:lnTo>
                  <a:pt x="6728" y="1276"/>
                </a:lnTo>
                <a:lnTo>
                  <a:pt x="6732" y="1276"/>
                </a:lnTo>
                <a:lnTo>
                  <a:pt x="6740" y="1276"/>
                </a:lnTo>
                <a:lnTo>
                  <a:pt x="6746" y="1278"/>
                </a:lnTo>
                <a:lnTo>
                  <a:pt x="6750" y="1280"/>
                </a:lnTo>
                <a:lnTo>
                  <a:pt x="6748" y="1282"/>
                </a:lnTo>
                <a:lnTo>
                  <a:pt x="6744" y="1282"/>
                </a:lnTo>
                <a:lnTo>
                  <a:pt x="6734" y="1284"/>
                </a:lnTo>
                <a:lnTo>
                  <a:pt x="6716" y="1286"/>
                </a:lnTo>
                <a:lnTo>
                  <a:pt x="6704" y="1290"/>
                </a:lnTo>
                <a:lnTo>
                  <a:pt x="6702" y="1294"/>
                </a:lnTo>
                <a:lnTo>
                  <a:pt x="6704" y="1296"/>
                </a:lnTo>
                <a:lnTo>
                  <a:pt x="6706" y="1296"/>
                </a:lnTo>
                <a:lnTo>
                  <a:pt x="6706" y="1298"/>
                </a:lnTo>
                <a:lnTo>
                  <a:pt x="6702" y="1300"/>
                </a:lnTo>
                <a:lnTo>
                  <a:pt x="6700" y="1302"/>
                </a:lnTo>
                <a:lnTo>
                  <a:pt x="6704" y="1304"/>
                </a:lnTo>
                <a:lnTo>
                  <a:pt x="6710" y="1304"/>
                </a:lnTo>
                <a:lnTo>
                  <a:pt x="6714" y="1304"/>
                </a:lnTo>
                <a:lnTo>
                  <a:pt x="6720" y="1298"/>
                </a:lnTo>
                <a:lnTo>
                  <a:pt x="6726" y="1294"/>
                </a:lnTo>
                <a:lnTo>
                  <a:pt x="6732" y="1294"/>
                </a:lnTo>
                <a:lnTo>
                  <a:pt x="6736" y="1294"/>
                </a:lnTo>
                <a:lnTo>
                  <a:pt x="6744" y="1296"/>
                </a:lnTo>
                <a:lnTo>
                  <a:pt x="6742" y="1298"/>
                </a:lnTo>
                <a:lnTo>
                  <a:pt x="6734" y="1298"/>
                </a:lnTo>
                <a:lnTo>
                  <a:pt x="6724" y="1300"/>
                </a:lnTo>
                <a:lnTo>
                  <a:pt x="6718" y="1304"/>
                </a:lnTo>
                <a:lnTo>
                  <a:pt x="6720" y="1306"/>
                </a:lnTo>
                <a:lnTo>
                  <a:pt x="6718" y="1308"/>
                </a:lnTo>
                <a:lnTo>
                  <a:pt x="6710" y="1310"/>
                </a:lnTo>
                <a:lnTo>
                  <a:pt x="6700" y="1312"/>
                </a:lnTo>
                <a:lnTo>
                  <a:pt x="6700" y="1314"/>
                </a:lnTo>
                <a:lnTo>
                  <a:pt x="6700" y="1316"/>
                </a:lnTo>
                <a:lnTo>
                  <a:pt x="6706" y="1318"/>
                </a:lnTo>
                <a:lnTo>
                  <a:pt x="6706" y="1320"/>
                </a:lnTo>
                <a:lnTo>
                  <a:pt x="6706" y="1322"/>
                </a:lnTo>
                <a:lnTo>
                  <a:pt x="6704" y="1322"/>
                </a:lnTo>
                <a:lnTo>
                  <a:pt x="6702" y="1320"/>
                </a:lnTo>
                <a:lnTo>
                  <a:pt x="6698" y="1320"/>
                </a:lnTo>
                <a:lnTo>
                  <a:pt x="6694" y="1322"/>
                </a:lnTo>
                <a:lnTo>
                  <a:pt x="6688" y="1328"/>
                </a:lnTo>
                <a:lnTo>
                  <a:pt x="6688" y="1330"/>
                </a:lnTo>
                <a:lnTo>
                  <a:pt x="6692" y="1332"/>
                </a:lnTo>
                <a:lnTo>
                  <a:pt x="6696" y="1332"/>
                </a:lnTo>
                <a:lnTo>
                  <a:pt x="6700" y="1330"/>
                </a:lnTo>
                <a:lnTo>
                  <a:pt x="6708" y="1330"/>
                </a:lnTo>
                <a:lnTo>
                  <a:pt x="6720" y="1330"/>
                </a:lnTo>
                <a:lnTo>
                  <a:pt x="6736" y="1332"/>
                </a:lnTo>
                <a:lnTo>
                  <a:pt x="6732" y="1334"/>
                </a:lnTo>
                <a:lnTo>
                  <a:pt x="6730" y="1336"/>
                </a:lnTo>
                <a:lnTo>
                  <a:pt x="6730" y="1338"/>
                </a:lnTo>
                <a:lnTo>
                  <a:pt x="6732" y="1342"/>
                </a:lnTo>
                <a:lnTo>
                  <a:pt x="6728" y="1340"/>
                </a:lnTo>
                <a:lnTo>
                  <a:pt x="6722" y="1336"/>
                </a:lnTo>
                <a:lnTo>
                  <a:pt x="6718" y="1334"/>
                </a:lnTo>
                <a:lnTo>
                  <a:pt x="6712" y="1332"/>
                </a:lnTo>
                <a:lnTo>
                  <a:pt x="6704" y="1334"/>
                </a:lnTo>
                <a:lnTo>
                  <a:pt x="6698" y="1334"/>
                </a:lnTo>
                <a:lnTo>
                  <a:pt x="6692" y="1336"/>
                </a:lnTo>
                <a:lnTo>
                  <a:pt x="6686" y="1338"/>
                </a:lnTo>
                <a:lnTo>
                  <a:pt x="6682" y="1338"/>
                </a:lnTo>
                <a:lnTo>
                  <a:pt x="6680" y="1338"/>
                </a:lnTo>
                <a:lnTo>
                  <a:pt x="6678" y="1340"/>
                </a:lnTo>
                <a:lnTo>
                  <a:pt x="6674" y="1340"/>
                </a:lnTo>
                <a:lnTo>
                  <a:pt x="6672" y="1340"/>
                </a:lnTo>
                <a:lnTo>
                  <a:pt x="6672" y="1342"/>
                </a:lnTo>
                <a:lnTo>
                  <a:pt x="6672" y="1346"/>
                </a:lnTo>
                <a:lnTo>
                  <a:pt x="6672" y="1348"/>
                </a:lnTo>
                <a:lnTo>
                  <a:pt x="6670" y="1350"/>
                </a:lnTo>
                <a:lnTo>
                  <a:pt x="6666" y="1350"/>
                </a:lnTo>
                <a:lnTo>
                  <a:pt x="6660" y="1352"/>
                </a:lnTo>
                <a:lnTo>
                  <a:pt x="6652" y="1352"/>
                </a:lnTo>
                <a:lnTo>
                  <a:pt x="6654" y="1356"/>
                </a:lnTo>
                <a:lnTo>
                  <a:pt x="6658" y="1360"/>
                </a:lnTo>
                <a:lnTo>
                  <a:pt x="6658" y="1362"/>
                </a:lnTo>
                <a:lnTo>
                  <a:pt x="6656" y="1364"/>
                </a:lnTo>
                <a:lnTo>
                  <a:pt x="6652" y="1366"/>
                </a:lnTo>
                <a:lnTo>
                  <a:pt x="6648" y="1366"/>
                </a:lnTo>
                <a:lnTo>
                  <a:pt x="6646" y="1366"/>
                </a:lnTo>
                <a:lnTo>
                  <a:pt x="6642" y="1370"/>
                </a:lnTo>
                <a:lnTo>
                  <a:pt x="6638" y="1374"/>
                </a:lnTo>
                <a:lnTo>
                  <a:pt x="6640" y="1374"/>
                </a:lnTo>
                <a:lnTo>
                  <a:pt x="6644" y="1376"/>
                </a:lnTo>
                <a:lnTo>
                  <a:pt x="6642" y="1378"/>
                </a:lnTo>
                <a:lnTo>
                  <a:pt x="6640" y="1380"/>
                </a:lnTo>
                <a:lnTo>
                  <a:pt x="6640" y="1382"/>
                </a:lnTo>
                <a:lnTo>
                  <a:pt x="6638" y="1382"/>
                </a:lnTo>
                <a:lnTo>
                  <a:pt x="6634" y="1382"/>
                </a:lnTo>
                <a:lnTo>
                  <a:pt x="6632" y="1382"/>
                </a:lnTo>
                <a:lnTo>
                  <a:pt x="6630" y="1382"/>
                </a:lnTo>
                <a:lnTo>
                  <a:pt x="6632" y="1386"/>
                </a:lnTo>
                <a:lnTo>
                  <a:pt x="6634" y="1388"/>
                </a:lnTo>
                <a:lnTo>
                  <a:pt x="6634" y="1390"/>
                </a:lnTo>
                <a:lnTo>
                  <a:pt x="6632" y="1394"/>
                </a:lnTo>
                <a:lnTo>
                  <a:pt x="6632" y="1396"/>
                </a:lnTo>
                <a:lnTo>
                  <a:pt x="6638" y="1398"/>
                </a:lnTo>
                <a:lnTo>
                  <a:pt x="6642" y="1398"/>
                </a:lnTo>
                <a:lnTo>
                  <a:pt x="6638" y="1400"/>
                </a:lnTo>
                <a:lnTo>
                  <a:pt x="6632" y="1402"/>
                </a:lnTo>
                <a:lnTo>
                  <a:pt x="6632" y="1404"/>
                </a:lnTo>
                <a:lnTo>
                  <a:pt x="6638" y="1404"/>
                </a:lnTo>
                <a:lnTo>
                  <a:pt x="6648" y="1402"/>
                </a:lnTo>
                <a:lnTo>
                  <a:pt x="6674" y="1396"/>
                </a:lnTo>
                <a:lnTo>
                  <a:pt x="6678" y="1396"/>
                </a:lnTo>
                <a:lnTo>
                  <a:pt x="6676" y="1398"/>
                </a:lnTo>
                <a:lnTo>
                  <a:pt x="6666" y="1402"/>
                </a:lnTo>
                <a:lnTo>
                  <a:pt x="6656" y="1404"/>
                </a:lnTo>
                <a:lnTo>
                  <a:pt x="6638" y="1408"/>
                </a:lnTo>
                <a:lnTo>
                  <a:pt x="6630" y="1408"/>
                </a:lnTo>
                <a:lnTo>
                  <a:pt x="6622" y="1412"/>
                </a:lnTo>
                <a:lnTo>
                  <a:pt x="6616" y="1414"/>
                </a:lnTo>
                <a:lnTo>
                  <a:pt x="6620" y="1414"/>
                </a:lnTo>
                <a:lnTo>
                  <a:pt x="6626" y="1414"/>
                </a:lnTo>
                <a:lnTo>
                  <a:pt x="6630" y="1416"/>
                </a:lnTo>
                <a:lnTo>
                  <a:pt x="6630" y="1418"/>
                </a:lnTo>
                <a:lnTo>
                  <a:pt x="6628" y="1422"/>
                </a:lnTo>
                <a:lnTo>
                  <a:pt x="6624" y="1422"/>
                </a:lnTo>
                <a:lnTo>
                  <a:pt x="6620" y="1426"/>
                </a:lnTo>
                <a:lnTo>
                  <a:pt x="6616" y="1432"/>
                </a:lnTo>
                <a:lnTo>
                  <a:pt x="6614" y="1436"/>
                </a:lnTo>
                <a:lnTo>
                  <a:pt x="6612" y="1438"/>
                </a:lnTo>
                <a:lnTo>
                  <a:pt x="6608" y="1438"/>
                </a:lnTo>
                <a:lnTo>
                  <a:pt x="6604" y="1440"/>
                </a:lnTo>
                <a:lnTo>
                  <a:pt x="6604" y="1444"/>
                </a:lnTo>
                <a:lnTo>
                  <a:pt x="6606" y="1450"/>
                </a:lnTo>
                <a:lnTo>
                  <a:pt x="6608" y="1450"/>
                </a:lnTo>
                <a:lnTo>
                  <a:pt x="6612" y="1450"/>
                </a:lnTo>
                <a:lnTo>
                  <a:pt x="6612" y="1454"/>
                </a:lnTo>
                <a:lnTo>
                  <a:pt x="6612" y="1458"/>
                </a:lnTo>
                <a:lnTo>
                  <a:pt x="6612" y="1460"/>
                </a:lnTo>
                <a:lnTo>
                  <a:pt x="6608" y="1464"/>
                </a:lnTo>
                <a:lnTo>
                  <a:pt x="6604" y="1468"/>
                </a:lnTo>
                <a:lnTo>
                  <a:pt x="6602" y="1468"/>
                </a:lnTo>
                <a:lnTo>
                  <a:pt x="6604" y="1470"/>
                </a:lnTo>
                <a:lnTo>
                  <a:pt x="6606" y="1474"/>
                </a:lnTo>
                <a:lnTo>
                  <a:pt x="6606" y="1478"/>
                </a:lnTo>
                <a:lnTo>
                  <a:pt x="6602" y="1482"/>
                </a:lnTo>
                <a:lnTo>
                  <a:pt x="6596" y="1484"/>
                </a:lnTo>
                <a:lnTo>
                  <a:pt x="6588" y="1484"/>
                </a:lnTo>
                <a:lnTo>
                  <a:pt x="6586" y="1486"/>
                </a:lnTo>
                <a:lnTo>
                  <a:pt x="6582" y="1488"/>
                </a:lnTo>
                <a:lnTo>
                  <a:pt x="6576" y="1490"/>
                </a:lnTo>
                <a:lnTo>
                  <a:pt x="6572" y="1490"/>
                </a:lnTo>
                <a:lnTo>
                  <a:pt x="6568" y="1492"/>
                </a:lnTo>
                <a:lnTo>
                  <a:pt x="6564" y="1494"/>
                </a:lnTo>
                <a:lnTo>
                  <a:pt x="6562" y="1494"/>
                </a:lnTo>
                <a:lnTo>
                  <a:pt x="6552" y="1492"/>
                </a:lnTo>
                <a:lnTo>
                  <a:pt x="6546" y="1494"/>
                </a:lnTo>
                <a:lnTo>
                  <a:pt x="6544" y="1496"/>
                </a:lnTo>
                <a:lnTo>
                  <a:pt x="6544" y="1498"/>
                </a:lnTo>
                <a:lnTo>
                  <a:pt x="6548" y="1498"/>
                </a:lnTo>
                <a:lnTo>
                  <a:pt x="6552" y="1498"/>
                </a:lnTo>
                <a:lnTo>
                  <a:pt x="6560" y="1498"/>
                </a:lnTo>
                <a:lnTo>
                  <a:pt x="6562" y="1500"/>
                </a:lnTo>
                <a:lnTo>
                  <a:pt x="6564" y="1500"/>
                </a:lnTo>
                <a:lnTo>
                  <a:pt x="6564" y="1504"/>
                </a:lnTo>
                <a:lnTo>
                  <a:pt x="6562" y="1506"/>
                </a:lnTo>
                <a:lnTo>
                  <a:pt x="6564" y="1506"/>
                </a:lnTo>
                <a:lnTo>
                  <a:pt x="6570" y="1502"/>
                </a:lnTo>
                <a:lnTo>
                  <a:pt x="6576" y="1500"/>
                </a:lnTo>
                <a:lnTo>
                  <a:pt x="6578" y="1500"/>
                </a:lnTo>
                <a:lnTo>
                  <a:pt x="6576" y="1504"/>
                </a:lnTo>
                <a:lnTo>
                  <a:pt x="6570" y="1506"/>
                </a:lnTo>
                <a:lnTo>
                  <a:pt x="6568" y="1508"/>
                </a:lnTo>
                <a:lnTo>
                  <a:pt x="6570" y="1512"/>
                </a:lnTo>
                <a:lnTo>
                  <a:pt x="6574" y="1514"/>
                </a:lnTo>
                <a:lnTo>
                  <a:pt x="6574" y="1516"/>
                </a:lnTo>
                <a:lnTo>
                  <a:pt x="6570" y="1520"/>
                </a:lnTo>
                <a:lnTo>
                  <a:pt x="6570" y="1524"/>
                </a:lnTo>
                <a:lnTo>
                  <a:pt x="6568" y="1524"/>
                </a:lnTo>
                <a:lnTo>
                  <a:pt x="6562" y="1526"/>
                </a:lnTo>
                <a:lnTo>
                  <a:pt x="6560" y="1526"/>
                </a:lnTo>
                <a:lnTo>
                  <a:pt x="6558" y="1524"/>
                </a:lnTo>
                <a:lnTo>
                  <a:pt x="6554" y="1520"/>
                </a:lnTo>
                <a:lnTo>
                  <a:pt x="6552" y="1516"/>
                </a:lnTo>
                <a:lnTo>
                  <a:pt x="6552" y="1514"/>
                </a:lnTo>
                <a:lnTo>
                  <a:pt x="6548" y="1514"/>
                </a:lnTo>
                <a:lnTo>
                  <a:pt x="6546" y="1516"/>
                </a:lnTo>
                <a:lnTo>
                  <a:pt x="6546" y="1518"/>
                </a:lnTo>
                <a:lnTo>
                  <a:pt x="6546" y="1520"/>
                </a:lnTo>
                <a:lnTo>
                  <a:pt x="6544" y="1520"/>
                </a:lnTo>
                <a:lnTo>
                  <a:pt x="6536" y="1522"/>
                </a:lnTo>
                <a:lnTo>
                  <a:pt x="6532" y="1524"/>
                </a:lnTo>
                <a:lnTo>
                  <a:pt x="6530" y="1528"/>
                </a:lnTo>
                <a:lnTo>
                  <a:pt x="6530" y="1530"/>
                </a:lnTo>
                <a:lnTo>
                  <a:pt x="6530" y="1534"/>
                </a:lnTo>
                <a:lnTo>
                  <a:pt x="6528" y="1536"/>
                </a:lnTo>
                <a:lnTo>
                  <a:pt x="6524" y="1538"/>
                </a:lnTo>
                <a:lnTo>
                  <a:pt x="6520" y="1538"/>
                </a:lnTo>
                <a:lnTo>
                  <a:pt x="6516" y="1540"/>
                </a:lnTo>
                <a:lnTo>
                  <a:pt x="6514" y="1544"/>
                </a:lnTo>
                <a:lnTo>
                  <a:pt x="6512" y="1552"/>
                </a:lnTo>
                <a:lnTo>
                  <a:pt x="6510" y="1556"/>
                </a:lnTo>
                <a:lnTo>
                  <a:pt x="6502" y="1562"/>
                </a:lnTo>
                <a:lnTo>
                  <a:pt x="6496" y="1566"/>
                </a:lnTo>
                <a:lnTo>
                  <a:pt x="6494" y="1570"/>
                </a:lnTo>
                <a:lnTo>
                  <a:pt x="6492" y="1572"/>
                </a:lnTo>
                <a:lnTo>
                  <a:pt x="6490" y="1576"/>
                </a:lnTo>
                <a:lnTo>
                  <a:pt x="6492" y="1578"/>
                </a:lnTo>
                <a:lnTo>
                  <a:pt x="6496" y="1576"/>
                </a:lnTo>
                <a:lnTo>
                  <a:pt x="6500" y="1574"/>
                </a:lnTo>
                <a:lnTo>
                  <a:pt x="6502" y="1574"/>
                </a:lnTo>
                <a:lnTo>
                  <a:pt x="6502" y="1576"/>
                </a:lnTo>
                <a:lnTo>
                  <a:pt x="6502" y="1578"/>
                </a:lnTo>
                <a:lnTo>
                  <a:pt x="6504" y="1580"/>
                </a:lnTo>
                <a:lnTo>
                  <a:pt x="6506" y="1582"/>
                </a:lnTo>
                <a:lnTo>
                  <a:pt x="6506" y="1584"/>
                </a:lnTo>
                <a:lnTo>
                  <a:pt x="6508" y="1586"/>
                </a:lnTo>
                <a:lnTo>
                  <a:pt x="6510" y="1588"/>
                </a:lnTo>
                <a:lnTo>
                  <a:pt x="6520" y="1586"/>
                </a:lnTo>
                <a:lnTo>
                  <a:pt x="6532" y="1582"/>
                </a:lnTo>
                <a:lnTo>
                  <a:pt x="6546" y="1572"/>
                </a:lnTo>
                <a:lnTo>
                  <a:pt x="6552" y="1566"/>
                </a:lnTo>
                <a:lnTo>
                  <a:pt x="6554" y="1564"/>
                </a:lnTo>
                <a:lnTo>
                  <a:pt x="6552" y="1562"/>
                </a:lnTo>
                <a:lnTo>
                  <a:pt x="6548" y="1562"/>
                </a:lnTo>
                <a:lnTo>
                  <a:pt x="6544" y="1562"/>
                </a:lnTo>
                <a:lnTo>
                  <a:pt x="6542" y="1562"/>
                </a:lnTo>
                <a:lnTo>
                  <a:pt x="6546" y="1560"/>
                </a:lnTo>
                <a:lnTo>
                  <a:pt x="6554" y="1554"/>
                </a:lnTo>
                <a:lnTo>
                  <a:pt x="6558" y="1552"/>
                </a:lnTo>
                <a:lnTo>
                  <a:pt x="6560" y="1552"/>
                </a:lnTo>
                <a:lnTo>
                  <a:pt x="6566" y="1552"/>
                </a:lnTo>
                <a:lnTo>
                  <a:pt x="6568" y="1554"/>
                </a:lnTo>
                <a:lnTo>
                  <a:pt x="6562" y="1558"/>
                </a:lnTo>
                <a:lnTo>
                  <a:pt x="6558" y="1560"/>
                </a:lnTo>
                <a:lnTo>
                  <a:pt x="6556" y="1562"/>
                </a:lnTo>
                <a:lnTo>
                  <a:pt x="6558" y="1564"/>
                </a:lnTo>
                <a:lnTo>
                  <a:pt x="6564" y="1566"/>
                </a:lnTo>
                <a:lnTo>
                  <a:pt x="6568" y="1568"/>
                </a:lnTo>
                <a:lnTo>
                  <a:pt x="6564" y="1570"/>
                </a:lnTo>
                <a:lnTo>
                  <a:pt x="6544" y="1580"/>
                </a:lnTo>
                <a:lnTo>
                  <a:pt x="6538" y="1584"/>
                </a:lnTo>
                <a:lnTo>
                  <a:pt x="6540" y="1584"/>
                </a:lnTo>
                <a:lnTo>
                  <a:pt x="6542" y="1584"/>
                </a:lnTo>
                <a:lnTo>
                  <a:pt x="6542" y="1586"/>
                </a:lnTo>
                <a:lnTo>
                  <a:pt x="6540" y="1588"/>
                </a:lnTo>
                <a:lnTo>
                  <a:pt x="6544" y="1590"/>
                </a:lnTo>
                <a:lnTo>
                  <a:pt x="6546" y="1592"/>
                </a:lnTo>
                <a:lnTo>
                  <a:pt x="6544" y="1594"/>
                </a:lnTo>
                <a:lnTo>
                  <a:pt x="6538" y="1594"/>
                </a:lnTo>
                <a:lnTo>
                  <a:pt x="6528" y="1592"/>
                </a:lnTo>
                <a:lnTo>
                  <a:pt x="6520" y="1592"/>
                </a:lnTo>
                <a:lnTo>
                  <a:pt x="6514" y="1594"/>
                </a:lnTo>
                <a:lnTo>
                  <a:pt x="6510" y="1596"/>
                </a:lnTo>
                <a:lnTo>
                  <a:pt x="6506" y="1600"/>
                </a:lnTo>
                <a:lnTo>
                  <a:pt x="6506" y="1598"/>
                </a:lnTo>
                <a:lnTo>
                  <a:pt x="6506" y="1594"/>
                </a:lnTo>
                <a:lnTo>
                  <a:pt x="6502" y="1586"/>
                </a:lnTo>
                <a:lnTo>
                  <a:pt x="6498" y="1580"/>
                </a:lnTo>
                <a:lnTo>
                  <a:pt x="6494" y="1580"/>
                </a:lnTo>
                <a:lnTo>
                  <a:pt x="6490" y="1582"/>
                </a:lnTo>
                <a:lnTo>
                  <a:pt x="6484" y="1584"/>
                </a:lnTo>
                <a:lnTo>
                  <a:pt x="6480" y="1586"/>
                </a:lnTo>
                <a:lnTo>
                  <a:pt x="6478" y="1586"/>
                </a:lnTo>
                <a:lnTo>
                  <a:pt x="6476" y="1590"/>
                </a:lnTo>
                <a:lnTo>
                  <a:pt x="6476" y="1594"/>
                </a:lnTo>
                <a:lnTo>
                  <a:pt x="6474" y="1592"/>
                </a:lnTo>
                <a:lnTo>
                  <a:pt x="6468" y="1590"/>
                </a:lnTo>
                <a:lnTo>
                  <a:pt x="6462" y="1592"/>
                </a:lnTo>
                <a:lnTo>
                  <a:pt x="6446" y="1598"/>
                </a:lnTo>
                <a:lnTo>
                  <a:pt x="6444" y="1600"/>
                </a:lnTo>
                <a:lnTo>
                  <a:pt x="6444" y="1602"/>
                </a:lnTo>
                <a:lnTo>
                  <a:pt x="6450" y="1606"/>
                </a:lnTo>
                <a:lnTo>
                  <a:pt x="6452" y="1608"/>
                </a:lnTo>
                <a:lnTo>
                  <a:pt x="6454" y="1610"/>
                </a:lnTo>
                <a:lnTo>
                  <a:pt x="6450" y="1612"/>
                </a:lnTo>
                <a:lnTo>
                  <a:pt x="6444" y="1612"/>
                </a:lnTo>
                <a:lnTo>
                  <a:pt x="6438" y="1614"/>
                </a:lnTo>
                <a:lnTo>
                  <a:pt x="6436" y="1614"/>
                </a:lnTo>
                <a:lnTo>
                  <a:pt x="6436" y="1616"/>
                </a:lnTo>
                <a:lnTo>
                  <a:pt x="6438" y="1618"/>
                </a:lnTo>
                <a:lnTo>
                  <a:pt x="6440" y="1620"/>
                </a:lnTo>
                <a:lnTo>
                  <a:pt x="6432" y="1618"/>
                </a:lnTo>
                <a:lnTo>
                  <a:pt x="6424" y="1616"/>
                </a:lnTo>
                <a:lnTo>
                  <a:pt x="6426" y="1618"/>
                </a:lnTo>
                <a:lnTo>
                  <a:pt x="6428" y="1622"/>
                </a:lnTo>
                <a:lnTo>
                  <a:pt x="6428" y="1624"/>
                </a:lnTo>
                <a:lnTo>
                  <a:pt x="6424" y="1624"/>
                </a:lnTo>
                <a:lnTo>
                  <a:pt x="6412" y="1626"/>
                </a:lnTo>
                <a:lnTo>
                  <a:pt x="6402" y="1624"/>
                </a:lnTo>
                <a:lnTo>
                  <a:pt x="6394" y="1624"/>
                </a:lnTo>
                <a:lnTo>
                  <a:pt x="6388" y="1624"/>
                </a:lnTo>
                <a:lnTo>
                  <a:pt x="6386" y="1628"/>
                </a:lnTo>
                <a:lnTo>
                  <a:pt x="6388" y="1632"/>
                </a:lnTo>
                <a:lnTo>
                  <a:pt x="6388" y="1634"/>
                </a:lnTo>
                <a:lnTo>
                  <a:pt x="6392" y="1636"/>
                </a:lnTo>
                <a:lnTo>
                  <a:pt x="6396" y="1638"/>
                </a:lnTo>
                <a:lnTo>
                  <a:pt x="6404" y="1638"/>
                </a:lnTo>
                <a:lnTo>
                  <a:pt x="6410" y="1636"/>
                </a:lnTo>
                <a:lnTo>
                  <a:pt x="6410" y="1638"/>
                </a:lnTo>
                <a:lnTo>
                  <a:pt x="6406" y="1642"/>
                </a:lnTo>
                <a:lnTo>
                  <a:pt x="6404" y="1646"/>
                </a:lnTo>
                <a:lnTo>
                  <a:pt x="6406" y="1648"/>
                </a:lnTo>
                <a:lnTo>
                  <a:pt x="6408" y="1652"/>
                </a:lnTo>
                <a:lnTo>
                  <a:pt x="6402" y="1650"/>
                </a:lnTo>
                <a:lnTo>
                  <a:pt x="6388" y="1646"/>
                </a:lnTo>
                <a:lnTo>
                  <a:pt x="6380" y="1646"/>
                </a:lnTo>
                <a:lnTo>
                  <a:pt x="6370" y="1648"/>
                </a:lnTo>
                <a:lnTo>
                  <a:pt x="6362" y="1650"/>
                </a:lnTo>
                <a:lnTo>
                  <a:pt x="6360" y="1652"/>
                </a:lnTo>
                <a:lnTo>
                  <a:pt x="6362" y="1654"/>
                </a:lnTo>
                <a:lnTo>
                  <a:pt x="6366" y="1654"/>
                </a:lnTo>
                <a:lnTo>
                  <a:pt x="6378" y="1656"/>
                </a:lnTo>
                <a:lnTo>
                  <a:pt x="6384" y="1658"/>
                </a:lnTo>
                <a:lnTo>
                  <a:pt x="6386" y="1662"/>
                </a:lnTo>
                <a:lnTo>
                  <a:pt x="6388" y="1666"/>
                </a:lnTo>
                <a:lnTo>
                  <a:pt x="6384" y="1664"/>
                </a:lnTo>
                <a:lnTo>
                  <a:pt x="6382" y="1662"/>
                </a:lnTo>
                <a:lnTo>
                  <a:pt x="6376" y="1662"/>
                </a:lnTo>
                <a:lnTo>
                  <a:pt x="6368" y="1662"/>
                </a:lnTo>
                <a:lnTo>
                  <a:pt x="6360" y="1664"/>
                </a:lnTo>
                <a:lnTo>
                  <a:pt x="6352" y="1668"/>
                </a:lnTo>
                <a:lnTo>
                  <a:pt x="6348" y="1670"/>
                </a:lnTo>
                <a:lnTo>
                  <a:pt x="6348" y="1672"/>
                </a:lnTo>
                <a:lnTo>
                  <a:pt x="6348" y="1674"/>
                </a:lnTo>
                <a:lnTo>
                  <a:pt x="6348" y="1676"/>
                </a:lnTo>
                <a:lnTo>
                  <a:pt x="6342" y="1676"/>
                </a:lnTo>
                <a:lnTo>
                  <a:pt x="6338" y="1674"/>
                </a:lnTo>
                <a:lnTo>
                  <a:pt x="6336" y="1676"/>
                </a:lnTo>
                <a:lnTo>
                  <a:pt x="6338" y="1678"/>
                </a:lnTo>
                <a:lnTo>
                  <a:pt x="6338" y="1680"/>
                </a:lnTo>
                <a:lnTo>
                  <a:pt x="6330" y="1680"/>
                </a:lnTo>
                <a:lnTo>
                  <a:pt x="6314" y="1678"/>
                </a:lnTo>
                <a:lnTo>
                  <a:pt x="6312" y="1678"/>
                </a:lnTo>
                <a:lnTo>
                  <a:pt x="6316" y="1684"/>
                </a:lnTo>
                <a:lnTo>
                  <a:pt x="6318" y="1686"/>
                </a:lnTo>
                <a:lnTo>
                  <a:pt x="6316" y="1686"/>
                </a:lnTo>
                <a:lnTo>
                  <a:pt x="6312" y="1686"/>
                </a:lnTo>
                <a:lnTo>
                  <a:pt x="6306" y="1686"/>
                </a:lnTo>
                <a:lnTo>
                  <a:pt x="6306" y="1688"/>
                </a:lnTo>
                <a:lnTo>
                  <a:pt x="6308" y="1690"/>
                </a:lnTo>
                <a:lnTo>
                  <a:pt x="6312" y="1692"/>
                </a:lnTo>
                <a:lnTo>
                  <a:pt x="6318" y="1694"/>
                </a:lnTo>
                <a:lnTo>
                  <a:pt x="6330" y="1694"/>
                </a:lnTo>
                <a:lnTo>
                  <a:pt x="6344" y="1694"/>
                </a:lnTo>
                <a:lnTo>
                  <a:pt x="6350" y="1696"/>
                </a:lnTo>
                <a:lnTo>
                  <a:pt x="6358" y="1698"/>
                </a:lnTo>
                <a:lnTo>
                  <a:pt x="6366" y="1702"/>
                </a:lnTo>
                <a:lnTo>
                  <a:pt x="6364" y="1702"/>
                </a:lnTo>
                <a:lnTo>
                  <a:pt x="6356" y="1702"/>
                </a:lnTo>
                <a:lnTo>
                  <a:pt x="6352" y="1702"/>
                </a:lnTo>
                <a:lnTo>
                  <a:pt x="6350" y="1702"/>
                </a:lnTo>
                <a:lnTo>
                  <a:pt x="6346" y="1704"/>
                </a:lnTo>
                <a:lnTo>
                  <a:pt x="6344" y="1702"/>
                </a:lnTo>
                <a:lnTo>
                  <a:pt x="6338" y="1698"/>
                </a:lnTo>
                <a:lnTo>
                  <a:pt x="6334" y="1696"/>
                </a:lnTo>
                <a:lnTo>
                  <a:pt x="6328" y="1696"/>
                </a:lnTo>
                <a:lnTo>
                  <a:pt x="6322" y="1698"/>
                </a:lnTo>
                <a:lnTo>
                  <a:pt x="6314" y="1702"/>
                </a:lnTo>
                <a:lnTo>
                  <a:pt x="6308" y="1706"/>
                </a:lnTo>
                <a:lnTo>
                  <a:pt x="6306" y="1710"/>
                </a:lnTo>
                <a:lnTo>
                  <a:pt x="6308" y="1714"/>
                </a:lnTo>
                <a:lnTo>
                  <a:pt x="6312" y="1716"/>
                </a:lnTo>
                <a:lnTo>
                  <a:pt x="6316" y="1720"/>
                </a:lnTo>
                <a:lnTo>
                  <a:pt x="6316" y="1722"/>
                </a:lnTo>
                <a:lnTo>
                  <a:pt x="6312" y="1724"/>
                </a:lnTo>
                <a:lnTo>
                  <a:pt x="6306" y="1728"/>
                </a:lnTo>
                <a:lnTo>
                  <a:pt x="6308" y="1730"/>
                </a:lnTo>
                <a:lnTo>
                  <a:pt x="6312" y="1732"/>
                </a:lnTo>
                <a:lnTo>
                  <a:pt x="6312" y="1734"/>
                </a:lnTo>
                <a:lnTo>
                  <a:pt x="6312" y="1736"/>
                </a:lnTo>
                <a:lnTo>
                  <a:pt x="6310" y="1738"/>
                </a:lnTo>
                <a:lnTo>
                  <a:pt x="6310" y="1740"/>
                </a:lnTo>
                <a:lnTo>
                  <a:pt x="6310" y="1744"/>
                </a:lnTo>
                <a:lnTo>
                  <a:pt x="6312" y="1746"/>
                </a:lnTo>
                <a:lnTo>
                  <a:pt x="6316" y="1748"/>
                </a:lnTo>
                <a:lnTo>
                  <a:pt x="6320" y="1748"/>
                </a:lnTo>
                <a:lnTo>
                  <a:pt x="6326" y="1748"/>
                </a:lnTo>
                <a:lnTo>
                  <a:pt x="6332" y="1744"/>
                </a:lnTo>
                <a:lnTo>
                  <a:pt x="6338" y="1742"/>
                </a:lnTo>
                <a:lnTo>
                  <a:pt x="6344" y="1742"/>
                </a:lnTo>
                <a:lnTo>
                  <a:pt x="6354" y="1744"/>
                </a:lnTo>
                <a:lnTo>
                  <a:pt x="6362" y="1744"/>
                </a:lnTo>
                <a:lnTo>
                  <a:pt x="6366" y="1744"/>
                </a:lnTo>
                <a:lnTo>
                  <a:pt x="6368" y="1740"/>
                </a:lnTo>
                <a:lnTo>
                  <a:pt x="6370" y="1736"/>
                </a:lnTo>
                <a:lnTo>
                  <a:pt x="6372" y="1736"/>
                </a:lnTo>
                <a:lnTo>
                  <a:pt x="6376" y="1738"/>
                </a:lnTo>
                <a:lnTo>
                  <a:pt x="6384" y="1742"/>
                </a:lnTo>
                <a:lnTo>
                  <a:pt x="6388" y="1742"/>
                </a:lnTo>
                <a:lnTo>
                  <a:pt x="6394" y="1742"/>
                </a:lnTo>
                <a:lnTo>
                  <a:pt x="6404" y="1742"/>
                </a:lnTo>
                <a:lnTo>
                  <a:pt x="6410" y="1742"/>
                </a:lnTo>
                <a:lnTo>
                  <a:pt x="6408" y="1744"/>
                </a:lnTo>
                <a:lnTo>
                  <a:pt x="6400" y="1746"/>
                </a:lnTo>
                <a:lnTo>
                  <a:pt x="6394" y="1748"/>
                </a:lnTo>
                <a:lnTo>
                  <a:pt x="6392" y="1752"/>
                </a:lnTo>
                <a:lnTo>
                  <a:pt x="6392" y="1754"/>
                </a:lnTo>
                <a:lnTo>
                  <a:pt x="6392" y="1756"/>
                </a:lnTo>
                <a:lnTo>
                  <a:pt x="6392" y="1758"/>
                </a:lnTo>
                <a:lnTo>
                  <a:pt x="6384" y="1750"/>
                </a:lnTo>
                <a:lnTo>
                  <a:pt x="6378" y="1746"/>
                </a:lnTo>
                <a:lnTo>
                  <a:pt x="6374" y="1744"/>
                </a:lnTo>
                <a:lnTo>
                  <a:pt x="6372" y="1746"/>
                </a:lnTo>
                <a:lnTo>
                  <a:pt x="6370" y="1748"/>
                </a:lnTo>
                <a:lnTo>
                  <a:pt x="6366" y="1750"/>
                </a:lnTo>
                <a:lnTo>
                  <a:pt x="6364" y="1752"/>
                </a:lnTo>
                <a:lnTo>
                  <a:pt x="6360" y="1750"/>
                </a:lnTo>
                <a:lnTo>
                  <a:pt x="6356" y="1748"/>
                </a:lnTo>
                <a:lnTo>
                  <a:pt x="6350" y="1748"/>
                </a:lnTo>
                <a:lnTo>
                  <a:pt x="6340" y="1750"/>
                </a:lnTo>
                <a:lnTo>
                  <a:pt x="6330" y="1754"/>
                </a:lnTo>
                <a:lnTo>
                  <a:pt x="6324" y="1754"/>
                </a:lnTo>
                <a:lnTo>
                  <a:pt x="6320" y="1754"/>
                </a:lnTo>
                <a:lnTo>
                  <a:pt x="6310" y="1752"/>
                </a:lnTo>
                <a:lnTo>
                  <a:pt x="6310" y="1754"/>
                </a:lnTo>
                <a:lnTo>
                  <a:pt x="6310" y="1760"/>
                </a:lnTo>
                <a:lnTo>
                  <a:pt x="6310" y="1764"/>
                </a:lnTo>
                <a:lnTo>
                  <a:pt x="6312" y="1764"/>
                </a:lnTo>
                <a:lnTo>
                  <a:pt x="6316" y="1766"/>
                </a:lnTo>
                <a:lnTo>
                  <a:pt x="6320" y="1766"/>
                </a:lnTo>
                <a:lnTo>
                  <a:pt x="6322" y="1768"/>
                </a:lnTo>
                <a:lnTo>
                  <a:pt x="6322" y="1770"/>
                </a:lnTo>
                <a:lnTo>
                  <a:pt x="6322" y="1774"/>
                </a:lnTo>
                <a:lnTo>
                  <a:pt x="6320" y="1774"/>
                </a:lnTo>
                <a:lnTo>
                  <a:pt x="6314" y="1772"/>
                </a:lnTo>
                <a:lnTo>
                  <a:pt x="6310" y="1770"/>
                </a:lnTo>
                <a:lnTo>
                  <a:pt x="6308" y="1772"/>
                </a:lnTo>
                <a:lnTo>
                  <a:pt x="6310" y="1774"/>
                </a:lnTo>
                <a:lnTo>
                  <a:pt x="6312" y="1778"/>
                </a:lnTo>
                <a:lnTo>
                  <a:pt x="6314" y="1780"/>
                </a:lnTo>
                <a:lnTo>
                  <a:pt x="6318" y="1780"/>
                </a:lnTo>
                <a:lnTo>
                  <a:pt x="6322" y="1780"/>
                </a:lnTo>
                <a:lnTo>
                  <a:pt x="6324" y="1782"/>
                </a:lnTo>
                <a:lnTo>
                  <a:pt x="6324" y="1786"/>
                </a:lnTo>
                <a:lnTo>
                  <a:pt x="6322" y="1790"/>
                </a:lnTo>
                <a:lnTo>
                  <a:pt x="6320" y="1792"/>
                </a:lnTo>
                <a:lnTo>
                  <a:pt x="6314" y="1796"/>
                </a:lnTo>
                <a:lnTo>
                  <a:pt x="6310" y="1798"/>
                </a:lnTo>
                <a:lnTo>
                  <a:pt x="6320" y="1808"/>
                </a:lnTo>
                <a:lnTo>
                  <a:pt x="6324" y="1810"/>
                </a:lnTo>
                <a:lnTo>
                  <a:pt x="6328" y="1806"/>
                </a:lnTo>
                <a:lnTo>
                  <a:pt x="6330" y="1806"/>
                </a:lnTo>
                <a:lnTo>
                  <a:pt x="6332" y="1808"/>
                </a:lnTo>
                <a:lnTo>
                  <a:pt x="6334" y="1810"/>
                </a:lnTo>
                <a:lnTo>
                  <a:pt x="6336" y="1810"/>
                </a:lnTo>
                <a:lnTo>
                  <a:pt x="6338" y="1808"/>
                </a:lnTo>
                <a:lnTo>
                  <a:pt x="6338" y="1814"/>
                </a:lnTo>
                <a:lnTo>
                  <a:pt x="6338" y="1818"/>
                </a:lnTo>
                <a:lnTo>
                  <a:pt x="6338" y="1820"/>
                </a:lnTo>
                <a:lnTo>
                  <a:pt x="6340" y="1820"/>
                </a:lnTo>
                <a:lnTo>
                  <a:pt x="6342" y="1818"/>
                </a:lnTo>
                <a:lnTo>
                  <a:pt x="6344" y="1816"/>
                </a:lnTo>
                <a:lnTo>
                  <a:pt x="6344" y="1812"/>
                </a:lnTo>
                <a:lnTo>
                  <a:pt x="6346" y="1806"/>
                </a:lnTo>
                <a:lnTo>
                  <a:pt x="6348" y="1804"/>
                </a:lnTo>
                <a:lnTo>
                  <a:pt x="6350" y="1802"/>
                </a:lnTo>
                <a:lnTo>
                  <a:pt x="6352" y="1804"/>
                </a:lnTo>
                <a:lnTo>
                  <a:pt x="6354" y="1806"/>
                </a:lnTo>
                <a:lnTo>
                  <a:pt x="6350" y="1812"/>
                </a:lnTo>
                <a:lnTo>
                  <a:pt x="6346" y="1820"/>
                </a:lnTo>
                <a:lnTo>
                  <a:pt x="6338" y="1826"/>
                </a:lnTo>
                <a:lnTo>
                  <a:pt x="6336" y="1828"/>
                </a:lnTo>
                <a:lnTo>
                  <a:pt x="6334" y="1828"/>
                </a:lnTo>
                <a:lnTo>
                  <a:pt x="6338" y="1832"/>
                </a:lnTo>
                <a:lnTo>
                  <a:pt x="6342" y="1834"/>
                </a:lnTo>
                <a:lnTo>
                  <a:pt x="6342" y="1836"/>
                </a:lnTo>
                <a:lnTo>
                  <a:pt x="6340" y="1838"/>
                </a:lnTo>
                <a:lnTo>
                  <a:pt x="6336" y="1840"/>
                </a:lnTo>
                <a:lnTo>
                  <a:pt x="6334" y="1840"/>
                </a:lnTo>
                <a:lnTo>
                  <a:pt x="6332" y="1840"/>
                </a:lnTo>
                <a:lnTo>
                  <a:pt x="6328" y="1838"/>
                </a:lnTo>
                <a:lnTo>
                  <a:pt x="6320" y="1844"/>
                </a:lnTo>
                <a:lnTo>
                  <a:pt x="6318" y="1848"/>
                </a:lnTo>
                <a:lnTo>
                  <a:pt x="6316" y="1852"/>
                </a:lnTo>
                <a:lnTo>
                  <a:pt x="6316" y="1858"/>
                </a:lnTo>
                <a:lnTo>
                  <a:pt x="6318" y="1862"/>
                </a:lnTo>
                <a:lnTo>
                  <a:pt x="6324" y="1866"/>
                </a:lnTo>
                <a:lnTo>
                  <a:pt x="6328" y="1866"/>
                </a:lnTo>
                <a:lnTo>
                  <a:pt x="6330" y="1864"/>
                </a:lnTo>
                <a:lnTo>
                  <a:pt x="6330" y="1862"/>
                </a:lnTo>
                <a:lnTo>
                  <a:pt x="6332" y="1862"/>
                </a:lnTo>
                <a:lnTo>
                  <a:pt x="6336" y="1864"/>
                </a:lnTo>
                <a:lnTo>
                  <a:pt x="6338" y="1864"/>
                </a:lnTo>
                <a:lnTo>
                  <a:pt x="6340" y="1862"/>
                </a:lnTo>
                <a:lnTo>
                  <a:pt x="6342" y="1858"/>
                </a:lnTo>
                <a:lnTo>
                  <a:pt x="6344" y="1858"/>
                </a:lnTo>
                <a:lnTo>
                  <a:pt x="6348" y="1858"/>
                </a:lnTo>
                <a:lnTo>
                  <a:pt x="6350" y="1862"/>
                </a:lnTo>
                <a:lnTo>
                  <a:pt x="6348" y="1864"/>
                </a:lnTo>
                <a:lnTo>
                  <a:pt x="6346" y="1866"/>
                </a:lnTo>
                <a:lnTo>
                  <a:pt x="6344" y="1868"/>
                </a:lnTo>
                <a:lnTo>
                  <a:pt x="6346" y="1870"/>
                </a:lnTo>
                <a:lnTo>
                  <a:pt x="6348" y="1872"/>
                </a:lnTo>
                <a:lnTo>
                  <a:pt x="6346" y="1876"/>
                </a:lnTo>
                <a:lnTo>
                  <a:pt x="6344" y="1878"/>
                </a:lnTo>
                <a:lnTo>
                  <a:pt x="6346" y="1882"/>
                </a:lnTo>
                <a:lnTo>
                  <a:pt x="6348" y="1884"/>
                </a:lnTo>
                <a:lnTo>
                  <a:pt x="6346" y="1886"/>
                </a:lnTo>
                <a:lnTo>
                  <a:pt x="6342" y="1888"/>
                </a:lnTo>
                <a:lnTo>
                  <a:pt x="6338" y="1890"/>
                </a:lnTo>
                <a:lnTo>
                  <a:pt x="6336" y="1888"/>
                </a:lnTo>
                <a:lnTo>
                  <a:pt x="6332" y="1884"/>
                </a:lnTo>
                <a:lnTo>
                  <a:pt x="6330" y="1884"/>
                </a:lnTo>
                <a:lnTo>
                  <a:pt x="6328" y="1892"/>
                </a:lnTo>
                <a:lnTo>
                  <a:pt x="6326" y="1904"/>
                </a:lnTo>
                <a:lnTo>
                  <a:pt x="6330" y="1910"/>
                </a:lnTo>
                <a:lnTo>
                  <a:pt x="6338" y="1916"/>
                </a:lnTo>
                <a:lnTo>
                  <a:pt x="6342" y="1918"/>
                </a:lnTo>
                <a:lnTo>
                  <a:pt x="6346" y="1918"/>
                </a:lnTo>
                <a:lnTo>
                  <a:pt x="6348" y="1920"/>
                </a:lnTo>
                <a:lnTo>
                  <a:pt x="6352" y="1926"/>
                </a:lnTo>
                <a:lnTo>
                  <a:pt x="6358" y="1928"/>
                </a:lnTo>
                <a:lnTo>
                  <a:pt x="6372" y="1934"/>
                </a:lnTo>
                <a:lnTo>
                  <a:pt x="6374" y="1936"/>
                </a:lnTo>
                <a:lnTo>
                  <a:pt x="6374" y="1938"/>
                </a:lnTo>
                <a:lnTo>
                  <a:pt x="6372" y="1940"/>
                </a:lnTo>
                <a:lnTo>
                  <a:pt x="6372" y="1942"/>
                </a:lnTo>
                <a:lnTo>
                  <a:pt x="6374" y="1944"/>
                </a:lnTo>
                <a:lnTo>
                  <a:pt x="6376" y="1946"/>
                </a:lnTo>
                <a:lnTo>
                  <a:pt x="6378" y="1944"/>
                </a:lnTo>
                <a:lnTo>
                  <a:pt x="6380" y="1942"/>
                </a:lnTo>
                <a:lnTo>
                  <a:pt x="6384" y="1944"/>
                </a:lnTo>
                <a:lnTo>
                  <a:pt x="6390" y="1946"/>
                </a:lnTo>
                <a:lnTo>
                  <a:pt x="6390" y="1948"/>
                </a:lnTo>
                <a:lnTo>
                  <a:pt x="6390" y="1950"/>
                </a:lnTo>
                <a:lnTo>
                  <a:pt x="6394" y="1948"/>
                </a:lnTo>
                <a:lnTo>
                  <a:pt x="6404" y="1946"/>
                </a:lnTo>
                <a:lnTo>
                  <a:pt x="6418" y="1944"/>
                </a:lnTo>
                <a:lnTo>
                  <a:pt x="6430" y="1942"/>
                </a:lnTo>
                <a:lnTo>
                  <a:pt x="6436" y="1940"/>
                </a:lnTo>
                <a:lnTo>
                  <a:pt x="6440" y="1938"/>
                </a:lnTo>
                <a:lnTo>
                  <a:pt x="6444" y="1934"/>
                </a:lnTo>
                <a:lnTo>
                  <a:pt x="6452" y="1930"/>
                </a:lnTo>
                <a:lnTo>
                  <a:pt x="6458" y="1926"/>
                </a:lnTo>
                <a:lnTo>
                  <a:pt x="6464" y="1918"/>
                </a:lnTo>
                <a:lnTo>
                  <a:pt x="6466" y="1914"/>
                </a:lnTo>
                <a:lnTo>
                  <a:pt x="6470" y="1912"/>
                </a:lnTo>
                <a:lnTo>
                  <a:pt x="6474" y="1910"/>
                </a:lnTo>
                <a:lnTo>
                  <a:pt x="6478" y="1910"/>
                </a:lnTo>
                <a:lnTo>
                  <a:pt x="6478" y="1906"/>
                </a:lnTo>
                <a:lnTo>
                  <a:pt x="6478" y="1904"/>
                </a:lnTo>
                <a:lnTo>
                  <a:pt x="6480" y="1902"/>
                </a:lnTo>
                <a:lnTo>
                  <a:pt x="6484" y="1902"/>
                </a:lnTo>
                <a:lnTo>
                  <a:pt x="6488" y="1900"/>
                </a:lnTo>
                <a:lnTo>
                  <a:pt x="6488" y="1898"/>
                </a:lnTo>
                <a:lnTo>
                  <a:pt x="6486" y="1896"/>
                </a:lnTo>
                <a:lnTo>
                  <a:pt x="6482" y="1894"/>
                </a:lnTo>
                <a:lnTo>
                  <a:pt x="6482" y="1892"/>
                </a:lnTo>
                <a:lnTo>
                  <a:pt x="6488" y="1892"/>
                </a:lnTo>
                <a:lnTo>
                  <a:pt x="6494" y="1890"/>
                </a:lnTo>
                <a:lnTo>
                  <a:pt x="6496" y="1888"/>
                </a:lnTo>
                <a:lnTo>
                  <a:pt x="6496" y="1884"/>
                </a:lnTo>
                <a:lnTo>
                  <a:pt x="6498" y="1880"/>
                </a:lnTo>
                <a:lnTo>
                  <a:pt x="6500" y="1882"/>
                </a:lnTo>
                <a:lnTo>
                  <a:pt x="6504" y="1886"/>
                </a:lnTo>
                <a:lnTo>
                  <a:pt x="6506" y="1886"/>
                </a:lnTo>
                <a:lnTo>
                  <a:pt x="6508" y="1886"/>
                </a:lnTo>
                <a:lnTo>
                  <a:pt x="6514" y="1884"/>
                </a:lnTo>
                <a:lnTo>
                  <a:pt x="6518" y="1884"/>
                </a:lnTo>
                <a:lnTo>
                  <a:pt x="6522" y="1882"/>
                </a:lnTo>
                <a:lnTo>
                  <a:pt x="6522" y="1876"/>
                </a:lnTo>
                <a:lnTo>
                  <a:pt x="6524" y="1872"/>
                </a:lnTo>
                <a:lnTo>
                  <a:pt x="6524" y="1870"/>
                </a:lnTo>
                <a:lnTo>
                  <a:pt x="6528" y="1866"/>
                </a:lnTo>
                <a:lnTo>
                  <a:pt x="6530" y="1866"/>
                </a:lnTo>
                <a:lnTo>
                  <a:pt x="6530" y="1864"/>
                </a:lnTo>
                <a:lnTo>
                  <a:pt x="6528" y="1858"/>
                </a:lnTo>
                <a:lnTo>
                  <a:pt x="6524" y="1854"/>
                </a:lnTo>
                <a:lnTo>
                  <a:pt x="6522" y="1848"/>
                </a:lnTo>
                <a:lnTo>
                  <a:pt x="6524" y="1846"/>
                </a:lnTo>
                <a:lnTo>
                  <a:pt x="6528" y="1848"/>
                </a:lnTo>
                <a:lnTo>
                  <a:pt x="6530" y="1850"/>
                </a:lnTo>
                <a:lnTo>
                  <a:pt x="6532" y="1850"/>
                </a:lnTo>
                <a:lnTo>
                  <a:pt x="6534" y="1848"/>
                </a:lnTo>
                <a:lnTo>
                  <a:pt x="6536" y="1846"/>
                </a:lnTo>
                <a:lnTo>
                  <a:pt x="6536" y="1848"/>
                </a:lnTo>
                <a:lnTo>
                  <a:pt x="6536" y="1852"/>
                </a:lnTo>
                <a:lnTo>
                  <a:pt x="6534" y="1854"/>
                </a:lnTo>
                <a:lnTo>
                  <a:pt x="6534" y="1856"/>
                </a:lnTo>
                <a:lnTo>
                  <a:pt x="6536" y="1860"/>
                </a:lnTo>
                <a:lnTo>
                  <a:pt x="6540" y="1864"/>
                </a:lnTo>
                <a:lnTo>
                  <a:pt x="6540" y="1870"/>
                </a:lnTo>
                <a:lnTo>
                  <a:pt x="6540" y="1872"/>
                </a:lnTo>
                <a:lnTo>
                  <a:pt x="6546" y="1874"/>
                </a:lnTo>
                <a:lnTo>
                  <a:pt x="6550" y="1874"/>
                </a:lnTo>
                <a:lnTo>
                  <a:pt x="6554" y="1876"/>
                </a:lnTo>
                <a:lnTo>
                  <a:pt x="6560" y="1878"/>
                </a:lnTo>
                <a:lnTo>
                  <a:pt x="6558" y="1880"/>
                </a:lnTo>
                <a:lnTo>
                  <a:pt x="6558" y="1884"/>
                </a:lnTo>
                <a:lnTo>
                  <a:pt x="6556" y="1888"/>
                </a:lnTo>
                <a:lnTo>
                  <a:pt x="6558" y="1894"/>
                </a:lnTo>
                <a:lnTo>
                  <a:pt x="6560" y="1902"/>
                </a:lnTo>
                <a:lnTo>
                  <a:pt x="6560" y="1910"/>
                </a:lnTo>
                <a:lnTo>
                  <a:pt x="6560" y="1920"/>
                </a:lnTo>
                <a:lnTo>
                  <a:pt x="6560" y="1924"/>
                </a:lnTo>
                <a:lnTo>
                  <a:pt x="6564" y="1930"/>
                </a:lnTo>
                <a:lnTo>
                  <a:pt x="6566" y="1932"/>
                </a:lnTo>
                <a:lnTo>
                  <a:pt x="6570" y="1934"/>
                </a:lnTo>
                <a:lnTo>
                  <a:pt x="6576" y="1930"/>
                </a:lnTo>
                <a:lnTo>
                  <a:pt x="6580" y="1928"/>
                </a:lnTo>
                <a:lnTo>
                  <a:pt x="6582" y="1928"/>
                </a:lnTo>
                <a:lnTo>
                  <a:pt x="6584" y="1932"/>
                </a:lnTo>
                <a:lnTo>
                  <a:pt x="6586" y="1936"/>
                </a:lnTo>
                <a:lnTo>
                  <a:pt x="6586" y="1940"/>
                </a:lnTo>
                <a:lnTo>
                  <a:pt x="6584" y="1946"/>
                </a:lnTo>
                <a:lnTo>
                  <a:pt x="6582" y="1954"/>
                </a:lnTo>
                <a:lnTo>
                  <a:pt x="6582" y="1960"/>
                </a:lnTo>
                <a:lnTo>
                  <a:pt x="6584" y="1968"/>
                </a:lnTo>
                <a:lnTo>
                  <a:pt x="6592" y="1988"/>
                </a:lnTo>
                <a:lnTo>
                  <a:pt x="6602" y="2010"/>
                </a:lnTo>
                <a:lnTo>
                  <a:pt x="6612" y="2028"/>
                </a:lnTo>
                <a:lnTo>
                  <a:pt x="6618" y="2032"/>
                </a:lnTo>
                <a:lnTo>
                  <a:pt x="6622" y="2034"/>
                </a:lnTo>
                <a:lnTo>
                  <a:pt x="6628" y="2034"/>
                </a:lnTo>
                <a:lnTo>
                  <a:pt x="6628" y="2036"/>
                </a:lnTo>
                <a:lnTo>
                  <a:pt x="6630" y="2038"/>
                </a:lnTo>
                <a:lnTo>
                  <a:pt x="6626" y="2042"/>
                </a:lnTo>
                <a:lnTo>
                  <a:pt x="6620" y="2046"/>
                </a:lnTo>
                <a:lnTo>
                  <a:pt x="6618" y="2048"/>
                </a:lnTo>
                <a:lnTo>
                  <a:pt x="6618" y="2050"/>
                </a:lnTo>
                <a:lnTo>
                  <a:pt x="6620" y="2056"/>
                </a:lnTo>
                <a:lnTo>
                  <a:pt x="6622" y="2060"/>
                </a:lnTo>
                <a:lnTo>
                  <a:pt x="6616" y="2058"/>
                </a:lnTo>
                <a:lnTo>
                  <a:pt x="6610" y="2056"/>
                </a:lnTo>
                <a:lnTo>
                  <a:pt x="6610" y="2058"/>
                </a:lnTo>
                <a:lnTo>
                  <a:pt x="6618" y="2068"/>
                </a:lnTo>
                <a:lnTo>
                  <a:pt x="6624" y="2076"/>
                </a:lnTo>
                <a:lnTo>
                  <a:pt x="6628" y="2086"/>
                </a:lnTo>
                <a:lnTo>
                  <a:pt x="6630" y="2094"/>
                </a:lnTo>
                <a:lnTo>
                  <a:pt x="6630" y="2098"/>
                </a:lnTo>
                <a:lnTo>
                  <a:pt x="6628" y="2104"/>
                </a:lnTo>
                <a:lnTo>
                  <a:pt x="6626" y="2110"/>
                </a:lnTo>
                <a:lnTo>
                  <a:pt x="6626" y="2114"/>
                </a:lnTo>
                <a:lnTo>
                  <a:pt x="6632" y="2116"/>
                </a:lnTo>
                <a:lnTo>
                  <a:pt x="6638" y="2114"/>
                </a:lnTo>
                <a:lnTo>
                  <a:pt x="6656" y="2112"/>
                </a:lnTo>
                <a:lnTo>
                  <a:pt x="6666" y="2112"/>
                </a:lnTo>
                <a:lnTo>
                  <a:pt x="6674" y="2112"/>
                </a:lnTo>
                <a:lnTo>
                  <a:pt x="6680" y="2110"/>
                </a:lnTo>
                <a:lnTo>
                  <a:pt x="6682" y="2106"/>
                </a:lnTo>
                <a:lnTo>
                  <a:pt x="6684" y="2092"/>
                </a:lnTo>
                <a:lnTo>
                  <a:pt x="6684" y="2084"/>
                </a:lnTo>
                <a:lnTo>
                  <a:pt x="6686" y="2078"/>
                </a:lnTo>
                <a:lnTo>
                  <a:pt x="6690" y="2074"/>
                </a:lnTo>
                <a:lnTo>
                  <a:pt x="6694" y="2074"/>
                </a:lnTo>
                <a:lnTo>
                  <a:pt x="6702" y="2074"/>
                </a:lnTo>
                <a:lnTo>
                  <a:pt x="6702" y="2070"/>
                </a:lnTo>
                <a:lnTo>
                  <a:pt x="6702" y="2068"/>
                </a:lnTo>
                <a:lnTo>
                  <a:pt x="6704" y="2066"/>
                </a:lnTo>
                <a:lnTo>
                  <a:pt x="6710" y="2064"/>
                </a:lnTo>
                <a:lnTo>
                  <a:pt x="6718" y="2064"/>
                </a:lnTo>
                <a:lnTo>
                  <a:pt x="6728" y="2062"/>
                </a:lnTo>
                <a:lnTo>
                  <a:pt x="6734" y="2064"/>
                </a:lnTo>
                <a:lnTo>
                  <a:pt x="6744" y="2068"/>
                </a:lnTo>
                <a:lnTo>
                  <a:pt x="6746" y="2068"/>
                </a:lnTo>
                <a:lnTo>
                  <a:pt x="6748" y="2066"/>
                </a:lnTo>
                <a:lnTo>
                  <a:pt x="6754" y="2054"/>
                </a:lnTo>
                <a:lnTo>
                  <a:pt x="6760" y="2038"/>
                </a:lnTo>
                <a:lnTo>
                  <a:pt x="6766" y="2026"/>
                </a:lnTo>
                <a:lnTo>
                  <a:pt x="6770" y="2018"/>
                </a:lnTo>
                <a:lnTo>
                  <a:pt x="6772" y="2010"/>
                </a:lnTo>
                <a:lnTo>
                  <a:pt x="6772" y="2002"/>
                </a:lnTo>
                <a:lnTo>
                  <a:pt x="6774" y="1992"/>
                </a:lnTo>
                <a:lnTo>
                  <a:pt x="6776" y="1984"/>
                </a:lnTo>
                <a:lnTo>
                  <a:pt x="6776" y="1976"/>
                </a:lnTo>
                <a:lnTo>
                  <a:pt x="6776" y="1972"/>
                </a:lnTo>
                <a:lnTo>
                  <a:pt x="6776" y="1968"/>
                </a:lnTo>
                <a:lnTo>
                  <a:pt x="6780" y="1962"/>
                </a:lnTo>
                <a:lnTo>
                  <a:pt x="6782" y="1956"/>
                </a:lnTo>
                <a:lnTo>
                  <a:pt x="6782" y="1952"/>
                </a:lnTo>
                <a:lnTo>
                  <a:pt x="6782" y="1948"/>
                </a:lnTo>
                <a:lnTo>
                  <a:pt x="6780" y="1944"/>
                </a:lnTo>
                <a:lnTo>
                  <a:pt x="6782" y="1940"/>
                </a:lnTo>
                <a:lnTo>
                  <a:pt x="6784" y="1934"/>
                </a:lnTo>
                <a:lnTo>
                  <a:pt x="6782" y="1928"/>
                </a:lnTo>
                <a:lnTo>
                  <a:pt x="6780" y="1924"/>
                </a:lnTo>
                <a:lnTo>
                  <a:pt x="6780" y="1922"/>
                </a:lnTo>
                <a:lnTo>
                  <a:pt x="6782" y="1920"/>
                </a:lnTo>
                <a:lnTo>
                  <a:pt x="6786" y="1920"/>
                </a:lnTo>
                <a:lnTo>
                  <a:pt x="6786" y="1918"/>
                </a:lnTo>
                <a:lnTo>
                  <a:pt x="6784" y="1916"/>
                </a:lnTo>
                <a:lnTo>
                  <a:pt x="6784" y="1912"/>
                </a:lnTo>
                <a:lnTo>
                  <a:pt x="6786" y="1910"/>
                </a:lnTo>
                <a:lnTo>
                  <a:pt x="6796" y="1906"/>
                </a:lnTo>
                <a:lnTo>
                  <a:pt x="6810" y="1900"/>
                </a:lnTo>
                <a:lnTo>
                  <a:pt x="6814" y="1896"/>
                </a:lnTo>
                <a:lnTo>
                  <a:pt x="6816" y="1892"/>
                </a:lnTo>
                <a:lnTo>
                  <a:pt x="6818" y="1888"/>
                </a:lnTo>
                <a:lnTo>
                  <a:pt x="6820" y="1886"/>
                </a:lnTo>
                <a:lnTo>
                  <a:pt x="6822" y="1888"/>
                </a:lnTo>
                <a:lnTo>
                  <a:pt x="6826" y="1892"/>
                </a:lnTo>
                <a:lnTo>
                  <a:pt x="6828" y="1892"/>
                </a:lnTo>
                <a:lnTo>
                  <a:pt x="6830" y="1890"/>
                </a:lnTo>
                <a:lnTo>
                  <a:pt x="6836" y="1882"/>
                </a:lnTo>
                <a:lnTo>
                  <a:pt x="6842" y="1880"/>
                </a:lnTo>
                <a:lnTo>
                  <a:pt x="6848" y="1876"/>
                </a:lnTo>
                <a:lnTo>
                  <a:pt x="6848" y="1874"/>
                </a:lnTo>
                <a:lnTo>
                  <a:pt x="6848" y="1872"/>
                </a:lnTo>
                <a:lnTo>
                  <a:pt x="6850" y="1872"/>
                </a:lnTo>
                <a:lnTo>
                  <a:pt x="6854" y="1870"/>
                </a:lnTo>
                <a:lnTo>
                  <a:pt x="6856" y="1868"/>
                </a:lnTo>
                <a:lnTo>
                  <a:pt x="6858" y="1866"/>
                </a:lnTo>
                <a:lnTo>
                  <a:pt x="6856" y="1864"/>
                </a:lnTo>
                <a:lnTo>
                  <a:pt x="6854" y="1858"/>
                </a:lnTo>
                <a:lnTo>
                  <a:pt x="6852" y="1856"/>
                </a:lnTo>
                <a:lnTo>
                  <a:pt x="6848" y="1858"/>
                </a:lnTo>
                <a:lnTo>
                  <a:pt x="6836" y="1864"/>
                </a:lnTo>
                <a:lnTo>
                  <a:pt x="6828" y="1866"/>
                </a:lnTo>
                <a:lnTo>
                  <a:pt x="6820" y="1868"/>
                </a:lnTo>
                <a:lnTo>
                  <a:pt x="6812" y="1866"/>
                </a:lnTo>
                <a:lnTo>
                  <a:pt x="6806" y="1862"/>
                </a:lnTo>
                <a:lnTo>
                  <a:pt x="6798" y="1858"/>
                </a:lnTo>
                <a:lnTo>
                  <a:pt x="6788" y="1856"/>
                </a:lnTo>
                <a:lnTo>
                  <a:pt x="6778" y="1854"/>
                </a:lnTo>
                <a:lnTo>
                  <a:pt x="6770" y="1856"/>
                </a:lnTo>
                <a:lnTo>
                  <a:pt x="6762" y="1856"/>
                </a:lnTo>
                <a:lnTo>
                  <a:pt x="6768" y="1852"/>
                </a:lnTo>
                <a:lnTo>
                  <a:pt x="6776" y="1848"/>
                </a:lnTo>
                <a:lnTo>
                  <a:pt x="6782" y="1846"/>
                </a:lnTo>
                <a:lnTo>
                  <a:pt x="6794" y="1848"/>
                </a:lnTo>
                <a:lnTo>
                  <a:pt x="6802" y="1850"/>
                </a:lnTo>
                <a:lnTo>
                  <a:pt x="6806" y="1850"/>
                </a:lnTo>
                <a:lnTo>
                  <a:pt x="6808" y="1850"/>
                </a:lnTo>
                <a:lnTo>
                  <a:pt x="6810" y="1848"/>
                </a:lnTo>
                <a:lnTo>
                  <a:pt x="6814" y="1850"/>
                </a:lnTo>
                <a:lnTo>
                  <a:pt x="6820" y="1856"/>
                </a:lnTo>
                <a:lnTo>
                  <a:pt x="6826" y="1860"/>
                </a:lnTo>
                <a:lnTo>
                  <a:pt x="6830" y="1862"/>
                </a:lnTo>
                <a:lnTo>
                  <a:pt x="6834" y="1860"/>
                </a:lnTo>
                <a:lnTo>
                  <a:pt x="6862" y="1844"/>
                </a:lnTo>
                <a:lnTo>
                  <a:pt x="6874" y="1836"/>
                </a:lnTo>
                <a:lnTo>
                  <a:pt x="6876" y="1832"/>
                </a:lnTo>
                <a:lnTo>
                  <a:pt x="6876" y="1828"/>
                </a:lnTo>
                <a:lnTo>
                  <a:pt x="6868" y="1818"/>
                </a:lnTo>
                <a:lnTo>
                  <a:pt x="6862" y="1814"/>
                </a:lnTo>
                <a:lnTo>
                  <a:pt x="6856" y="1812"/>
                </a:lnTo>
                <a:lnTo>
                  <a:pt x="6852" y="1812"/>
                </a:lnTo>
                <a:lnTo>
                  <a:pt x="6852" y="1806"/>
                </a:lnTo>
                <a:lnTo>
                  <a:pt x="6854" y="1802"/>
                </a:lnTo>
                <a:lnTo>
                  <a:pt x="6852" y="1800"/>
                </a:lnTo>
                <a:lnTo>
                  <a:pt x="6850" y="1798"/>
                </a:lnTo>
                <a:lnTo>
                  <a:pt x="6842" y="1794"/>
                </a:lnTo>
                <a:lnTo>
                  <a:pt x="6838" y="1788"/>
                </a:lnTo>
                <a:lnTo>
                  <a:pt x="6832" y="1784"/>
                </a:lnTo>
                <a:lnTo>
                  <a:pt x="6828" y="1784"/>
                </a:lnTo>
                <a:lnTo>
                  <a:pt x="6824" y="1784"/>
                </a:lnTo>
                <a:lnTo>
                  <a:pt x="6818" y="1786"/>
                </a:lnTo>
                <a:lnTo>
                  <a:pt x="6818" y="1782"/>
                </a:lnTo>
                <a:lnTo>
                  <a:pt x="6816" y="1780"/>
                </a:lnTo>
                <a:lnTo>
                  <a:pt x="6816" y="1778"/>
                </a:lnTo>
                <a:lnTo>
                  <a:pt x="6812" y="1778"/>
                </a:lnTo>
                <a:lnTo>
                  <a:pt x="6808" y="1778"/>
                </a:lnTo>
                <a:lnTo>
                  <a:pt x="6806" y="1776"/>
                </a:lnTo>
                <a:lnTo>
                  <a:pt x="6804" y="1768"/>
                </a:lnTo>
                <a:lnTo>
                  <a:pt x="6800" y="1758"/>
                </a:lnTo>
                <a:lnTo>
                  <a:pt x="6800" y="1746"/>
                </a:lnTo>
                <a:lnTo>
                  <a:pt x="6800" y="1734"/>
                </a:lnTo>
                <a:lnTo>
                  <a:pt x="6800" y="1722"/>
                </a:lnTo>
                <a:lnTo>
                  <a:pt x="6804" y="1716"/>
                </a:lnTo>
                <a:lnTo>
                  <a:pt x="6806" y="1714"/>
                </a:lnTo>
                <a:lnTo>
                  <a:pt x="6808" y="1712"/>
                </a:lnTo>
                <a:lnTo>
                  <a:pt x="6812" y="1712"/>
                </a:lnTo>
                <a:lnTo>
                  <a:pt x="6812" y="1710"/>
                </a:lnTo>
                <a:lnTo>
                  <a:pt x="6812" y="1702"/>
                </a:lnTo>
                <a:lnTo>
                  <a:pt x="6810" y="1692"/>
                </a:lnTo>
                <a:lnTo>
                  <a:pt x="6810" y="1686"/>
                </a:lnTo>
                <a:lnTo>
                  <a:pt x="6814" y="1678"/>
                </a:lnTo>
                <a:lnTo>
                  <a:pt x="6816" y="1672"/>
                </a:lnTo>
                <a:lnTo>
                  <a:pt x="6816" y="1670"/>
                </a:lnTo>
                <a:lnTo>
                  <a:pt x="6816" y="1668"/>
                </a:lnTo>
                <a:lnTo>
                  <a:pt x="6812" y="1668"/>
                </a:lnTo>
                <a:lnTo>
                  <a:pt x="6808" y="1668"/>
                </a:lnTo>
                <a:lnTo>
                  <a:pt x="6806" y="1664"/>
                </a:lnTo>
                <a:lnTo>
                  <a:pt x="6806" y="1660"/>
                </a:lnTo>
                <a:lnTo>
                  <a:pt x="6806" y="1654"/>
                </a:lnTo>
                <a:lnTo>
                  <a:pt x="6810" y="1656"/>
                </a:lnTo>
                <a:lnTo>
                  <a:pt x="6814" y="1658"/>
                </a:lnTo>
                <a:lnTo>
                  <a:pt x="6820" y="1658"/>
                </a:lnTo>
                <a:lnTo>
                  <a:pt x="6826" y="1656"/>
                </a:lnTo>
                <a:lnTo>
                  <a:pt x="6832" y="1652"/>
                </a:lnTo>
                <a:lnTo>
                  <a:pt x="6834" y="1650"/>
                </a:lnTo>
                <a:lnTo>
                  <a:pt x="6832" y="1646"/>
                </a:lnTo>
                <a:lnTo>
                  <a:pt x="6830" y="1644"/>
                </a:lnTo>
                <a:lnTo>
                  <a:pt x="6828" y="1642"/>
                </a:lnTo>
                <a:lnTo>
                  <a:pt x="6826" y="1640"/>
                </a:lnTo>
                <a:lnTo>
                  <a:pt x="6830" y="1638"/>
                </a:lnTo>
                <a:lnTo>
                  <a:pt x="6836" y="1638"/>
                </a:lnTo>
                <a:lnTo>
                  <a:pt x="6844" y="1634"/>
                </a:lnTo>
                <a:lnTo>
                  <a:pt x="6850" y="1630"/>
                </a:lnTo>
                <a:lnTo>
                  <a:pt x="6854" y="1624"/>
                </a:lnTo>
                <a:lnTo>
                  <a:pt x="6856" y="1620"/>
                </a:lnTo>
                <a:lnTo>
                  <a:pt x="6862" y="1610"/>
                </a:lnTo>
                <a:lnTo>
                  <a:pt x="6866" y="1608"/>
                </a:lnTo>
                <a:lnTo>
                  <a:pt x="6870" y="1610"/>
                </a:lnTo>
                <a:lnTo>
                  <a:pt x="6874" y="1612"/>
                </a:lnTo>
                <a:lnTo>
                  <a:pt x="6878" y="1610"/>
                </a:lnTo>
                <a:lnTo>
                  <a:pt x="6880" y="1602"/>
                </a:lnTo>
                <a:lnTo>
                  <a:pt x="6884" y="1594"/>
                </a:lnTo>
                <a:lnTo>
                  <a:pt x="6888" y="1592"/>
                </a:lnTo>
                <a:lnTo>
                  <a:pt x="6892" y="1592"/>
                </a:lnTo>
                <a:lnTo>
                  <a:pt x="6898" y="1592"/>
                </a:lnTo>
                <a:lnTo>
                  <a:pt x="6902" y="1590"/>
                </a:lnTo>
                <a:lnTo>
                  <a:pt x="6906" y="1586"/>
                </a:lnTo>
                <a:lnTo>
                  <a:pt x="6910" y="1582"/>
                </a:lnTo>
                <a:lnTo>
                  <a:pt x="6912" y="1580"/>
                </a:lnTo>
                <a:lnTo>
                  <a:pt x="6916" y="1582"/>
                </a:lnTo>
                <a:lnTo>
                  <a:pt x="6920" y="1582"/>
                </a:lnTo>
                <a:lnTo>
                  <a:pt x="6922" y="1580"/>
                </a:lnTo>
                <a:lnTo>
                  <a:pt x="6926" y="1576"/>
                </a:lnTo>
                <a:lnTo>
                  <a:pt x="6928" y="1572"/>
                </a:lnTo>
                <a:lnTo>
                  <a:pt x="6930" y="1570"/>
                </a:lnTo>
                <a:lnTo>
                  <a:pt x="6934" y="1570"/>
                </a:lnTo>
                <a:lnTo>
                  <a:pt x="6938" y="1570"/>
                </a:lnTo>
                <a:lnTo>
                  <a:pt x="6942" y="1568"/>
                </a:lnTo>
                <a:lnTo>
                  <a:pt x="6946" y="1558"/>
                </a:lnTo>
                <a:lnTo>
                  <a:pt x="6954" y="1544"/>
                </a:lnTo>
                <a:lnTo>
                  <a:pt x="6960" y="1538"/>
                </a:lnTo>
                <a:lnTo>
                  <a:pt x="6968" y="1530"/>
                </a:lnTo>
                <a:lnTo>
                  <a:pt x="6974" y="1526"/>
                </a:lnTo>
                <a:lnTo>
                  <a:pt x="6976" y="1524"/>
                </a:lnTo>
                <a:lnTo>
                  <a:pt x="6976" y="1520"/>
                </a:lnTo>
                <a:lnTo>
                  <a:pt x="6974" y="1520"/>
                </a:lnTo>
                <a:lnTo>
                  <a:pt x="6968" y="1514"/>
                </a:lnTo>
                <a:lnTo>
                  <a:pt x="6964" y="1512"/>
                </a:lnTo>
                <a:lnTo>
                  <a:pt x="6962" y="1506"/>
                </a:lnTo>
                <a:lnTo>
                  <a:pt x="6960" y="1502"/>
                </a:lnTo>
                <a:lnTo>
                  <a:pt x="6962" y="1498"/>
                </a:lnTo>
                <a:lnTo>
                  <a:pt x="6966" y="1492"/>
                </a:lnTo>
                <a:lnTo>
                  <a:pt x="6972" y="1486"/>
                </a:lnTo>
                <a:lnTo>
                  <a:pt x="6974" y="1480"/>
                </a:lnTo>
                <a:lnTo>
                  <a:pt x="6976" y="1474"/>
                </a:lnTo>
                <a:lnTo>
                  <a:pt x="6978" y="1468"/>
                </a:lnTo>
                <a:lnTo>
                  <a:pt x="6980" y="1464"/>
                </a:lnTo>
                <a:lnTo>
                  <a:pt x="6982" y="1462"/>
                </a:lnTo>
                <a:lnTo>
                  <a:pt x="6986" y="1460"/>
                </a:lnTo>
                <a:lnTo>
                  <a:pt x="6992" y="1460"/>
                </a:lnTo>
                <a:lnTo>
                  <a:pt x="6994" y="1458"/>
                </a:lnTo>
                <a:lnTo>
                  <a:pt x="6994" y="1456"/>
                </a:lnTo>
                <a:lnTo>
                  <a:pt x="6998" y="1450"/>
                </a:lnTo>
                <a:lnTo>
                  <a:pt x="7004" y="1444"/>
                </a:lnTo>
                <a:lnTo>
                  <a:pt x="7022" y="1430"/>
                </a:lnTo>
                <a:lnTo>
                  <a:pt x="7026" y="1428"/>
                </a:lnTo>
                <a:lnTo>
                  <a:pt x="7028" y="1430"/>
                </a:lnTo>
                <a:lnTo>
                  <a:pt x="7030" y="1434"/>
                </a:lnTo>
                <a:lnTo>
                  <a:pt x="7032" y="1436"/>
                </a:lnTo>
                <a:lnTo>
                  <a:pt x="7034" y="1438"/>
                </a:lnTo>
                <a:lnTo>
                  <a:pt x="7038" y="1438"/>
                </a:lnTo>
                <a:lnTo>
                  <a:pt x="7042" y="1436"/>
                </a:lnTo>
                <a:lnTo>
                  <a:pt x="7048" y="1434"/>
                </a:lnTo>
                <a:lnTo>
                  <a:pt x="7054" y="1432"/>
                </a:lnTo>
                <a:lnTo>
                  <a:pt x="7062" y="1434"/>
                </a:lnTo>
                <a:lnTo>
                  <a:pt x="7072" y="1434"/>
                </a:lnTo>
                <a:lnTo>
                  <a:pt x="7076" y="1434"/>
                </a:lnTo>
                <a:lnTo>
                  <a:pt x="7082" y="1432"/>
                </a:lnTo>
                <a:lnTo>
                  <a:pt x="7092" y="1434"/>
                </a:lnTo>
                <a:lnTo>
                  <a:pt x="7098" y="1438"/>
                </a:lnTo>
                <a:lnTo>
                  <a:pt x="7102" y="1440"/>
                </a:lnTo>
                <a:lnTo>
                  <a:pt x="7112" y="1444"/>
                </a:lnTo>
                <a:lnTo>
                  <a:pt x="7122" y="1448"/>
                </a:lnTo>
                <a:lnTo>
                  <a:pt x="7126" y="1450"/>
                </a:lnTo>
                <a:lnTo>
                  <a:pt x="7126" y="1454"/>
                </a:lnTo>
                <a:lnTo>
                  <a:pt x="7126" y="1462"/>
                </a:lnTo>
                <a:lnTo>
                  <a:pt x="7124" y="1472"/>
                </a:lnTo>
                <a:lnTo>
                  <a:pt x="7124" y="1480"/>
                </a:lnTo>
                <a:lnTo>
                  <a:pt x="7126" y="1484"/>
                </a:lnTo>
                <a:lnTo>
                  <a:pt x="7130" y="1486"/>
                </a:lnTo>
                <a:lnTo>
                  <a:pt x="7130" y="1490"/>
                </a:lnTo>
                <a:lnTo>
                  <a:pt x="7128" y="1494"/>
                </a:lnTo>
                <a:lnTo>
                  <a:pt x="7124" y="1494"/>
                </a:lnTo>
                <a:lnTo>
                  <a:pt x="7118" y="1494"/>
                </a:lnTo>
                <a:lnTo>
                  <a:pt x="7106" y="1496"/>
                </a:lnTo>
                <a:lnTo>
                  <a:pt x="7100" y="1498"/>
                </a:lnTo>
                <a:lnTo>
                  <a:pt x="7096" y="1502"/>
                </a:lnTo>
                <a:lnTo>
                  <a:pt x="7090" y="1512"/>
                </a:lnTo>
                <a:lnTo>
                  <a:pt x="7082" y="1526"/>
                </a:lnTo>
                <a:lnTo>
                  <a:pt x="7076" y="1532"/>
                </a:lnTo>
                <a:lnTo>
                  <a:pt x="7066" y="1540"/>
                </a:lnTo>
                <a:lnTo>
                  <a:pt x="7058" y="1546"/>
                </a:lnTo>
                <a:lnTo>
                  <a:pt x="7052" y="1550"/>
                </a:lnTo>
                <a:lnTo>
                  <a:pt x="7050" y="1554"/>
                </a:lnTo>
                <a:lnTo>
                  <a:pt x="7050" y="1556"/>
                </a:lnTo>
                <a:lnTo>
                  <a:pt x="7050" y="1558"/>
                </a:lnTo>
                <a:lnTo>
                  <a:pt x="7044" y="1560"/>
                </a:lnTo>
                <a:lnTo>
                  <a:pt x="7038" y="1562"/>
                </a:lnTo>
                <a:lnTo>
                  <a:pt x="7034" y="1566"/>
                </a:lnTo>
                <a:lnTo>
                  <a:pt x="7030" y="1572"/>
                </a:lnTo>
                <a:lnTo>
                  <a:pt x="7028" y="1576"/>
                </a:lnTo>
                <a:lnTo>
                  <a:pt x="7026" y="1578"/>
                </a:lnTo>
                <a:lnTo>
                  <a:pt x="7024" y="1576"/>
                </a:lnTo>
                <a:lnTo>
                  <a:pt x="7020" y="1576"/>
                </a:lnTo>
                <a:lnTo>
                  <a:pt x="7016" y="1578"/>
                </a:lnTo>
                <a:lnTo>
                  <a:pt x="7014" y="1582"/>
                </a:lnTo>
                <a:lnTo>
                  <a:pt x="7010" y="1586"/>
                </a:lnTo>
                <a:lnTo>
                  <a:pt x="7008" y="1588"/>
                </a:lnTo>
                <a:lnTo>
                  <a:pt x="7006" y="1588"/>
                </a:lnTo>
                <a:lnTo>
                  <a:pt x="7004" y="1588"/>
                </a:lnTo>
                <a:lnTo>
                  <a:pt x="7002" y="1590"/>
                </a:lnTo>
                <a:lnTo>
                  <a:pt x="7002" y="1596"/>
                </a:lnTo>
                <a:lnTo>
                  <a:pt x="7002" y="1602"/>
                </a:lnTo>
                <a:lnTo>
                  <a:pt x="7002" y="1606"/>
                </a:lnTo>
                <a:lnTo>
                  <a:pt x="6998" y="1610"/>
                </a:lnTo>
                <a:lnTo>
                  <a:pt x="6996" y="1610"/>
                </a:lnTo>
                <a:lnTo>
                  <a:pt x="6992" y="1612"/>
                </a:lnTo>
                <a:lnTo>
                  <a:pt x="6984" y="1610"/>
                </a:lnTo>
                <a:lnTo>
                  <a:pt x="6978" y="1608"/>
                </a:lnTo>
                <a:lnTo>
                  <a:pt x="6976" y="1610"/>
                </a:lnTo>
                <a:lnTo>
                  <a:pt x="6976" y="1612"/>
                </a:lnTo>
                <a:lnTo>
                  <a:pt x="6974" y="1616"/>
                </a:lnTo>
                <a:lnTo>
                  <a:pt x="6972" y="1622"/>
                </a:lnTo>
                <a:lnTo>
                  <a:pt x="6964" y="1632"/>
                </a:lnTo>
                <a:lnTo>
                  <a:pt x="6960" y="1638"/>
                </a:lnTo>
                <a:lnTo>
                  <a:pt x="6958" y="1646"/>
                </a:lnTo>
                <a:lnTo>
                  <a:pt x="6960" y="1654"/>
                </a:lnTo>
                <a:lnTo>
                  <a:pt x="6962" y="1664"/>
                </a:lnTo>
                <a:lnTo>
                  <a:pt x="6966" y="1672"/>
                </a:lnTo>
                <a:lnTo>
                  <a:pt x="6966" y="1678"/>
                </a:lnTo>
                <a:lnTo>
                  <a:pt x="6966" y="1680"/>
                </a:lnTo>
                <a:lnTo>
                  <a:pt x="6964" y="1684"/>
                </a:lnTo>
                <a:lnTo>
                  <a:pt x="6962" y="1686"/>
                </a:lnTo>
                <a:lnTo>
                  <a:pt x="6962" y="1690"/>
                </a:lnTo>
                <a:lnTo>
                  <a:pt x="6966" y="1696"/>
                </a:lnTo>
                <a:lnTo>
                  <a:pt x="6972" y="1704"/>
                </a:lnTo>
                <a:lnTo>
                  <a:pt x="6978" y="1710"/>
                </a:lnTo>
                <a:lnTo>
                  <a:pt x="6978" y="1714"/>
                </a:lnTo>
                <a:lnTo>
                  <a:pt x="6978" y="1716"/>
                </a:lnTo>
                <a:lnTo>
                  <a:pt x="6976" y="1716"/>
                </a:lnTo>
                <a:lnTo>
                  <a:pt x="6972" y="1718"/>
                </a:lnTo>
                <a:lnTo>
                  <a:pt x="6970" y="1720"/>
                </a:lnTo>
                <a:lnTo>
                  <a:pt x="6970" y="1724"/>
                </a:lnTo>
                <a:lnTo>
                  <a:pt x="6972" y="1732"/>
                </a:lnTo>
                <a:lnTo>
                  <a:pt x="6972" y="1740"/>
                </a:lnTo>
                <a:lnTo>
                  <a:pt x="6968" y="1762"/>
                </a:lnTo>
                <a:lnTo>
                  <a:pt x="6964" y="1772"/>
                </a:lnTo>
                <a:lnTo>
                  <a:pt x="6964" y="1780"/>
                </a:lnTo>
                <a:lnTo>
                  <a:pt x="6966" y="1782"/>
                </a:lnTo>
                <a:lnTo>
                  <a:pt x="6970" y="1784"/>
                </a:lnTo>
                <a:lnTo>
                  <a:pt x="6982" y="1788"/>
                </a:lnTo>
                <a:lnTo>
                  <a:pt x="7006" y="1792"/>
                </a:lnTo>
                <a:lnTo>
                  <a:pt x="7012" y="1796"/>
                </a:lnTo>
                <a:lnTo>
                  <a:pt x="7014" y="1798"/>
                </a:lnTo>
                <a:lnTo>
                  <a:pt x="7012" y="1802"/>
                </a:lnTo>
                <a:lnTo>
                  <a:pt x="7012" y="1810"/>
                </a:lnTo>
                <a:lnTo>
                  <a:pt x="7014" y="1818"/>
                </a:lnTo>
                <a:lnTo>
                  <a:pt x="7016" y="1820"/>
                </a:lnTo>
                <a:lnTo>
                  <a:pt x="7018" y="1822"/>
                </a:lnTo>
                <a:lnTo>
                  <a:pt x="7020" y="1820"/>
                </a:lnTo>
                <a:lnTo>
                  <a:pt x="7024" y="1818"/>
                </a:lnTo>
                <a:lnTo>
                  <a:pt x="7030" y="1812"/>
                </a:lnTo>
                <a:lnTo>
                  <a:pt x="7036" y="1812"/>
                </a:lnTo>
                <a:lnTo>
                  <a:pt x="7038" y="1812"/>
                </a:lnTo>
                <a:lnTo>
                  <a:pt x="7040" y="1814"/>
                </a:lnTo>
                <a:lnTo>
                  <a:pt x="7038" y="1818"/>
                </a:lnTo>
                <a:lnTo>
                  <a:pt x="7036" y="1822"/>
                </a:lnTo>
                <a:lnTo>
                  <a:pt x="7032" y="1830"/>
                </a:lnTo>
                <a:lnTo>
                  <a:pt x="7030" y="1832"/>
                </a:lnTo>
                <a:lnTo>
                  <a:pt x="7036" y="1832"/>
                </a:lnTo>
                <a:lnTo>
                  <a:pt x="7050" y="1824"/>
                </a:lnTo>
                <a:lnTo>
                  <a:pt x="7060" y="1822"/>
                </a:lnTo>
                <a:lnTo>
                  <a:pt x="7074" y="1820"/>
                </a:lnTo>
                <a:lnTo>
                  <a:pt x="7092" y="1816"/>
                </a:lnTo>
                <a:lnTo>
                  <a:pt x="7122" y="1806"/>
                </a:lnTo>
                <a:lnTo>
                  <a:pt x="7132" y="1802"/>
                </a:lnTo>
                <a:lnTo>
                  <a:pt x="7138" y="1800"/>
                </a:lnTo>
                <a:lnTo>
                  <a:pt x="7144" y="1802"/>
                </a:lnTo>
                <a:lnTo>
                  <a:pt x="7146" y="1802"/>
                </a:lnTo>
                <a:lnTo>
                  <a:pt x="7150" y="1804"/>
                </a:lnTo>
                <a:lnTo>
                  <a:pt x="7154" y="1798"/>
                </a:lnTo>
                <a:lnTo>
                  <a:pt x="7160" y="1794"/>
                </a:lnTo>
                <a:lnTo>
                  <a:pt x="7164" y="1794"/>
                </a:lnTo>
                <a:lnTo>
                  <a:pt x="7168" y="1796"/>
                </a:lnTo>
                <a:lnTo>
                  <a:pt x="7174" y="1794"/>
                </a:lnTo>
                <a:lnTo>
                  <a:pt x="7182" y="1792"/>
                </a:lnTo>
                <a:lnTo>
                  <a:pt x="7190" y="1788"/>
                </a:lnTo>
                <a:lnTo>
                  <a:pt x="7196" y="1788"/>
                </a:lnTo>
                <a:lnTo>
                  <a:pt x="7206" y="1788"/>
                </a:lnTo>
                <a:lnTo>
                  <a:pt x="7216" y="1788"/>
                </a:lnTo>
                <a:lnTo>
                  <a:pt x="7222" y="1786"/>
                </a:lnTo>
                <a:lnTo>
                  <a:pt x="7230" y="1784"/>
                </a:lnTo>
                <a:lnTo>
                  <a:pt x="7234" y="1786"/>
                </a:lnTo>
                <a:lnTo>
                  <a:pt x="7240" y="1786"/>
                </a:lnTo>
                <a:lnTo>
                  <a:pt x="7250" y="1780"/>
                </a:lnTo>
                <a:lnTo>
                  <a:pt x="7258" y="1772"/>
                </a:lnTo>
                <a:lnTo>
                  <a:pt x="7262" y="1772"/>
                </a:lnTo>
                <a:lnTo>
                  <a:pt x="7264" y="1772"/>
                </a:lnTo>
                <a:lnTo>
                  <a:pt x="7266" y="1774"/>
                </a:lnTo>
                <a:lnTo>
                  <a:pt x="7262" y="1776"/>
                </a:lnTo>
                <a:lnTo>
                  <a:pt x="7260" y="1778"/>
                </a:lnTo>
                <a:lnTo>
                  <a:pt x="7262" y="1784"/>
                </a:lnTo>
                <a:lnTo>
                  <a:pt x="7264" y="1788"/>
                </a:lnTo>
                <a:lnTo>
                  <a:pt x="7262" y="1788"/>
                </a:lnTo>
                <a:lnTo>
                  <a:pt x="7258" y="1786"/>
                </a:lnTo>
                <a:lnTo>
                  <a:pt x="7254" y="1786"/>
                </a:lnTo>
                <a:lnTo>
                  <a:pt x="7256" y="1792"/>
                </a:lnTo>
                <a:lnTo>
                  <a:pt x="7262" y="1798"/>
                </a:lnTo>
                <a:lnTo>
                  <a:pt x="7266" y="1798"/>
                </a:lnTo>
                <a:lnTo>
                  <a:pt x="7268" y="1798"/>
                </a:lnTo>
                <a:lnTo>
                  <a:pt x="7272" y="1804"/>
                </a:lnTo>
                <a:lnTo>
                  <a:pt x="7276" y="1806"/>
                </a:lnTo>
                <a:lnTo>
                  <a:pt x="7282" y="1808"/>
                </a:lnTo>
                <a:lnTo>
                  <a:pt x="7292" y="1808"/>
                </a:lnTo>
                <a:lnTo>
                  <a:pt x="7302" y="1808"/>
                </a:lnTo>
                <a:lnTo>
                  <a:pt x="7308" y="1810"/>
                </a:lnTo>
                <a:lnTo>
                  <a:pt x="7310" y="1812"/>
                </a:lnTo>
                <a:lnTo>
                  <a:pt x="7312" y="1816"/>
                </a:lnTo>
                <a:lnTo>
                  <a:pt x="7316" y="1818"/>
                </a:lnTo>
                <a:lnTo>
                  <a:pt x="7322" y="1820"/>
                </a:lnTo>
                <a:lnTo>
                  <a:pt x="7326" y="1820"/>
                </a:lnTo>
                <a:lnTo>
                  <a:pt x="7326" y="1822"/>
                </a:lnTo>
                <a:lnTo>
                  <a:pt x="7326" y="1824"/>
                </a:lnTo>
                <a:lnTo>
                  <a:pt x="7322" y="1828"/>
                </a:lnTo>
                <a:lnTo>
                  <a:pt x="7318" y="1828"/>
                </a:lnTo>
                <a:lnTo>
                  <a:pt x="7294" y="1820"/>
                </a:lnTo>
                <a:lnTo>
                  <a:pt x="7286" y="1820"/>
                </a:lnTo>
                <a:lnTo>
                  <a:pt x="7280" y="1820"/>
                </a:lnTo>
                <a:lnTo>
                  <a:pt x="7278" y="1824"/>
                </a:lnTo>
                <a:lnTo>
                  <a:pt x="7276" y="1826"/>
                </a:lnTo>
                <a:lnTo>
                  <a:pt x="7274" y="1830"/>
                </a:lnTo>
                <a:lnTo>
                  <a:pt x="7272" y="1832"/>
                </a:lnTo>
                <a:lnTo>
                  <a:pt x="7268" y="1834"/>
                </a:lnTo>
                <a:lnTo>
                  <a:pt x="7264" y="1832"/>
                </a:lnTo>
                <a:lnTo>
                  <a:pt x="7258" y="1830"/>
                </a:lnTo>
                <a:lnTo>
                  <a:pt x="7254" y="1830"/>
                </a:lnTo>
                <a:lnTo>
                  <a:pt x="7254" y="1834"/>
                </a:lnTo>
                <a:lnTo>
                  <a:pt x="7254" y="1836"/>
                </a:lnTo>
                <a:lnTo>
                  <a:pt x="7252" y="1840"/>
                </a:lnTo>
                <a:lnTo>
                  <a:pt x="7250" y="1840"/>
                </a:lnTo>
                <a:lnTo>
                  <a:pt x="7244" y="1838"/>
                </a:lnTo>
                <a:lnTo>
                  <a:pt x="7240" y="1834"/>
                </a:lnTo>
                <a:lnTo>
                  <a:pt x="7236" y="1834"/>
                </a:lnTo>
                <a:lnTo>
                  <a:pt x="7236" y="1836"/>
                </a:lnTo>
                <a:lnTo>
                  <a:pt x="7236" y="1838"/>
                </a:lnTo>
                <a:lnTo>
                  <a:pt x="7238" y="1846"/>
                </a:lnTo>
                <a:lnTo>
                  <a:pt x="7238" y="1850"/>
                </a:lnTo>
                <a:lnTo>
                  <a:pt x="7236" y="1854"/>
                </a:lnTo>
                <a:lnTo>
                  <a:pt x="7226" y="1858"/>
                </a:lnTo>
                <a:lnTo>
                  <a:pt x="7214" y="1858"/>
                </a:lnTo>
                <a:lnTo>
                  <a:pt x="7204" y="1858"/>
                </a:lnTo>
                <a:lnTo>
                  <a:pt x="7192" y="1854"/>
                </a:lnTo>
                <a:lnTo>
                  <a:pt x="7182" y="1848"/>
                </a:lnTo>
                <a:lnTo>
                  <a:pt x="7172" y="1846"/>
                </a:lnTo>
                <a:lnTo>
                  <a:pt x="7160" y="1846"/>
                </a:lnTo>
                <a:lnTo>
                  <a:pt x="7144" y="1842"/>
                </a:lnTo>
                <a:lnTo>
                  <a:pt x="7138" y="1842"/>
                </a:lnTo>
                <a:lnTo>
                  <a:pt x="7134" y="1842"/>
                </a:lnTo>
                <a:lnTo>
                  <a:pt x="7132" y="1844"/>
                </a:lnTo>
                <a:lnTo>
                  <a:pt x="7132" y="1846"/>
                </a:lnTo>
                <a:lnTo>
                  <a:pt x="7130" y="1850"/>
                </a:lnTo>
                <a:lnTo>
                  <a:pt x="7126" y="1852"/>
                </a:lnTo>
                <a:lnTo>
                  <a:pt x="7120" y="1852"/>
                </a:lnTo>
                <a:lnTo>
                  <a:pt x="7106" y="1850"/>
                </a:lnTo>
                <a:lnTo>
                  <a:pt x="7092" y="1852"/>
                </a:lnTo>
                <a:lnTo>
                  <a:pt x="7082" y="1856"/>
                </a:lnTo>
                <a:lnTo>
                  <a:pt x="7078" y="1858"/>
                </a:lnTo>
                <a:lnTo>
                  <a:pt x="7076" y="1862"/>
                </a:lnTo>
                <a:lnTo>
                  <a:pt x="7074" y="1864"/>
                </a:lnTo>
                <a:lnTo>
                  <a:pt x="7072" y="1866"/>
                </a:lnTo>
                <a:lnTo>
                  <a:pt x="7064" y="1868"/>
                </a:lnTo>
                <a:lnTo>
                  <a:pt x="7058" y="1872"/>
                </a:lnTo>
                <a:lnTo>
                  <a:pt x="7056" y="1874"/>
                </a:lnTo>
                <a:lnTo>
                  <a:pt x="7054" y="1880"/>
                </a:lnTo>
                <a:lnTo>
                  <a:pt x="7052" y="1890"/>
                </a:lnTo>
                <a:lnTo>
                  <a:pt x="7052" y="1898"/>
                </a:lnTo>
                <a:lnTo>
                  <a:pt x="7054" y="1904"/>
                </a:lnTo>
                <a:lnTo>
                  <a:pt x="7056" y="1912"/>
                </a:lnTo>
                <a:lnTo>
                  <a:pt x="7062" y="1920"/>
                </a:lnTo>
                <a:lnTo>
                  <a:pt x="7066" y="1928"/>
                </a:lnTo>
                <a:lnTo>
                  <a:pt x="7070" y="1930"/>
                </a:lnTo>
                <a:lnTo>
                  <a:pt x="7074" y="1932"/>
                </a:lnTo>
                <a:lnTo>
                  <a:pt x="7080" y="1930"/>
                </a:lnTo>
                <a:lnTo>
                  <a:pt x="7086" y="1928"/>
                </a:lnTo>
                <a:lnTo>
                  <a:pt x="7094" y="1924"/>
                </a:lnTo>
                <a:lnTo>
                  <a:pt x="7096" y="1924"/>
                </a:lnTo>
                <a:lnTo>
                  <a:pt x="7096" y="1928"/>
                </a:lnTo>
                <a:lnTo>
                  <a:pt x="7086" y="1956"/>
                </a:lnTo>
                <a:lnTo>
                  <a:pt x="7086" y="1964"/>
                </a:lnTo>
                <a:lnTo>
                  <a:pt x="7088" y="1972"/>
                </a:lnTo>
                <a:lnTo>
                  <a:pt x="7092" y="1986"/>
                </a:lnTo>
                <a:lnTo>
                  <a:pt x="7092" y="1992"/>
                </a:lnTo>
                <a:lnTo>
                  <a:pt x="7090" y="1998"/>
                </a:lnTo>
                <a:lnTo>
                  <a:pt x="7086" y="2004"/>
                </a:lnTo>
                <a:lnTo>
                  <a:pt x="7076" y="2008"/>
                </a:lnTo>
                <a:lnTo>
                  <a:pt x="7064" y="2012"/>
                </a:lnTo>
                <a:lnTo>
                  <a:pt x="7054" y="2010"/>
                </a:lnTo>
                <a:lnTo>
                  <a:pt x="7048" y="2008"/>
                </a:lnTo>
                <a:lnTo>
                  <a:pt x="7044" y="2002"/>
                </a:lnTo>
                <a:lnTo>
                  <a:pt x="7038" y="1990"/>
                </a:lnTo>
                <a:lnTo>
                  <a:pt x="7034" y="1984"/>
                </a:lnTo>
                <a:lnTo>
                  <a:pt x="7028" y="1980"/>
                </a:lnTo>
                <a:lnTo>
                  <a:pt x="7022" y="1976"/>
                </a:lnTo>
                <a:lnTo>
                  <a:pt x="7018" y="1974"/>
                </a:lnTo>
                <a:lnTo>
                  <a:pt x="7018" y="1970"/>
                </a:lnTo>
                <a:lnTo>
                  <a:pt x="7018" y="1968"/>
                </a:lnTo>
                <a:lnTo>
                  <a:pt x="7018" y="1966"/>
                </a:lnTo>
                <a:lnTo>
                  <a:pt x="7016" y="1964"/>
                </a:lnTo>
                <a:lnTo>
                  <a:pt x="7010" y="1966"/>
                </a:lnTo>
                <a:lnTo>
                  <a:pt x="6986" y="1974"/>
                </a:lnTo>
                <a:lnTo>
                  <a:pt x="6980" y="1978"/>
                </a:lnTo>
                <a:lnTo>
                  <a:pt x="6976" y="1980"/>
                </a:lnTo>
                <a:lnTo>
                  <a:pt x="6970" y="1992"/>
                </a:lnTo>
                <a:lnTo>
                  <a:pt x="6968" y="1996"/>
                </a:lnTo>
                <a:lnTo>
                  <a:pt x="6970" y="2002"/>
                </a:lnTo>
                <a:lnTo>
                  <a:pt x="6970" y="2006"/>
                </a:lnTo>
                <a:lnTo>
                  <a:pt x="6970" y="2008"/>
                </a:lnTo>
                <a:lnTo>
                  <a:pt x="6966" y="2012"/>
                </a:lnTo>
                <a:lnTo>
                  <a:pt x="6960" y="2018"/>
                </a:lnTo>
                <a:lnTo>
                  <a:pt x="6956" y="2022"/>
                </a:lnTo>
                <a:lnTo>
                  <a:pt x="6954" y="2026"/>
                </a:lnTo>
                <a:lnTo>
                  <a:pt x="6952" y="2038"/>
                </a:lnTo>
                <a:lnTo>
                  <a:pt x="6952" y="2048"/>
                </a:lnTo>
                <a:lnTo>
                  <a:pt x="6952" y="2070"/>
                </a:lnTo>
                <a:lnTo>
                  <a:pt x="6954" y="2084"/>
                </a:lnTo>
                <a:lnTo>
                  <a:pt x="6954" y="2088"/>
                </a:lnTo>
                <a:lnTo>
                  <a:pt x="6958" y="2094"/>
                </a:lnTo>
                <a:lnTo>
                  <a:pt x="6962" y="2100"/>
                </a:lnTo>
                <a:lnTo>
                  <a:pt x="6964" y="2108"/>
                </a:lnTo>
                <a:lnTo>
                  <a:pt x="6964" y="2120"/>
                </a:lnTo>
                <a:lnTo>
                  <a:pt x="6964" y="2124"/>
                </a:lnTo>
                <a:lnTo>
                  <a:pt x="6962" y="2124"/>
                </a:lnTo>
                <a:lnTo>
                  <a:pt x="6960" y="2126"/>
                </a:lnTo>
                <a:lnTo>
                  <a:pt x="6962" y="2134"/>
                </a:lnTo>
                <a:lnTo>
                  <a:pt x="6962" y="2136"/>
                </a:lnTo>
                <a:lnTo>
                  <a:pt x="6960" y="2138"/>
                </a:lnTo>
                <a:lnTo>
                  <a:pt x="6956" y="2142"/>
                </a:lnTo>
                <a:lnTo>
                  <a:pt x="6948" y="2142"/>
                </a:lnTo>
                <a:lnTo>
                  <a:pt x="6942" y="2142"/>
                </a:lnTo>
                <a:lnTo>
                  <a:pt x="6942" y="2140"/>
                </a:lnTo>
                <a:lnTo>
                  <a:pt x="6940" y="2140"/>
                </a:lnTo>
                <a:lnTo>
                  <a:pt x="6942" y="2134"/>
                </a:lnTo>
                <a:lnTo>
                  <a:pt x="6952" y="2122"/>
                </a:lnTo>
                <a:lnTo>
                  <a:pt x="6954" y="2118"/>
                </a:lnTo>
                <a:lnTo>
                  <a:pt x="6952" y="2118"/>
                </a:lnTo>
                <a:lnTo>
                  <a:pt x="6940" y="2130"/>
                </a:lnTo>
                <a:lnTo>
                  <a:pt x="6934" y="2138"/>
                </a:lnTo>
                <a:lnTo>
                  <a:pt x="6930" y="2138"/>
                </a:lnTo>
                <a:lnTo>
                  <a:pt x="6924" y="2138"/>
                </a:lnTo>
                <a:lnTo>
                  <a:pt x="6916" y="2138"/>
                </a:lnTo>
                <a:lnTo>
                  <a:pt x="6912" y="2140"/>
                </a:lnTo>
                <a:lnTo>
                  <a:pt x="6910" y="2142"/>
                </a:lnTo>
                <a:lnTo>
                  <a:pt x="6908" y="2148"/>
                </a:lnTo>
                <a:lnTo>
                  <a:pt x="6910" y="2152"/>
                </a:lnTo>
                <a:lnTo>
                  <a:pt x="6908" y="2158"/>
                </a:lnTo>
                <a:lnTo>
                  <a:pt x="6904" y="2162"/>
                </a:lnTo>
                <a:lnTo>
                  <a:pt x="6898" y="2168"/>
                </a:lnTo>
                <a:lnTo>
                  <a:pt x="6886" y="2174"/>
                </a:lnTo>
                <a:lnTo>
                  <a:pt x="6874" y="2176"/>
                </a:lnTo>
                <a:lnTo>
                  <a:pt x="6866" y="2176"/>
                </a:lnTo>
                <a:lnTo>
                  <a:pt x="6862" y="2174"/>
                </a:lnTo>
                <a:lnTo>
                  <a:pt x="6858" y="2170"/>
                </a:lnTo>
                <a:lnTo>
                  <a:pt x="6854" y="2166"/>
                </a:lnTo>
                <a:lnTo>
                  <a:pt x="6850" y="2154"/>
                </a:lnTo>
                <a:lnTo>
                  <a:pt x="6852" y="2154"/>
                </a:lnTo>
                <a:lnTo>
                  <a:pt x="6858" y="2158"/>
                </a:lnTo>
                <a:lnTo>
                  <a:pt x="6864" y="2162"/>
                </a:lnTo>
                <a:lnTo>
                  <a:pt x="6868" y="2162"/>
                </a:lnTo>
                <a:lnTo>
                  <a:pt x="6868" y="2160"/>
                </a:lnTo>
                <a:lnTo>
                  <a:pt x="6866" y="2158"/>
                </a:lnTo>
                <a:lnTo>
                  <a:pt x="6852" y="2150"/>
                </a:lnTo>
                <a:lnTo>
                  <a:pt x="6844" y="2146"/>
                </a:lnTo>
                <a:lnTo>
                  <a:pt x="6836" y="2146"/>
                </a:lnTo>
                <a:lnTo>
                  <a:pt x="6822" y="2148"/>
                </a:lnTo>
                <a:lnTo>
                  <a:pt x="6802" y="2152"/>
                </a:lnTo>
                <a:lnTo>
                  <a:pt x="6798" y="2156"/>
                </a:lnTo>
                <a:lnTo>
                  <a:pt x="6794" y="2158"/>
                </a:lnTo>
                <a:lnTo>
                  <a:pt x="6784" y="2162"/>
                </a:lnTo>
                <a:lnTo>
                  <a:pt x="6776" y="2164"/>
                </a:lnTo>
                <a:lnTo>
                  <a:pt x="6770" y="2168"/>
                </a:lnTo>
                <a:lnTo>
                  <a:pt x="6766" y="2172"/>
                </a:lnTo>
                <a:lnTo>
                  <a:pt x="6764" y="2176"/>
                </a:lnTo>
                <a:lnTo>
                  <a:pt x="6760" y="2178"/>
                </a:lnTo>
                <a:lnTo>
                  <a:pt x="6752" y="2182"/>
                </a:lnTo>
                <a:lnTo>
                  <a:pt x="6738" y="2186"/>
                </a:lnTo>
                <a:lnTo>
                  <a:pt x="6718" y="2192"/>
                </a:lnTo>
                <a:lnTo>
                  <a:pt x="6704" y="2198"/>
                </a:lnTo>
                <a:lnTo>
                  <a:pt x="6692" y="2202"/>
                </a:lnTo>
                <a:lnTo>
                  <a:pt x="6686" y="2202"/>
                </a:lnTo>
                <a:lnTo>
                  <a:pt x="6680" y="2202"/>
                </a:lnTo>
                <a:lnTo>
                  <a:pt x="6676" y="2200"/>
                </a:lnTo>
                <a:lnTo>
                  <a:pt x="6672" y="2196"/>
                </a:lnTo>
                <a:lnTo>
                  <a:pt x="6664" y="2188"/>
                </a:lnTo>
                <a:lnTo>
                  <a:pt x="6664" y="2192"/>
                </a:lnTo>
                <a:lnTo>
                  <a:pt x="6668" y="2200"/>
                </a:lnTo>
                <a:lnTo>
                  <a:pt x="6668" y="2202"/>
                </a:lnTo>
                <a:lnTo>
                  <a:pt x="6668" y="2204"/>
                </a:lnTo>
                <a:lnTo>
                  <a:pt x="6666" y="2206"/>
                </a:lnTo>
                <a:lnTo>
                  <a:pt x="6666" y="2208"/>
                </a:lnTo>
                <a:lnTo>
                  <a:pt x="6670" y="2208"/>
                </a:lnTo>
                <a:lnTo>
                  <a:pt x="6674" y="2206"/>
                </a:lnTo>
                <a:lnTo>
                  <a:pt x="6678" y="2206"/>
                </a:lnTo>
                <a:lnTo>
                  <a:pt x="6680" y="2206"/>
                </a:lnTo>
                <a:lnTo>
                  <a:pt x="6684" y="2210"/>
                </a:lnTo>
                <a:lnTo>
                  <a:pt x="6686" y="2208"/>
                </a:lnTo>
                <a:lnTo>
                  <a:pt x="6688" y="2208"/>
                </a:lnTo>
                <a:lnTo>
                  <a:pt x="6692" y="2208"/>
                </a:lnTo>
                <a:lnTo>
                  <a:pt x="6694" y="2210"/>
                </a:lnTo>
                <a:lnTo>
                  <a:pt x="6694" y="2218"/>
                </a:lnTo>
                <a:lnTo>
                  <a:pt x="6694" y="2220"/>
                </a:lnTo>
                <a:lnTo>
                  <a:pt x="6692" y="2220"/>
                </a:lnTo>
                <a:lnTo>
                  <a:pt x="6688" y="2218"/>
                </a:lnTo>
                <a:lnTo>
                  <a:pt x="6682" y="2216"/>
                </a:lnTo>
                <a:lnTo>
                  <a:pt x="6680" y="2214"/>
                </a:lnTo>
                <a:lnTo>
                  <a:pt x="6670" y="2212"/>
                </a:lnTo>
                <a:lnTo>
                  <a:pt x="6664" y="2210"/>
                </a:lnTo>
                <a:lnTo>
                  <a:pt x="6664" y="2208"/>
                </a:lnTo>
                <a:lnTo>
                  <a:pt x="6664" y="2204"/>
                </a:lnTo>
                <a:lnTo>
                  <a:pt x="6664" y="2200"/>
                </a:lnTo>
                <a:lnTo>
                  <a:pt x="6662" y="2198"/>
                </a:lnTo>
                <a:lnTo>
                  <a:pt x="6662" y="2194"/>
                </a:lnTo>
                <a:lnTo>
                  <a:pt x="6660" y="2188"/>
                </a:lnTo>
                <a:lnTo>
                  <a:pt x="6658" y="2188"/>
                </a:lnTo>
                <a:lnTo>
                  <a:pt x="6654" y="2190"/>
                </a:lnTo>
                <a:lnTo>
                  <a:pt x="6646" y="2190"/>
                </a:lnTo>
                <a:lnTo>
                  <a:pt x="6642" y="2188"/>
                </a:lnTo>
                <a:lnTo>
                  <a:pt x="6638" y="2184"/>
                </a:lnTo>
                <a:lnTo>
                  <a:pt x="6634" y="2178"/>
                </a:lnTo>
                <a:lnTo>
                  <a:pt x="6632" y="2174"/>
                </a:lnTo>
                <a:lnTo>
                  <a:pt x="6632" y="2172"/>
                </a:lnTo>
                <a:lnTo>
                  <a:pt x="6628" y="2172"/>
                </a:lnTo>
                <a:lnTo>
                  <a:pt x="6622" y="2172"/>
                </a:lnTo>
                <a:lnTo>
                  <a:pt x="6618" y="2170"/>
                </a:lnTo>
                <a:lnTo>
                  <a:pt x="6614" y="2168"/>
                </a:lnTo>
                <a:lnTo>
                  <a:pt x="6612" y="2168"/>
                </a:lnTo>
                <a:lnTo>
                  <a:pt x="6608" y="2172"/>
                </a:lnTo>
                <a:lnTo>
                  <a:pt x="6604" y="2178"/>
                </a:lnTo>
                <a:lnTo>
                  <a:pt x="6596" y="2184"/>
                </a:lnTo>
                <a:lnTo>
                  <a:pt x="6592" y="2186"/>
                </a:lnTo>
                <a:lnTo>
                  <a:pt x="6586" y="2188"/>
                </a:lnTo>
                <a:lnTo>
                  <a:pt x="6580" y="2188"/>
                </a:lnTo>
                <a:lnTo>
                  <a:pt x="6576" y="2190"/>
                </a:lnTo>
                <a:lnTo>
                  <a:pt x="6572" y="2198"/>
                </a:lnTo>
                <a:lnTo>
                  <a:pt x="6568" y="2202"/>
                </a:lnTo>
                <a:lnTo>
                  <a:pt x="6566" y="2202"/>
                </a:lnTo>
                <a:lnTo>
                  <a:pt x="6562" y="2200"/>
                </a:lnTo>
                <a:lnTo>
                  <a:pt x="6558" y="2198"/>
                </a:lnTo>
                <a:lnTo>
                  <a:pt x="6554" y="2198"/>
                </a:lnTo>
                <a:lnTo>
                  <a:pt x="6550" y="2198"/>
                </a:lnTo>
                <a:lnTo>
                  <a:pt x="6544" y="2200"/>
                </a:lnTo>
                <a:lnTo>
                  <a:pt x="6542" y="2200"/>
                </a:lnTo>
                <a:lnTo>
                  <a:pt x="6540" y="2198"/>
                </a:lnTo>
                <a:lnTo>
                  <a:pt x="6540" y="2196"/>
                </a:lnTo>
                <a:lnTo>
                  <a:pt x="6542" y="2194"/>
                </a:lnTo>
                <a:lnTo>
                  <a:pt x="6548" y="2190"/>
                </a:lnTo>
                <a:lnTo>
                  <a:pt x="6554" y="2186"/>
                </a:lnTo>
                <a:lnTo>
                  <a:pt x="6556" y="2184"/>
                </a:lnTo>
                <a:lnTo>
                  <a:pt x="6554" y="2182"/>
                </a:lnTo>
                <a:lnTo>
                  <a:pt x="6554" y="2180"/>
                </a:lnTo>
                <a:lnTo>
                  <a:pt x="6556" y="2176"/>
                </a:lnTo>
                <a:lnTo>
                  <a:pt x="6556" y="2174"/>
                </a:lnTo>
                <a:lnTo>
                  <a:pt x="6554" y="2174"/>
                </a:lnTo>
                <a:lnTo>
                  <a:pt x="6546" y="2176"/>
                </a:lnTo>
                <a:lnTo>
                  <a:pt x="6540" y="2178"/>
                </a:lnTo>
                <a:lnTo>
                  <a:pt x="6536" y="2178"/>
                </a:lnTo>
                <a:lnTo>
                  <a:pt x="6532" y="2178"/>
                </a:lnTo>
                <a:lnTo>
                  <a:pt x="6530" y="2176"/>
                </a:lnTo>
                <a:lnTo>
                  <a:pt x="6528" y="2172"/>
                </a:lnTo>
                <a:lnTo>
                  <a:pt x="6526" y="2172"/>
                </a:lnTo>
                <a:lnTo>
                  <a:pt x="6522" y="2172"/>
                </a:lnTo>
                <a:lnTo>
                  <a:pt x="6520" y="2174"/>
                </a:lnTo>
                <a:lnTo>
                  <a:pt x="6518" y="2172"/>
                </a:lnTo>
                <a:lnTo>
                  <a:pt x="6514" y="2168"/>
                </a:lnTo>
                <a:lnTo>
                  <a:pt x="6510" y="2168"/>
                </a:lnTo>
                <a:lnTo>
                  <a:pt x="6506" y="2168"/>
                </a:lnTo>
                <a:lnTo>
                  <a:pt x="6508" y="2166"/>
                </a:lnTo>
                <a:lnTo>
                  <a:pt x="6512" y="2162"/>
                </a:lnTo>
                <a:lnTo>
                  <a:pt x="6512" y="2158"/>
                </a:lnTo>
                <a:lnTo>
                  <a:pt x="6510" y="2156"/>
                </a:lnTo>
                <a:lnTo>
                  <a:pt x="6508" y="2150"/>
                </a:lnTo>
                <a:lnTo>
                  <a:pt x="6506" y="2150"/>
                </a:lnTo>
                <a:lnTo>
                  <a:pt x="6504" y="2150"/>
                </a:lnTo>
                <a:lnTo>
                  <a:pt x="6500" y="2150"/>
                </a:lnTo>
                <a:lnTo>
                  <a:pt x="6496" y="2148"/>
                </a:lnTo>
                <a:lnTo>
                  <a:pt x="6494" y="2148"/>
                </a:lnTo>
                <a:lnTo>
                  <a:pt x="6490" y="2148"/>
                </a:lnTo>
                <a:lnTo>
                  <a:pt x="6488" y="2148"/>
                </a:lnTo>
                <a:lnTo>
                  <a:pt x="6492" y="2142"/>
                </a:lnTo>
                <a:lnTo>
                  <a:pt x="6494" y="2142"/>
                </a:lnTo>
                <a:lnTo>
                  <a:pt x="6494" y="2144"/>
                </a:lnTo>
                <a:lnTo>
                  <a:pt x="6496" y="2144"/>
                </a:lnTo>
                <a:lnTo>
                  <a:pt x="6500" y="2146"/>
                </a:lnTo>
                <a:lnTo>
                  <a:pt x="6502" y="2144"/>
                </a:lnTo>
                <a:lnTo>
                  <a:pt x="6504" y="2144"/>
                </a:lnTo>
                <a:lnTo>
                  <a:pt x="6506" y="2144"/>
                </a:lnTo>
                <a:lnTo>
                  <a:pt x="6508" y="2146"/>
                </a:lnTo>
                <a:lnTo>
                  <a:pt x="6512" y="2144"/>
                </a:lnTo>
                <a:lnTo>
                  <a:pt x="6512" y="2142"/>
                </a:lnTo>
                <a:lnTo>
                  <a:pt x="6512" y="2140"/>
                </a:lnTo>
                <a:lnTo>
                  <a:pt x="6506" y="2134"/>
                </a:lnTo>
                <a:lnTo>
                  <a:pt x="6500" y="2132"/>
                </a:lnTo>
                <a:lnTo>
                  <a:pt x="6496" y="2134"/>
                </a:lnTo>
                <a:lnTo>
                  <a:pt x="6494" y="2134"/>
                </a:lnTo>
                <a:lnTo>
                  <a:pt x="6490" y="2132"/>
                </a:lnTo>
                <a:lnTo>
                  <a:pt x="6490" y="2130"/>
                </a:lnTo>
                <a:lnTo>
                  <a:pt x="6490" y="2128"/>
                </a:lnTo>
                <a:lnTo>
                  <a:pt x="6494" y="2124"/>
                </a:lnTo>
                <a:lnTo>
                  <a:pt x="6498" y="2122"/>
                </a:lnTo>
                <a:lnTo>
                  <a:pt x="6498" y="2120"/>
                </a:lnTo>
                <a:lnTo>
                  <a:pt x="6496" y="2118"/>
                </a:lnTo>
                <a:lnTo>
                  <a:pt x="6494" y="2114"/>
                </a:lnTo>
                <a:lnTo>
                  <a:pt x="6494" y="2112"/>
                </a:lnTo>
                <a:lnTo>
                  <a:pt x="6494" y="2110"/>
                </a:lnTo>
                <a:lnTo>
                  <a:pt x="6492" y="2106"/>
                </a:lnTo>
                <a:lnTo>
                  <a:pt x="6492" y="2104"/>
                </a:lnTo>
                <a:lnTo>
                  <a:pt x="6498" y="2102"/>
                </a:lnTo>
                <a:lnTo>
                  <a:pt x="6502" y="2100"/>
                </a:lnTo>
                <a:lnTo>
                  <a:pt x="6504" y="2098"/>
                </a:lnTo>
                <a:lnTo>
                  <a:pt x="6502" y="2096"/>
                </a:lnTo>
                <a:lnTo>
                  <a:pt x="6504" y="2094"/>
                </a:lnTo>
                <a:lnTo>
                  <a:pt x="6508" y="2092"/>
                </a:lnTo>
                <a:lnTo>
                  <a:pt x="6510" y="2090"/>
                </a:lnTo>
                <a:lnTo>
                  <a:pt x="6510" y="2088"/>
                </a:lnTo>
                <a:lnTo>
                  <a:pt x="6508" y="2086"/>
                </a:lnTo>
                <a:lnTo>
                  <a:pt x="6506" y="2082"/>
                </a:lnTo>
                <a:lnTo>
                  <a:pt x="6508" y="2082"/>
                </a:lnTo>
                <a:lnTo>
                  <a:pt x="6514" y="2084"/>
                </a:lnTo>
                <a:lnTo>
                  <a:pt x="6516" y="2084"/>
                </a:lnTo>
                <a:lnTo>
                  <a:pt x="6518" y="2084"/>
                </a:lnTo>
                <a:lnTo>
                  <a:pt x="6520" y="2080"/>
                </a:lnTo>
                <a:lnTo>
                  <a:pt x="6520" y="2078"/>
                </a:lnTo>
                <a:lnTo>
                  <a:pt x="6518" y="2068"/>
                </a:lnTo>
                <a:lnTo>
                  <a:pt x="6520" y="2060"/>
                </a:lnTo>
                <a:lnTo>
                  <a:pt x="6522" y="2056"/>
                </a:lnTo>
                <a:lnTo>
                  <a:pt x="6524" y="2056"/>
                </a:lnTo>
                <a:lnTo>
                  <a:pt x="6528" y="2056"/>
                </a:lnTo>
                <a:lnTo>
                  <a:pt x="6528" y="2058"/>
                </a:lnTo>
                <a:lnTo>
                  <a:pt x="6526" y="2062"/>
                </a:lnTo>
                <a:lnTo>
                  <a:pt x="6526" y="2064"/>
                </a:lnTo>
                <a:lnTo>
                  <a:pt x="6528" y="2066"/>
                </a:lnTo>
                <a:lnTo>
                  <a:pt x="6532" y="2068"/>
                </a:lnTo>
                <a:lnTo>
                  <a:pt x="6534" y="2066"/>
                </a:lnTo>
                <a:lnTo>
                  <a:pt x="6534" y="2064"/>
                </a:lnTo>
                <a:lnTo>
                  <a:pt x="6536" y="2064"/>
                </a:lnTo>
                <a:lnTo>
                  <a:pt x="6538" y="2064"/>
                </a:lnTo>
                <a:lnTo>
                  <a:pt x="6540" y="2064"/>
                </a:lnTo>
                <a:lnTo>
                  <a:pt x="6542" y="2060"/>
                </a:lnTo>
                <a:lnTo>
                  <a:pt x="6548" y="2050"/>
                </a:lnTo>
                <a:lnTo>
                  <a:pt x="6548" y="2046"/>
                </a:lnTo>
                <a:lnTo>
                  <a:pt x="6548" y="2044"/>
                </a:lnTo>
                <a:lnTo>
                  <a:pt x="6542" y="2042"/>
                </a:lnTo>
                <a:lnTo>
                  <a:pt x="6530" y="2042"/>
                </a:lnTo>
                <a:lnTo>
                  <a:pt x="6526" y="2040"/>
                </a:lnTo>
                <a:lnTo>
                  <a:pt x="6522" y="2040"/>
                </a:lnTo>
                <a:lnTo>
                  <a:pt x="6522" y="2038"/>
                </a:lnTo>
                <a:lnTo>
                  <a:pt x="6524" y="2036"/>
                </a:lnTo>
                <a:lnTo>
                  <a:pt x="6526" y="2030"/>
                </a:lnTo>
                <a:lnTo>
                  <a:pt x="6524" y="2026"/>
                </a:lnTo>
                <a:lnTo>
                  <a:pt x="6522" y="2022"/>
                </a:lnTo>
                <a:lnTo>
                  <a:pt x="6522" y="2018"/>
                </a:lnTo>
                <a:lnTo>
                  <a:pt x="6524" y="2008"/>
                </a:lnTo>
                <a:lnTo>
                  <a:pt x="6526" y="2004"/>
                </a:lnTo>
                <a:lnTo>
                  <a:pt x="6528" y="2002"/>
                </a:lnTo>
                <a:lnTo>
                  <a:pt x="6530" y="1998"/>
                </a:lnTo>
                <a:lnTo>
                  <a:pt x="6532" y="1994"/>
                </a:lnTo>
                <a:lnTo>
                  <a:pt x="6532" y="1988"/>
                </a:lnTo>
                <a:lnTo>
                  <a:pt x="6530" y="1980"/>
                </a:lnTo>
                <a:lnTo>
                  <a:pt x="6528" y="1976"/>
                </a:lnTo>
                <a:lnTo>
                  <a:pt x="6528" y="1974"/>
                </a:lnTo>
                <a:lnTo>
                  <a:pt x="6532" y="1968"/>
                </a:lnTo>
                <a:lnTo>
                  <a:pt x="6534" y="1966"/>
                </a:lnTo>
                <a:lnTo>
                  <a:pt x="6534" y="1964"/>
                </a:lnTo>
                <a:lnTo>
                  <a:pt x="6530" y="1964"/>
                </a:lnTo>
                <a:lnTo>
                  <a:pt x="6528" y="1966"/>
                </a:lnTo>
                <a:lnTo>
                  <a:pt x="6522" y="1970"/>
                </a:lnTo>
                <a:lnTo>
                  <a:pt x="6514" y="1974"/>
                </a:lnTo>
                <a:lnTo>
                  <a:pt x="6510" y="1974"/>
                </a:lnTo>
                <a:lnTo>
                  <a:pt x="6506" y="1978"/>
                </a:lnTo>
                <a:lnTo>
                  <a:pt x="6500" y="1988"/>
                </a:lnTo>
                <a:lnTo>
                  <a:pt x="6494" y="1994"/>
                </a:lnTo>
                <a:lnTo>
                  <a:pt x="6488" y="1998"/>
                </a:lnTo>
                <a:lnTo>
                  <a:pt x="6480" y="2002"/>
                </a:lnTo>
                <a:lnTo>
                  <a:pt x="6470" y="2002"/>
                </a:lnTo>
                <a:lnTo>
                  <a:pt x="6460" y="2004"/>
                </a:lnTo>
                <a:lnTo>
                  <a:pt x="6452" y="2006"/>
                </a:lnTo>
                <a:lnTo>
                  <a:pt x="6446" y="2012"/>
                </a:lnTo>
                <a:lnTo>
                  <a:pt x="6442" y="2018"/>
                </a:lnTo>
                <a:lnTo>
                  <a:pt x="6438" y="2026"/>
                </a:lnTo>
                <a:lnTo>
                  <a:pt x="6436" y="2034"/>
                </a:lnTo>
                <a:lnTo>
                  <a:pt x="6432" y="2054"/>
                </a:lnTo>
                <a:lnTo>
                  <a:pt x="6432" y="2070"/>
                </a:lnTo>
                <a:lnTo>
                  <a:pt x="6434" y="2080"/>
                </a:lnTo>
                <a:lnTo>
                  <a:pt x="6436" y="2088"/>
                </a:lnTo>
                <a:lnTo>
                  <a:pt x="6434" y="2096"/>
                </a:lnTo>
                <a:lnTo>
                  <a:pt x="6432" y="2102"/>
                </a:lnTo>
                <a:lnTo>
                  <a:pt x="6434" y="2104"/>
                </a:lnTo>
                <a:lnTo>
                  <a:pt x="6438" y="2106"/>
                </a:lnTo>
                <a:lnTo>
                  <a:pt x="6442" y="2110"/>
                </a:lnTo>
                <a:lnTo>
                  <a:pt x="6442" y="2108"/>
                </a:lnTo>
                <a:lnTo>
                  <a:pt x="6444" y="2104"/>
                </a:lnTo>
                <a:lnTo>
                  <a:pt x="6446" y="2106"/>
                </a:lnTo>
                <a:lnTo>
                  <a:pt x="6450" y="2108"/>
                </a:lnTo>
                <a:lnTo>
                  <a:pt x="6452" y="2110"/>
                </a:lnTo>
                <a:lnTo>
                  <a:pt x="6456" y="2114"/>
                </a:lnTo>
                <a:lnTo>
                  <a:pt x="6456" y="2122"/>
                </a:lnTo>
                <a:lnTo>
                  <a:pt x="6456" y="2128"/>
                </a:lnTo>
                <a:lnTo>
                  <a:pt x="6452" y="2126"/>
                </a:lnTo>
                <a:lnTo>
                  <a:pt x="6450" y="2124"/>
                </a:lnTo>
                <a:lnTo>
                  <a:pt x="6448" y="2128"/>
                </a:lnTo>
                <a:lnTo>
                  <a:pt x="6448" y="2132"/>
                </a:lnTo>
                <a:lnTo>
                  <a:pt x="6450" y="2132"/>
                </a:lnTo>
                <a:lnTo>
                  <a:pt x="6452" y="2130"/>
                </a:lnTo>
                <a:lnTo>
                  <a:pt x="6454" y="2130"/>
                </a:lnTo>
                <a:lnTo>
                  <a:pt x="6454" y="2142"/>
                </a:lnTo>
                <a:lnTo>
                  <a:pt x="6456" y="2148"/>
                </a:lnTo>
                <a:lnTo>
                  <a:pt x="6458" y="2154"/>
                </a:lnTo>
                <a:lnTo>
                  <a:pt x="6468" y="2164"/>
                </a:lnTo>
                <a:lnTo>
                  <a:pt x="6470" y="2168"/>
                </a:lnTo>
                <a:lnTo>
                  <a:pt x="6470" y="2170"/>
                </a:lnTo>
                <a:lnTo>
                  <a:pt x="6466" y="2172"/>
                </a:lnTo>
                <a:lnTo>
                  <a:pt x="6458" y="2172"/>
                </a:lnTo>
                <a:lnTo>
                  <a:pt x="6456" y="2174"/>
                </a:lnTo>
                <a:lnTo>
                  <a:pt x="6454" y="2178"/>
                </a:lnTo>
                <a:lnTo>
                  <a:pt x="6454" y="2180"/>
                </a:lnTo>
                <a:lnTo>
                  <a:pt x="6454" y="2182"/>
                </a:lnTo>
                <a:lnTo>
                  <a:pt x="6460" y="2180"/>
                </a:lnTo>
                <a:lnTo>
                  <a:pt x="6464" y="2180"/>
                </a:lnTo>
                <a:lnTo>
                  <a:pt x="6464" y="2184"/>
                </a:lnTo>
                <a:lnTo>
                  <a:pt x="6462" y="2186"/>
                </a:lnTo>
                <a:lnTo>
                  <a:pt x="6462" y="2188"/>
                </a:lnTo>
                <a:lnTo>
                  <a:pt x="6466" y="2192"/>
                </a:lnTo>
                <a:lnTo>
                  <a:pt x="6470" y="2194"/>
                </a:lnTo>
                <a:lnTo>
                  <a:pt x="6468" y="2196"/>
                </a:lnTo>
                <a:lnTo>
                  <a:pt x="6464" y="2198"/>
                </a:lnTo>
                <a:lnTo>
                  <a:pt x="6464" y="2200"/>
                </a:lnTo>
                <a:lnTo>
                  <a:pt x="6466" y="2202"/>
                </a:lnTo>
                <a:lnTo>
                  <a:pt x="6474" y="2204"/>
                </a:lnTo>
                <a:lnTo>
                  <a:pt x="6482" y="2206"/>
                </a:lnTo>
                <a:lnTo>
                  <a:pt x="6488" y="2212"/>
                </a:lnTo>
                <a:lnTo>
                  <a:pt x="6490" y="2214"/>
                </a:lnTo>
                <a:lnTo>
                  <a:pt x="6486" y="2212"/>
                </a:lnTo>
                <a:lnTo>
                  <a:pt x="6478" y="2208"/>
                </a:lnTo>
                <a:lnTo>
                  <a:pt x="6472" y="2208"/>
                </a:lnTo>
                <a:lnTo>
                  <a:pt x="6464" y="2208"/>
                </a:lnTo>
                <a:lnTo>
                  <a:pt x="6456" y="2206"/>
                </a:lnTo>
                <a:lnTo>
                  <a:pt x="6454" y="2206"/>
                </a:lnTo>
                <a:lnTo>
                  <a:pt x="6452" y="2208"/>
                </a:lnTo>
                <a:lnTo>
                  <a:pt x="6452" y="2216"/>
                </a:lnTo>
                <a:lnTo>
                  <a:pt x="6454" y="2228"/>
                </a:lnTo>
                <a:lnTo>
                  <a:pt x="6454" y="2232"/>
                </a:lnTo>
                <a:lnTo>
                  <a:pt x="6450" y="2236"/>
                </a:lnTo>
                <a:lnTo>
                  <a:pt x="6448" y="2236"/>
                </a:lnTo>
                <a:lnTo>
                  <a:pt x="6448" y="2232"/>
                </a:lnTo>
                <a:lnTo>
                  <a:pt x="6448" y="2226"/>
                </a:lnTo>
                <a:lnTo>
                  <a:pt x="6448" y="2224"/>
                </a:lnTo>
                <a:lnTo>
                  <a:pt x="6446" y="2222"/>
                </a:lnTo>
                <a:lnTo>
                  <a:pt x="6442" y="2222"/>
                </a:lnTo>
                <a:lnTo>
                  <a:pt x="6440" y="2224"/>
                </a:lnTo>
                <a:lnTo>
                  <a:pt x="6440" y="2228"/>
                </a:lnTo>
                <a:lnTo>
                  <a:pt x="6438" y="2232"/>
                </a:lnTo>
                <a:lnTo>
                  <a:pt x="6438" y="2234"/>
                </a:lnTo>
                <a:lnTo>
                  <a:pt x="6436" y="2232"/>
                </a:lnTo>
                <a:lnTo>
                  <a:pt x="6434" y="2230"/>
                </a:lnTo>
                <a:lnTo>
                  <a:pt x="6432" y="2226"/>
                </a:lnTo>
                <a:lnTo>
                  <a:pt x="6434" y="2222"/>
                </a:lnTo>
                <a:lnTo>
                  <a:pt x="6432" y="2220"/>
                </a:lnTo>
                <a:lnTo>
                  <a:pt x="6430" y="2218"/>
                </a:lnTo>
                <a:lnTo>
                  <a:pt x="6426" y="2216"/>
                </a:lnTo>
                <a:lnTo>
                  <a:pt x="6418" y="2216"/>
                </a:lnTo>
                <a:lnTo>
                  <a:pt x="6406" y="2216"/>
                </a:lnTo>
                <a:lnTo>
                  <a:pt x="6398" y="2218"/>
                </a:lnTo>
                <a:lnTo>
                  <a:pt x="6394" y="2222"/>
                </a:lnTo>
                <a:lnTo>
                  <a:pt x="6392" y="2230"/>
                </a:lnTo>
                <a:lnTo>
                  <a:pt x="6390" y="2234"/>
                </a:lnTo>
                <a:lnTo>
                  <a:pt x="6392" y="2236"/>
                </a:lnTo>
                <a:lnTo>
                  <a:pt x="6394" y="2238"/>
                </a:lnTo>
                <a:lnTo>
                  <a:pt x="6398" y="2240"/>
                </a:lnTo>
                <a:lnTo>
                  <a:pt x="6398" y="2242"/>
                </a:lnTo>
                <a:lnTo>
                  <a:pt x="6394" y="2244"/>
                </a:lnTo>
                <a:lnTo>
                  <a:pt x="6390" y="2242"/>
                </a:lnTo>
                <a:lnTo>
                  <a:pt x="6384" y="2234"/>
                </a:lnTo>
                <a:lnTo>
                  <a:pt x="6380" y="2232"/>
                </a:lnTo>
                <a:lnTo>
                  <a:pt x="6374" y="2230"/>
                </a:lnTo>
                <a:lnTo>
                  <a:pt x="6348" y="2234"/>
                </a:lnTo>
                <a:lnTo>
                  <a:pt x="6338" y="2238"/>
                </a:lnTo>
                <a:lnTo>
                  <a:pt x="6330" y="2240"/>
                </a:lnTo>
                <a:lnTo>
                  <a:pt x="6324" y="2244"/>
                </a:lnTo>
                <a:lnTo>
                  <a:pt x="6322" y="2248"/>
                </a:lnTo>
                <a:lnTo>
                  <a:pt x="6318" y="2252"/>
                </a:lnTo>
                <a:lnTo>
                  <a:pt x="6318" y="2254"/>
                </a:lnTo>
                <a:lnTo>
                  <a:pt x="6318" y="2258"/>
                </a:lnTo>
                <a:lnTo>
                  <a:pt x="6320" y="2258"/>
                </a:lnTo>
                <a:lnTo>
                  <a:pt x="6322" y="2258"/>
                </a:lnTo>
                <a:lnTo>
                  <a:pt x="6324" y="2260"/>
                </a:lnTo>
                <a:lnTo>
                  <a:pt x="6324" y="2264"/>
                </a:lnTo>
                <a:lnTo>
                  <a:pt x="6324" y="2266"/>
                </a:lnTo>
                <a:lnTo>
                  <a:pt x="6326" y="2268"/>
                </a:lnTo>
                <a:lnTo>
                  <a:pt x="6328" y="2268"/>
                </a:lnTo>
                <a:lnTo>
                  <a:pt x="6330" y="2270"/>
                </a:lnTo>
                <a:lnTo>
                  <a:pt x="6330" y="2276"/>
                </a:lnTo>
                <a:lnTo>
                  <a:pt x="6330" y="2280"/>
                </a:lnTo>
                <a:lnTo>
                  <a:pt x="6332" y="2282"/>
                </a:lnTo>
                <a:lnTo>
                  <a:pt x="6334" y="2284"/>
                </a:lnTo>
                <a:lnTo>
                  <a:pt x="6338" y="2286"/>
                </a:lnTo>
                <a:lnTo>
                  <a:pt x="6340" y="2288"/>
                </a:lnTo>
                <a:lnTo>
                  <a:pt x="6338" y="2292"/>
                </a:lnTo>
                <a:lnTo>
                  <a:pt x="6336" y="2298"/>
                </a:lnTo>
                <a:lnTo>
                  <a:pt x="6332" y="2300"/>
                </a:lnTo>
                <a:lnTo>
                  <a:pt x="6328" y="2304"/>
                </a:lnTo>
                <a:lnTo>
                  <a:pt x="6324" y="2304"/>
                </a:lnTo>
                <a:lnTo>
                  <a:pt x="6318" y="2304"/>
                </a:lnTo>
                <a:lnTo>
                  <a:pt x="6312" y="2298"/>
                </a:lnTo>
                <a:lnTo>
                  <a:pt x="6308" y="2292"/>
                </a:lnTo>
                <a:lnTo>
                  <a:pt x="6308" y="2288"/>
                </a:lnTo>
                <a:lnTo>
                  <a:pt x="6308" y="2286"/>
                </a:lnTo>
                <a:lnTo>
                  <a:pt x="6312" y="2282"/>
                </a:lnTo>
                <a:lnTo>
                  <a:pt x="6314" y="2280"/>
                </a:lnTo>
                <a:lnTo>
                  <a:pt x="6318" y="2278"/>
                </a:lnTo>
                <a:lnTo>
                  <a:pt x="6316" y="2276"/>
                </a:lnTo>
                <a:lnTo>
                  <a:pt x="6312" y="2272"/>
                </a:lnTo>
                <a:lnTo>
                  <a:pt x="6310" y="2272"/>
                </a:lnTo>
                <a:lnTo>
                  <a:pt x="6310" y="2270"/>
                </a:lnTo>
                <a:lnTo>
                  <a:pt x="6312" y="2264"/>
                </a:lnTo>
                <a:lnTo>
                  <a:pt x="6314" y="2260"/>
                </a:lnTo>
                <a:lnTo>
                  <a:pt x="6314" y="2258"/>
                </a:lnTo>
                <a:lnTo>
                  <a:pt x="6312" y="2258"/>
                </a:lnTo>
                <a:lnTo>
                  <a:pt x="6302" y="2262"/>
                </a:lnTo>
                <a:lnTo>
                  <a:pt x="6298" y="2262"/>
                </a:lnTo>
                <a:lnTo>
                  <a:pt x="6296" y="2262"/>
                </a:lnTo>
                <a:lnTo>
                  <a:pt x="6294" y="2272"/>
                </a:lnTo>
                <a:lnTo>
                  <a:pt x="6292" y="2286"/>
                </a:lnTo>
                <a:lnTo>
                  <a:pt x="6288" y="2294"/>
                </a:lnTo>
                <a:lnTo>
                  <a:pt x="6286" y="2304"/>
                </a:lnTo>
                <a:lnTo>
                  <a:pt x="6278" y="2316"/>
                </a:lnTo>
                <a:lnTo>
                  <a:pt x="6272" y="2320"/>
                </a:lnTo>
                <a:lnTo>
                  <a:pt x="6270" y="2322"/>
                </a:lnTo>
                <a:lnTo>
                  <a:pt x="6270" y="2324"/>
                </a:lnTo>
                <a:lnTo>
                  <a:pt x="6270" y="2328"/>
                </a:lnTo>
                <a:lnTo>
                  <a:pt x="6270" y="2330"/>
                </a:lnTo>
                <a:lnTo>
                  <a:pt x="6262" y="2332"/>
                </a:lnTo>
                <a:lnTo>
                  <a:pt x="6256" y="2334"/>
                </a:lnTo>
                <a:lnTo>
                  <a:pt x="6256" y="2336"/>
                </a:lnTo>
                <a:lnTo>
                  <a:pt x="6256" y="2338"/>
                </a:lnTo>
                <a:lnTo>
                  <a:pt x="6262" y="2340"/>
                </a:lnTo>
                <a:lnTo>
                  <a:pt x="6272" y="2342"/>
                </a:lnTo>
                <a:lnTo>
                  <a:pt x="6276" y="2344"/>
                </a:lnTo>
                <a:lnTo>
                  <a:pt x="6268" y="2346"/>
                </a:lnTo>
                <a:lnTo>
                  <a:pt x="6254" y="2344"/>
                </a:lnTo>
                <a:lnTo>
                  <a:pt x="6250" y="2344"/>
                </a:lnTo>
                <a:lnTo>
                  <a:pt x="6246" y="2346"/>
                </a:lnTo>
                <a:lnTo>
                  <a:pt x="6246" y="2348"/>
                </a:lnTo>
                <a:lnTo>
                  <a:pt x="6252" y="2352"/>
                </a:lnTo>
                <a:lnTo>
                  <a:pt x="6260" y="2354"/>
                </a:lnTo>
                <a:lnTo>
                  <a:pt x="6264" y="2354"/>
                </a:lnTo>
                <a:lnTo>
                  <a:pt x="6270" y="2352"/>
                </a:lnTo>
                <a:lnTo>
                  <a:pt x="6272" y="2354"/>
                </a:lnTo>
                <a:lnTo>
                  <a:pt x="6274" y="2356"/>
                </a:lnTo>
                <a:lnTo>
                  <a:pt x="6272" y="2356"/>
                </a:lnTo>
                <a:lnTo>
                  <a:pt x="6264" y="2358"/>
                </a:lnTo>
                <a:lnTo>
                  <a:pt x="6260" y="2360"/>
                </a:lnTo>
                <a:lnTo>
                  <a:pt x="6256" y="2358"/>
                </a:lnTo>
                <a:lnTo>
                  <a:pt x="6252" y="2356"/>
                </a:lnTo>
                <a:lnTo>
                  <a:pt x="6248" y="2356"/>
                </a:lnTo>
                <a:lnTo>
                  <a:pt x="6242" y="2356"/>
                </a:lnTo>
                <a:lnTo>
                  <a:pt x="6234" y="2360"/>
                </a:lnTo>
                <a:lnTo>
                  <a:pt x="6226" y="2366"/>
                </a:lnTo>
                <a:lnTo>
                  <a:pt x="6216" y="2372"/>
                </a:lnTo>
                <a:lnTo>
                  <a:pt x="6208" y="2374"/>
                </a:lnTo>
                <a:lnTo>
                  <a:pt x="6190" y="2378"/>
                </a:lnTo>
                <a:lnTo>
                  <a:pt x="6176" y="2382"/>
                </a:lnTo>
                <a:lnTo>
                  <a:pt x="6172" y="2384"/>
                </a:lnTo>
                <a:lnTo>
                  <a:pt x="6170" y="2388"/>
                </a:lnTo>
                <a:lnTo>
                  <a:pt x="6170" y="2390"/>
                </a:lnTo>
                <a:lnTo>
                  <a:pt x="6170" y="2396"/>
                </a:lnTo>
                <a:lnTo>
                  <a:pt x="6170" y="2402"/>
                </a:lnTo>
                <a:lnTo>
                  <a:pt x="6170" y="2408"/>
                </a:lnTo>
                <a:lnTo>
                  <a:pt x="6170" y="2410"/>
                </a:lnTo>
                <a:lnTo>
                  <a:pt x="6170" y="2414"/>
                </a:lnTo>
                <a:lnTo>
                  <a:pt x="6170" y="2416"/>
                </a:lnTo>
                <a:lnTo>
                  <a:pt x="6170" y="2418"/>
                </a:lnTo>
                <a:lnTo>
                  <a:pt x="6168" y="2420"/>
                </a:lnTo>
                <a:lnTo>
                  <a:pt x="6170" y="2424"/>
                </a:lnTo>
                <a:lnTo>
                  <a:pt x="6172" y="2426"/>
                </a:lnTo>
                <a:lnTo>
                  <a:pt x="6170" y="2428"/>
                </a:lnTo>
                <a:lnTo>
                  <a:pt x="6168" y="2428"/>
                </a:lnTo>
                <a:lnTo>
                  <a:pt x="6164" y="2432"/>
                </a:lnTo>
                <a:lnTo>
                  <a:pt x="6162" y="2436"/>
                </a:lnTo>
                <a:lnTo>
                  <a:pt x="6156" y="2438"/>
                </a:lnTo>
                <a:lnTo>
                  <a:pt x="6128" y="2448"/>
                </a:lnTo>
                <a:lnTo>
                  <a:pt x="6120" y="2454"/>
                </a:lnTo>
                <a:lnTo>
                  <a:pt x="6114" y="2458"/>
                </a:lnTo>
                <a:lnTo>
                  <a:pt x="6110" y="2460"/>
                </a:lnTo>
                <a:lnTo>
                  <a:pt x="6110" y="2464"/>
                </a:lnTo>
                <a:lnTo>
                  <a:pt x="6110" y="2466"/>
                </a:lnTo>
                <a:lnTo>
                  <a:pt x="6112" y="2468"/>
                </a:lnTo>
                <a:lnTo>
                  <a:pt x="6118" y="2470"/>
                </a:lnTo>
                <a:lnTo>
                  <a:pt x="6120" y="2472"/>
                </a:lnTo>
                <a:lnTo>
                  <a:pt x="6116" y="2474"/>
                </a:lnTo>
                <a:lnTo>
                  <a:pt x="6104" y="2480"/>
                </a:lnTo>
                <a:lnTo>
                  <a:pt x="6100" y="2480"/>
                </a:lnTo>
                <a:lnTo>
                  <a:pt x="6096" y="2480"/>
                </a:lnTo>
                <a:lnTo>
                  <a:pt x="6088" y="2478"/>
                </a:lnTo>
                <a:lnTo>
                  <a:pt x="6076" y="2476"/>
                </a:lnTo>
                <a:lnTo>
                  <a:pt x="6068" y="2476"/>
                </a:lnTo>
                <a:lnTo>
                  <a:pt x="6060" y="2478"/>
                </a:lnTo>
                <a:lnTo>
                  <a:pt x="6058" y="2476"/>
                </a:lnTo>
                <a:lnTo>
                  <a:pt x="6058" y="2474"/>
                </a:lnTo>
                <a:lnTo>
                  <a:pt x="6056" y="2466"/>
                </a:lnTo>
                <a:lnTo>
                  <a:pt x="6054" y="2458"/>
                </a:lnTo>
                <a:lnTo>
                  <a:pt x="6052" y="2456"/>
                </a:lnTo>
                <a:lnTo>
                  <a:pt x="6048" y="2456"/>
                </a:lnTo>
                <a:lnTo>
                  <a:pt x="6040" y="2458"/>
                </a:lnTo>
                <a:lnTo>
                  <a:pt x="6034" y="2456"/>
                </a:lnTo>
                <a:lnTo>
                  <a:pt x="6030" y="2456"/>
                </a:lnTo>
                <a:lnTo>
                  <a:pt x="6030" y="2460"/>
                </a:lnTo>
                <a:lnTo>
                  <a:pt x="6032" y="2464"/>
                </a:lnTo>
                <a:lnTo>
                  <a:pt x="6032" y="2470"/>
                </a:lnTo>
                <a:lnTo>
                  <a:pt x="6032" y="2474"/>
                </a:lnTo>
                <a:lnTo>
                  <a:pt x="6036" y="2476"/>
                </a:lnTo>
                <a:lnTo>
                  <a:pt x="6040" y="2480"/>
                </a:lnTo>
                <a:lnTo>
                  <a:pt x="6042" y="2488"/>
                </a:lnTo>
                <a:lnTo>
                  <a:pt x="6044" y="2498"/>
                </a:lnTo>
                <a:lnTo>
                  <a:pt x="6044" y="2506"/>
                </a:lnTo>
                <a:lnTo>
                  <a:pt x="6044" y="2510"/>
                </a:lnTo>
                <a:lnTo>
                  <a:pt x="6044" y="2512"/>
                </a:lnTo>
                <a:lnTo>
                  <a:pt x="6046" y="2516"/>
                </a:lnTo>
                <a:lnTo>
                  <a:pt x="6048" y="2520"/>
                </a:lnTo>
                <a:lnTo>
                  <a:pt x="6042" y="2522"/>
                </a:lnTo>
                <a:lnTo>
                  <a:pt x="6036" y="2522"/>
                </a:lnTo>
                <a:lnTo>
                  <a:pt x="6034" y="2518"/>
                </a:lnTo>
                <a:lnTo>
                  <a:pt x="6032" y="2516"/>
                </a:lnTo>
                <a:lnTo>
                  <a:pt x="6030" y="2514"/>
                </a:lnTo>
                <a:lnTo>
                  <a:pt x="6028" y="2516"/>
                </a:lnTo>
                <a:lnTo>
                  <a:pt x="6026" y="2518"/>
                </a:lnTo>
                <a:lnTo>
                  <a:pt x="6022" y="2520"/>
                </a:lnTo>
                <a:lnTo>
                  <a:pt x="6018" y="2520"/>
                </a:lnTo>
                <a:lnTo>
                  <a:pt x="6016" y="2518"/>
                </a:lnTo>
                <a:lnTo>
                  <a:pt x="6014" y="2516"/>
                </a:lnTo>
                <a:lnTo>
                  <a:pt x="6010" y="2518"/>
                </a:lnTo>
                <a:lnTo>
                  <a:pt x="6002" y="2524"/>
                </a:lnTo>
                <a:lnTo>
                  <a:pt x="5998" y="2526"/>
                </a:lnTo>
                <a:lnTo>
                  <a:pt x="5994" y="2522"/>
                </a:lnTo>
                <a:lnTo>
                  <a:pt x="5988" y="2508"/>
                </a:lnTo>
                <a:lnTo>
                  <a:pt x="5982" y="2504"/>
                </a:lnTo>
                <a:lnTo>
                  <a:pt x="5980" y="2504"/>
                </a:lnTo>
                <a:lnTo>
                  <a:pt x="5976" y="2504"/>
                </a:lnTo>
                <a:lnTo>
                  <a:pt x="5970" y="2508"/>
                </a:lnTo>
                <a:lnTo>
                  <a:pt x="5966" y="2508"/>
                </a:lnTo>
                <a:lnTo>
                  <a:pt x="5964" y="2508"/>
                </a:lnTo>
                <a:lnTo>
                  <a:pt x="5964" y="2512"/>
                </a:lnTo>
                <a:lnTo>
                  <a:pt x="5962" y="2514"/>
                </a:lnTo>
                <a:lnTo>
                  <a:pt x="5960" y="2516"/>
                </a:lnTo>
                <a:lnTo>
                  <a:pt x="5956" y="2518"/>
                </a:lnTo>
                <a:lnTo>
                  <a:pt x="5950" y="2516"/>
                </a:lnTo>
                <a:lnTo>
                  <a:pt x="5946" y="2514"/>
                </a:lnTo>
                <a:lnTo>
                  <a:pt x="5944" y="2514"/>
                </a:lnTo>
                <a:lnTo>
                  <a:pt x="5942" y="2516"/>
                </a:lnTo>
                <a:lnTo>
                  <a:pt x="5934" y="2518"/>
                </a:lnTo>
                <a:lnTo>
                  <a:pt x="5924" y="2520"/>
                </a:lnTo>
                <a:lnTo>
                  <a:pt x="5918" y="2524"/>
                </a:lnTo>
                <a:lnTo>
                  <a:pt x="5914" y="2528"/>
                </a:lnTo>
                <a:lnTo>
                  <a:pt x="5914" y="2534"/>
                </a:lnTo>
                <a:lnTo>
                  <a:pt x="5916" y="2536"/>
                </a:lnTo>
                <a:lnTo>
                  <a:pt x="5920" y="2536"/>
                </a:lnTo>
                <a:lnTo>
                  <a:pt x="5924" y="2534"/>
                </a:lnTo>
                <a:lnTo>
                  <a:pt x="5928" y="2536"/>
                </a:lnTo>
                <a:lnTo>
                  <a:pt x="5930" y="2538"/>
                </a:lnTo>
                <a:lnTo>
                  <a:pt x="5926" y="2538"/>
                </a:lnTo>
                <a:lnTo>
                  <a:pt x="5922" y="2540"/>
                </a:lnTo>
                <a:lnTo>
                  <a:pt x="5922" y="2542"/>
                </a:lnTo>
                <a:lnTo>
                  <a:pt x="5924" y="2544"/>
                </a:lnTo>
                <a:lnTo>
                  <a:pt x="5926" y="2544"/>
                </a:lnTo>
                <a:lnTo>
                  <a:pt x="5930" y="2544"/>
                </a:lnTo>
                <a:lnTo>
                  <a:pt x="5934" y="2546"/>
                </a:lnTo>
                <a:lnTo>
                  <a:pt x="5934" y="2548"/>
                </a:lnTo>
                <a:lnTo>
                  <a:pt x="5932" y="2550"/>
                </a:lnTo>
                <a:lnTo>
                  <a:pt x="5924" y="2550"/>
                </a:lnTo>
                <a:lnTo>
                  <a:pt x="5918" y="2552"/>
                </a:lnTo>
                <a:lnTo>
                  <a:pt x="5918" y="2554"/>
                </a:lnTo>
                <a:lnTo>
                  <a:pt x="5920" y="2556"/>
                </a:lnTo>
                <a:lnTo>
                  <a:pt x="5928" y="2562"/>
                </a:lnTo>
                <a:lnTo>
                  <a:pt x="5930" y="2566"/>
                </a:lnTo>
                <a:lnTo>
                  <a:pt x="5932" y="2568"/>
                </a:lnTo>
                <a:lnTo>
                  <a:pt x="5938" y="2566"/>
                </a:lnTo>
                <a:lnTo>
                  <a:pt x="5942" y="2566"/>
                </a:lnTo>
                <a:lnTo>
                  <a:pt x="5950" y="2566"/>
                </a:lnTo>
                <a:lnTo>
                  <a:pt x="5964" y="2572"/>
                </a:lnTo>
                <a:lnTo>
                  <a:pt x="5972" y="2574"/>
                </a:lnTo>
                <a:lnTo>
                  <a:pt x="5976" y="2578"/>
                </a:lnTo>
                <a:lnTo>
                  <a:pt x="5980" y="2580"/>
                </a:lnTo>
                <a:lnTo>
                  <a:pt x="5986" y="2580"/>
                </a:lnTo>
                <a:lnTo>
                  <a:pt x="5990" y="2580"/>
                </a:lnTo>
                <a:lnTo>
                  <a:pt x="5990" y="2582"/>
                </a:lnTo>
                <a:lnTo>
                  <a:pt x="5992" y="2584"/>
                </a:lnTo>
                <a:lnTo>
                  <a:pt x="5998" y="2586"/>
                </a:lnTo>
                <a:lnTo>
                  <a:pt x="6004" y="2584"/>
                </a:lnTo>
                <a:lnTo>
                  <a:pt x="6006" y="2586"/>
                </a:lnTo>
                <a:lnTo>
                  <a:pt x="6008" y="2588"/>
                </a:lnTo>
                <a:lnTo>
                  <a:pt x="6008" y="2590"/>
                </a:lnTo>
                <a:lnTo>
                  <a:pt x="6004" y="2594"/>
                </a:lnTo>
                <a:lnTo>
                  <a:pt x="6004" y="2596"/>
                </a:lnTo>
                <a:lnTo>
                  <a:pt x="6006" y="2598"/>
                </a:lnTo>
                <a:lnTo>
                  <a:pt x="6014" y="2600"/>
                </a:lnTo>
                <a:lnTo>
                  <a:pt x="6020" y="2600"/>
                </a:lnTo>
                <a:lnTo>
                  <a:pt x="6018" y="2602"/>
                </a:lnTo>
                <a:lnTo>
                  <a:pt x="6018" y="2606"/>
                </a:lnTo>
                <a:lnTo>
                  <a:pt x="6018" y="2608"/>
                </a:lnTo>
                <a:lnTo>
                  <a:pt x="6020" y="2608"/>
                </a:lnTo>
                <a:lnTo>
                  <a:pt x="6024" y="2610"/>
                </a:lnTo>
                <a:lnTo>
                  <a:pt x="6026" y="2612"/>
                </a:lnTo>
                <a:lnTo>
                  <a:pt x="6026" y="2614"/>
                </a:lnTo>
                <a:lnTo>
                  <a:pt x="6024" y="2618"/>
                </a:lnTo>
                <a:lnTo>
                  <a:pt x="6022" y="2620"/>
                </a:lnTo>
                <a:lnTo>
                  <a:pt x="6020" y="2624"/>
                </a:lnTo>
                <a:lnTo>
                  <a:pt x="6024" y="2632"/>
                </a:lnTo>
                <a:lnTo>
                  <a:pt x="6032" y="2642"/>
                </a:lnTo>
                <a:lnTo>
                  <a:pt x="6044" y="2650"/>
                </a:lnTo>
                <a:lnTo>
                  <a:pt x="6052" y="2654"/>
                </a:lnTo>
                <a:lnTo>
                  <a:pt x="6058" y="2656"/>
                </a:lnTo>
                <a:lnTo>
                  <a:pt x="6060" y="2656"/>
                </a:lnTo>
                <a:lnTo>
                  <a:pt x="6060" y="2658"/>
                </a:lnTo>
                <a:lnTo>
                  <a:pt x="6058" y="2662"/>
                </a:lnTo>
                <a:lnTo>
                  <a:pt x="6060" y="2664"/>
                </a:lnTo>
                <a:lnTo>
                  <a:pt x="6062" y="2668"/>
                </a:lnTo>
                <a:lnTo>
                  <a:pt x="6062" y="2678"/>
                </a:lnTo>
                <a:lnTo>
                  <a:pt x="6060" y="2682"/>
                </a:lnTo>
                <a:lnTo>
                  <a:pt x="6058" y="2684"/>
                </a:lnTo>
                <a:lnTo>
                  <a:pt x="6054" y="2686"/>
                </a:lnTo>
                <a:lnTo>
                  <a:pt x="6054" y="2688"/>
                </a:lnTo>
                <a:lnTo>
                  <a:pt x="6062" y="2692"/>
                </a:lnTo>
                <a:lnTo>
                  <a:pt x="6072" y="2700"/>
                </a:lnTo>
                <a:lnTo>
                  <a:pt x="6078" y="2706"/>
                </a:lnTo>
                <a:lnTo>
                  <a:pt x="6078" y="2712"/>
                </a:lnTo>
                <a:lnTo>
                  <a:pt x="6080" y="2720"/>
                </a:lnTo>
                <a:lnTo>
                  <a:pt x="6078" y="2722"/>
                </a:lnTo>
                <a:lnTo>
                  <a:pt x="6076" y="2716"/>
                </a:lnTo>
                <a:lnTo>
                  <a:pt x="6072" y="2706"/>
                </a:lnTo>
                <a:lnTo>
                  <a:pt x="6068" y="2702"/>
                </a:lnTo>
                <a:lnTo>
                  <a:pt x="6064" y="2700"/>
                </a:lnTo>
                <a:lnTo>
                  <a:pt x="6062" y="2708"/>
                </a:lnTo>
                <a:lnTo>
                  <a:pt x="6058" y="2728"/>
                </a:lnTo>
                <a:lnTo>
                  <a:pt x="6056" y="2744"/>
                </a:lnTo>
                <a:lnTo>
                  <a:pt x="6058" y="2744"/>
                </a:lnTo>
                <a:lnTo>
                  <a:pt x="6060" y="2742"/>
                </a:lnTo>
                <a:lnTo>
                  <a:pt x="6062" y="2744"/>
                </a:lnTo>
                <a:lnTo>
                  <a:pt x="6062" y="2746"/>
                </a:lnTo>
                <a:lnTo>
                  <a:pt x="6060" y="2748"/>
                </a:lnTo>
                <a:lnTo>
                  <a:pt x="6058" y="2750"/>
                </a:lnTo>
                <a:lnTo>
                  <a:pt x="6056" y="2752"/>
                </a:lnTo>
                <a:lnTo>
                  <a:pt x="6054" y="2778"/>
                </a:lnTo>
                <a:lnTo>
                  <a:pt x="6050" y="2798"/>
                </a:lnTo>
                <a:lnTo>
                  <a:pt x="6046" y="2810"/>
                </a:lnTo>
                <a:lnTo>
                  <a:pt x="6042" y="2816"/>
                </a:lnTo>
                <a:lnTo>
                  <a:pt x="6036" y="2820"/>
                </a:lnTo>
                <a:lnTo>
                  <a:pt x="6026" y="2822"/>
                </a:lnTo>
                <a:lnTo>
                  <a:pt x="6020" y="2824"/>
                </a:lnTo>
                <a:lnTo>
                  <a:pt x="6010" y="2820"/>
                </a:lnTo>
                <a:lnTo>
                  <a:pt x="5998" y="2818"/>
                </a:lnTo>
                <a:lnTo>
                  <a:pt x="5992" y="2818"/>
                </a:lnTo>
                <a:lnTo>
                  <a:pt x="5984" y="2818"/>
                </a:lnTo>
                <a:lnTo>
                  <a:pt x="5972" y="2816"/>
                </a:lnTo>
                <a:lnTo>
                  <a:pt x="5962" y="2814"/>
                </a:lnTo>
                <a:lnTo>
                  <a:pt x="5954" y="2814"/>
                </a:lnTo>
                <a:lnTo>
                  <a:pt x="5936" y="2816"/>
                </a:lnTo>
                <a:lnTo>
                  <a:pt x="5916" y="2816"/>
                </a:lnTo>
                <a:lnTo>
                  <a:pt x="5904" y="2814"/>
                </a:lnTo>
                <a:lnTo>
                  <a:pt x="5890" y="2810"/>
                </a:lnTo>
                <a:lnTo>
                  <a:pt x="5876" y="2808"/>
                </a:lnTo>
                <a:lnTo>
                  <a:pt x="5868" y="2808"/>
                </a:lnTo>
                <a:lnTo>
                  <a:pt x="5856" y="2810"/>
                </a:lnTo>
                <a:lnTo>
                  <a:pt x="5838" y="2810"/>
                </a:lnTo>
                <a:lnTo>
                  <a:pt x="5828" y="2810"/>
                </a:lnTo>
                <a:lnTo>
                  <a:pt x="5818" y="2808"/>
                </a:lnTo>
                <a:lnTo>
                  <a:pt x="5806" y="2802"/>
                </a:lnTo>
                <a:lnTo>
                  <a:pt x="5794" y="2800"/>
                </a:lnTo>
                <a:lnTo>
                  <a:pt x="5788" y="2800"/>
                </a:lnTo>
                <a:lnTo>
                  <a:pt x="5782" y="2802"/>
                </a:lnTo>
                <a:lnTo>
                  <a:pt x="5776" y="2806"/>
                </a:lnTo>
                <a:lnTo>
                  <a:pt x="5774" y="2810"/>
                </a:lnTo>
                <a:lnTo>
                  <a:pt x="5772" y="2816"/>
                </a:lnTo>
                <a:lnTo>
                  <a:pt x="5770" y="2822"/>
                </a:lnTo>
                <a:lnTo>
                  <a:pt x="5768" y="2822"/>
                </a:lnTo>
                <a:lnTo>
                  <a:pt x="5762" y="2822"/>
                </a:lnTo>
                <a:lnTo>
                  <a:pt x="5756" y="2824"/>
                </a:lnTo>
                <a:lnTo>
                  <a:pt x="5750" y="2826"/>
                </a:lnTo>
                <a:lnTo>
                  <a:pt x="5740" y="2834"/>
                </a:lnTo>
                <a:lnTo>
                  <a:pt x="5736" y="2838"/>
                </a:lnTo>
                <a:lnTo>
                  <a:pt x="5734" y="2842"/>
                </a:lnTo>
                <a:lnTo>
                  <a:pt x="5732" y="2844"/>
                </a:lnTo>
                <a:lnTo>
                  <a:pt x="5734" y="2848"/>
                </a:lnTo>
                <a:lnTo>
                  <a:pt x="5740" y="2852"/>
                </a:lnTo>
                <a:lnTo>
                  <a:pt x="5740" y="2856"/>
                </a:lnTo>
                <a:lnTo>
                  <a:pt x="5742" y="2862"/>
                </a:lnTo>
                <a:lnTo>
                  <a:pt x="5746" y="2870"/>
                </a:lnTo>
                <a:lnTo>
                  <a:pt x="5748" y="2878"/>
                </a:lnTo>
                <a:lnTo>
                  <a:pt x="5750" y="2886"/>
                </a:lnTo>
                <a:lnTo>
                  <a:pt x="5750" y="2896"/>
                </a:lnTo>
                <a:lnTo>
                  <a:pt x="5752" y="2904"/>
                </a:lnTo>
                <a:lnTo>
                  <a:pt x="5750" y="2910"/>
                </a:lnTo>
                <a:lnTo>
                  <a:pt x="5750" y="2914"/>
                </a:lnTo>
                <a:lnTo>
                  <a:pt x="5752" y="2916"/>
                </a:lnTo>
                <a:lnTo>
                  <a:pt x="5752" y="2920"/>
                </a:lnTo>
                <a:lnTo>
                  <a:pt x="5750" y="2924"/>
                </a:lnTo>
                <a:lnTo>
                  <a:pt x="5752" y="2930"/>
                </a:lnTo>
                <a:lnTo>
                  <a:pt x="5758" y="2944"/>
                </a:lnTo>
                <a:lnTo>
                  <a:pt x="5760" y="2950"/>
                </a:lnTo>
                <a:lnTo>
                  <a:pt x="5758" y="2956"/>
                </a:lnTo>
                <a:lnTo>
                  <a:pt x="5756" y="2972"/>
                </a:lnTo>
                <a:lnTo>
                  <a:pt x="5750" y="2986"/>
                </a:lnTo>
                <a:lnTo>
                  <a:pt x="5750" y="2996"/>
                </a:lnTo>
                <a:lnTo>
                  <a:pt x="5750" y="3000"/>
                </a:lnTo>
                <a:lnTo>
                  <a:pt x="5748" y="3004"/>
                </a:lnTo>
                <a:lnTo>
                  <a:pt x="5746" y="3012"/>
                </a:lnTo>
                <a:lnTo>
                  <a:pt x="5740" y="3026"/>
                </a:lnTo>
                <a:lnTo>
                  <a:pt x="5738" y="3032"/>
                </a:lnTo>
                <a:lnTo>
                  <a:pt x="5734" y="3038"/>
                </a:lnTo>
                <a:lnTo>
                  <a:pt x="5730" y="3042"/>
                </a:lnTo>
                <a:lnTo>
                  <a:pt x="5728" y="3042"/>
                </a:lnTo>
                <a:lnTo>
                  <a:pt x="5728" y="3048"/>
                </a:lnTo>
                <a:lnTo>
                  <a:pt x="5728" y="3052"/>
                </a:lnTo>
                <a:lnTo>
                  <a:pt x="5728" y="3056"/>
                </a:lnTo>
                <a:lnTo>
                  <a:pt x="5724" y="3068"/>
                </a:lnTo>
                <a:lnTo>
                  <a:pt x="5722" y="3074"/>
                </a:lnTo>
                <a:lnTo>
                  <a:pt x="5722" y="3078"/>
                </a:lnTo>
                <a:lnTo>
                  <a:pt x="5724" y="3080"/>
                </a:lnTo>
                <a:lnTo>
                  <a:pt x="5728" y="3080"/>
                </a:lnTo>
                <a:lnTo>
                  <a:pt x="5736" y="3080"/>
                </a:lnTo>
                <a:lnTo>
                  <a:pt x="5736" y="3082"/>
                </a:lnTo>
                <a:lnTo>
                  <a:pt x="5734" y="3084"/>
                </a:lnTo>
                <a:lnTo>
                  <a:pt x="5734" y="3086"/>
                </a:lnTo>
                <a:lnTo>
                  <a:pt x="5734" y="3090"/>
                </a:lnTo>
                <a:lnTo>
                  <a:pt x="5734" y="3094"/>
                </a:lnTo>
                <a:lnTo>
                  <a:pt x="5734" y="3096"/>
                </a:lnTo>
                <a:lnTo>
                  <a:pt x="5738" y="3096"/>
                </a:lnTo>
                <a:lnTo>
                  <a:pt x="5742" y="3094"/>
                </a:lnTo>
                <a:lnTo>
                  <a:pt x="5748" y="3094"/>
                </a:lnTo>
                <a:lnTo>
                  <a:pt x="5750" y="3096"/>
                </a:lnTo>
                <a:lnTo>
                  <a:pt x="5752" y="3100"/>
                </a:lnTo>
                <a:lnTo>
                  <a:pt x="5752" y="3104"/>
                </a:lnTo>
                <a:lnTo>
                  <a:pt x="5750" y="3110"/>
                </a:lnTo>
                <a:lnTo>
                  <a:pt x="5748" y="3120"/>
                </a:lnTo>
                <a:lnTo>
                  <a:pt x="5750" y="3126"/>
                </a:lnTo>
                <a:lnTo>
                  <a:pt x="5750" y="3138"/>
                </a:lnTo>
                <a:lnTo>
                  <a:pt x="5748" y="3160"/>
                </a:lnTo>
                <a:lnTo>
                  <a:pt x="5744" y="3172"/>
                </a:lnTo>
                <a:lnTo>
                  <a:pt x="5746" y="3174"/>
                </a:lnTo>
                <a:lnTo>
                  <a:pt x="5748" y="3172"/>
                </a:lnTo>
                <a:lnTo>
                  <a:pt x="5752" y="3170"/>
                </a:lnTo>
                <a:lnTo>
                  <a:pt x="5756" y="3168"/>
                </a:lnTo>
                <a:lnTo>
                  <a:pt x="5764" y="3168"/>
                </a:lnTo>
                <a:lnTo>
                  <a:pt x="5778" y="3172"/>
                </a:lnTo>
                <a:lnTo>
                  <a:pt x="5788" y="3174"/>
                </a:lnTo>
                <a:lnTo>
                  <a:pt x="5794" y="3172"/>
                </a:lnTo>
                <a:lnTo>
                  <a:pt x="5798" y="3168"/>
                </a:lnTo>
                <a:lnTo>
                  <a:pt x="5808" y="3162"/>
                </a:lnTo>
                <a:lnTo>
                  <a:pt x="5814" y="3162"/>
                </a:lnTo>
                <a:lnTo>
                  <a:pt x="5820" y="3162"/>
                </a:lnTo>
                <a:lnTo>
                  <a:pt x="5828" y="3164"/>
                </a:lnTo>
                <a:lnTo>
                  <a:pt x="5834" y="3166"/>
                </a:lnTo>
                <a:lnTo>
                  <a:pt x="5842" y="3176"/>
                </a:lnTo>
                <a:lnTo>
                  <a:pt x="5846" y="3180"/>
                </a:lnTo>
                <a:lnTo>
                  <a:pt x="5846" y="3184"/>
                </a:lnTo>
                <a:lnTo>
                  <a:pt x="5848" y="3192"/>
                </a:lnTo>
                <a:lnTo>
                  <a:pt x="5852" y="3200"/>
                </a:lnTo>
                <a:lnTo>
                  <a:pt x="5858" y="3210"/>
                </a:lnTo>
                <a:lnTo>
                  <a:pt x="5866" y="3218"/>
                </a:lnTo>
                <a:lnTo>
                  <a:pt x="5874" y="3226"/>
                </a:lnTo>
                <a:lnTo>
                  <a:pt x="5880" y="3228"/>
                </a:lnTo>
                <a:lnTo>
                  <a:pt x="5882" y="3228"/>
                </a:lnTo>
                <a:lnTo>
                  <a:pt x="5886" y="3224"/>
                </a:lnTo>
                <a:lnTo>
                  <a:pt x="5890" y="3220"/>
                </a:lnTo>
                <a:lnTo>
                  <a:pt x="5892" y="3216"/>
                </a:lnTo>
                <a:lnTo>
                  <a:pt x="5896" y="3210"/>
                </a:lnTo>
                <a:lnTo>
                  <a:pt x="5900" y="3206"/>
                </a:lnTo>
                <a:lnTo>
                  <a:pt x="5902" y="3204"/>
                </a:lnTo>
                <a:lnTo>
                  <a:pt x="5912" y="3202"/>
                </a:lnTo>
                <a:lnTo>
                  <a:pt x="5920" y="3200"/>
                </a:lnTo>
                <a:lnTo>
                  <a:pt x="5924" y="3198"/>
                </a:lnTo>
                <a:lnTo>
                  <a:pt x="5924" y="3196"/>
                </a:lnTo>
                <a:lnTo>
                  <a:pt x="5930" y="3190"/>
                </a:lnTo>
                <a:lnTo>
                  <a:pt x="5938" y="3186"/>
                </a:lnTo>
                <a:lnTo>
                  <a:pt x="5948" y="3184"/>
                </a:lnTo>
                <a:lnTo>
                  <a:pt x="5954" y="3186"/>
                </a:lnTo>
                <a:lnTo>
                  <a:pt x="5960" y="3188"/>
                </a:lnTo>
                <a:lnTo>
                  <a:pt x="5968" y="3190"/>
                </a:lnTo>
                <a:lnTo>
                  <a:pt x="5976" y="3190"/>
                </a:lnTo>
                <a:lnTo>
                  <a:pt x="5994" y="3188"/>
                </a:lnTo>
                <a:lnTo>
                  <a:pt x="6008" y="3184"/>
                </a:lnTo>
                <a:lnTo>
                  <a:pt x="6012" y="3184"/>
                </a:lnTo>
                <a:lnTo>
                  <a:pt x="6016" y="3186"/>
                </a:lnTo>
                <a:lnTo>
                  <a:pt x="6020" y="3186"/>
                </a:lnTo>
                <a:lnTo>
                  <a:pt x="6024" y="3184"/>
                </a:lnTo>
                <a:lnTo>
                  <a:pt x="6030" y="3170"/>
                </a:lnTo>
                <a:lnTo>
                  <a:pt x="6036" y="3162"/>
                </a:lnTo>
                <a:lnTo>
                  <a:pt x="6042" y="3154"/>
                </a:lnTo>
                <a:lnTo>
                  <a:pt x="6048" y="3148"/>
                </a:lnTo>
                <a:lnTo>
                  <a:pt x="6060" y="3144"/>
                </a:lnTo>
                <a:lnTo>
                  <a:pt x="6074" y="3144"/>
                </a:lnTo>
                <a:lnTo>
                  <a:pt x="6076" y="3140"/>
                </a:lnTo>
                <a:lnTo>
                  <a:pt x="6076" y="3136"/>
                </a:lnTo>
                <a:lnTo>
                  <a:pt x="6076" y="3124"/>
                </a:lnTo>
                <a:lnTo>
                  <a:pt x="6080" y="3114"/>
                </a:lnTo>
                <a:lnTo>
                  <a:pt x="6086" y="3106"/>
                </a:lnTo>
                <a:lnTo>
                  <a:pt x="6094" y="3098"/>
                </a:lnTo>
                <a:lnTo>
                  <a:pt x="6108" y="3086"/>
                </a:lnTo>
                <a:lnTo>
                  <a:pt x="6114" y="3082"/>
                </a:lnTo>
                <a:lnTo>
                  <a:pt x="6114" y="3078"/>
                </a:lnTo>
                <a:lnTo>
                  <a:pt x="6112" y="3074"/>
                </a:lnTo>
                <a:lnTo>
                  <a:pt x="6106" y="3070"/>
                </a:lnTo>
                <a:lnTo>
                  <a:pt x="6100" y="3064"/>
                </a:lnTo>
                <a:lnTo>
                  <a:pt x="6098" y="3058"/>
                </a:lnTo>
                <a:lnTo>
                  <a:pt x="6094" y="3050"/>
                </a:lnTo>
                <a:lnTo>
                  <a:pt x="6094" y="3042"/>
                </a:lnTo>
                <a:lnTo>
                  <a:pt x="6096" y="3032"/>
                </a:lnTo>
                <a:lnTo>
                  <a:pt x="6102" y="3020"/>
                </a:lnTo>
                <a:lnTo>
                  <a:pt x="6108" y="3008"/>
                </a:lnTo>
                <a:lnTo>
                  <a:pt x="6124" y="2988"/>
                </a:lnTo>
                <a:lnTo>
                  <a:pt x="6130" y="2982"/>
                </a:lnTo>
                <a:lnTo>
                  <a:pt x="6134" y="2978"/>
                </a:lnTo>
                <a:lnTo>
                  <a:pt x="6144" y="2972"/>
                </a:lnTo>
                <a:lnTo>
                  <a:pt x="6144" y="2970"/>
                </a:lnTo>
                <a:lnTo>
                  <a:pt x="6140" y="2966"/>
                </a:lnTo>
                <a:lnTo>
                  <a:pt x="6138" y="2964"/>
                </a:lnTo>
                <a:lnTo>
                  <a:pt x="6138" y="2960"/>
                </a:lnTo>
                <a:lnTo>
                  <a:pt x="6142" y="2956"/>
                </a:lnTo>
                <a:lnTo>
                  <a:pt x="6150" y="2952"/>
                </a:lnTo>
                <a:lnTo>
                  <a:pt x="6168" y="2946"/>
                </a:lnTo>
                <a:lnTo>
                  <a:pt x="6186" y="2940"/>
                </a:lnTo>
                <a:lnTo>
                  <a:pt x="6192" y="2938"/>
                </a:lnTo>
                <a:lnTo>
                  <a:pt x="6196" y="2934"/>
                </a:lnTo>
                <a:lnTo>
                  <a:pt x="6198" y="2930"/>
                </a:lnTo>
                <a:lnTo>
                  <a:pt x="6204" y="2926"/>
                </a:lnTo>
                <a:lnTo>
                  <a:pt x="6220" y="2918"/>
                </a:lnTo>
                <a:lnTo>
                  <a:pt x="6228" y="2912"/>
                </a:lnTo>
                <a:lnTo>
                  <a:pt x="6234" y="2908"/>
                </a:lnTo>
                <a:lnTo>
                  <a:pt x="6238" y="2900"/>
                </a:lnTo>
                <a:lnTo>
                  <a:pt x="6236" y="2896"/>
                </a:lnTo>
                <a:lnTo>
                  <a:pt x="6236" y="2892"/>
                </a:lnTo>
                <a:lnTo>
                  <a:pt x="6234" y="2890"/>
                </a:lnTo>
                <a:lnTo>
                  <a:pt x="6236" y="2888"/>
                </a:lnTo>
                <a:lnTo>
                  <a:pt x="6240" y="2884"/>
                </a:lnTo>
                <a:lnTo>
                  <a:pt x="6240" y="2882"/>
                </a:lnTo>
                <a:lnTo>
                  <a:pt x="6240" y="2880"/>
                </a:lnTo>
                <a:lnTo>
                  <a:pt x="6238" y="2876"/>
                </a:lnTo>
                <a:lnTo>
                  <a:pt x="6232" y="2872"/>
                </a:lnTo>
                <a:lnTo>
                  <a:pt x="6232" y="2860"/>
                </a:lnTo>
                <a:lnTo>
                  <a:pt x="6232" y="2854"/>
                </a:lnTo>
                <a:lnTo>
                  <a:pt x="6234" y="2848"/>
                </a:lnTo>
                <a:lnTo>
                  <a:pt x="6234" y="2840"/>
                </a:lnTo>
                <a:lnTo>
                  <a:pt x="6234" y="2836"/>
                </a:lnTo>
                <a:lnTo>
                  <a:pt x="6234" y="2832"/>
                </a:lnTo>
                <a:lnTo>
                  <a:pt x="6240" y="2828"/>
                </a:lnTo>
                <a:lnTo>
                  <a:pt x="6248" y="2824"/>
                </a:lnTo>
                <a:lnTo>
                  <a:pt x="6256" y="2820"/>
                </a:lnTo>
                <a:lnTo>
                  <a:pt x="6268" y="2810"/>
                </a:lnTo>
                <a:lnTo>
                  <a:pt x="6272" y="2810"/>
                </a:lnTo>
                <a:lnTo>
                  <a:pt x="6272" y="2812"/>
                </a:lnTo>
                <a:lnTo>
                  <a:pt x="6274" y="2816"/>
                </a:lnTo>
                <a:lnTo>
                  <a:pt x="6278" y="2818"/>
                </a:lnTo>
                <a:lnTo>
                  <a:pt x="6282" y="2818"/>
                </a:lnTo>
                <a:lnTo>
                  <a:pt x="6290" y="2820"/>
                </a:lnTo>
                <a:lnTo>
                  <a:pt x="6292" y="2822"/>
                </a:lnTo>
                <a:lnTo>
                  <a:pt x="6294" y="2824"/>
                </a:lnTo>
                <a:lnTo>
                  <a:pt x="6302" y="2822"/>
                </a:lnTo>
                <a:lnTo>
                  <a:pt x="6310" y="2820"/>
                </a:lnTo>
                <a:lnTo>
                  <a:pt x="6316" y="2822"/>
                </a:lnTo>
                <a:lnTo>
                  <a:pt x="6320" y="2824"/>
                </a:lnTo>
                <a:lnTo>
                  <a:pt x="6324" y="2830"/>
                </a:lnTo>
                <a:lnTo>
                  <a:pt x="6328" y="2834"/>
                </a:lnTo>
                <a:lnTo>
                  <a:pt x="6332" y="2832"/>
                </a:lnTo>
                <a:lnTo>
                  <a:pt x="6336" y="2832"/>
                </a:lnTo>
                <a:lnTo>
                  <a:pt x="6338" y="2832"/>
                </a:lnTo>
                <a:lnTo>
                  <a:pt x="6340" y="2834"/>
                </a:lnTo>
                <a:lnTo>
                  <a:pt x="6344" y="2836"/>
                </a:lnTo>
                <a:lnTo>
                  <a:pt x="6350" y="2836"/>
                </a:lnTo>
                <a:lnTo>
                  <a:pt x="6362" y="2834"/>
                </a:lnTo>
                <a:lnTo>
                  <a:pt x="6374" y="2830"/>
                </a:lnTo>
                <a:lnTo>
                  <a:pt x="6378" y="2826"/>
                </a:lnTo>
                <a:lnTo>
                  <a:pt x="6378" y="2822"/>
                </a:lnTo>
                <a:lnTo>
                  <a:pt x="6378" y="2820"/>
                </a:lnTo>
                <a:lnTo>
                  <a:pt x="6380" y="2818"/>
                </a:lnTo>
                <a:lnTo>
                  <a:pt x="6390" y="2812"/>
                </a:lnTo>
                <a:lnTo>
                  <a:pt x="6410" y="2800"/>
                </a:lnTo>
                <a:lnTo>
                  <a:pt x="6422" y="2794"/>
                </a:lnTo>
                <a:lnTo>
                  <a:pt x="6432" y="2788"/>
                </a:lnTo>
                <a:lnTo>
                  <a:pt x="6438" y="2784"/>
                </a:lnTo>
                <a:lnTo>
                  <a:pt x="6442" y="2778"/>
                </a:lnTo>
                <a:lnTo>
                  <a:pt x="6448" y="2770"/>
                </a:lnTo>
                <a:lnTo>
                  <a:pt x="6452" y="2766"/>
                </a:lnTo>
                <a:lnTo>
                  <a:pt x="6458" y="2762"/>
                </a:lnTo>
                <a:lnTo>
                  <a:pt x="6464" y="2760"/>
                </a:lnTo>
                <a:lnTo>
                  <a:pt x="6472" y="2762"/>
                </a:lnTo>
                <a:lnTo>
                  <a:pt x="6478" y="2766"/>
                </a:lnTo>
                <a:lnTo>
                  <a:pt x="6482" y="2770"/>
                </a:lnTo>
                <a:lnTo>
                  <a:pt x="6492" y="2780"/>
                </a:lnTo>
                <a:lnTo>
                  <a:pt x="6498" y="2782"/>
                </a:lnTo>
                <a:lnTo>
                  <a:pt x="6504" y="2782"/>
                </a:lnTo>
                <a:lnTo>
                  <a:pt x="6510" y="2782"/>
                </a:lnTo>
                <a:lnTo>
                  <a:pt x="6514" y="2786"/>
                </a:lnTo>
                <a:lnTo>
                  <a:pt x="6516" y="2790"/>
                </a:lnTo>
                <a:lnTo>
                  <a:pt x="6518" y="2798"/>
                </a:lnTo>
                <a:lnTo>
                  <a:pt x="6520" y="2812"/>
                </a:lnTo>
                <a:lnTo>
                  <a:pt x="6522" y="2818"/>
                </a:lnTo>
                <a:lnTo>
                  <a:pt x="6526" y="2822"/>
                </a:lnTo>
                <a:lnTo>
                  <a:pt x="6528" y="2826"/>
                </a:lnTo>
                <a:lnTo>
                  <a:pt x="6530" y="2828"/>
                </a:lnTo>
                <a:lnTo>
                  <a:pt x="6530" y="2836"/>
                </a:lnTo>
                <a:lnTo>
                  <a:pt x="6530" y="2840"/>
                </a:lnTo>
                <a:lnTo>
                  <a:pt x="6530" y="2844"/>
                </a:lnTo>
                <a:lnTo>
                  <a:pt x="6534" y="2848"/>
                </a:lnTo>
                <a:lnTo>
                  <a:pt x="6538" y="2852"/>
                </a:lnTo>
                <a:lnTo>
                  <a:pt x="6554" y="2864"/>
                </a:lnTo>
                <a:lnTo>
                  <a:pt x="6556" y="2868"/>
                </a:lnTo>
                <a:lnTo>
                  <a:pt x="6556" y="2874"/>
                </a:lnTo>
                <a:lnTo>
                  <a:pt x="6556" y="2876"/>
                </a:lnTo>
                <a:lnTo>
                  <a:pt x="6558" y="2878"/>
                </a:lnTo>
                <a:lnTo>
                  <a:pt x="6566" y="2880"/>
                </a:lnTo>
                <a:lnTo>
                  <a:pt x="6574" y="2884"/>
                </a:lnTo>
                <a:lnTo>
                  <a:pt x="6578" y="2888"/>
                </a:lnTo>
                <a:lnTo>
                  <a:pt x="6582" y="2894"/>
                </a:lnTo>
                <a:lnTo>
                  <a:pt x="6586" y="2900"/>
                </a:lnTo>
                <a:lnTo>
                  <a:pt x="6590" y="2902"/>
                </a:lnTo>
                <a:lnTo>
                  <a:pt x="6594" y="2906"/>
                </a:lnTo>
                <a:lnTo>
                  <a:pt x="6604" y="2916"/>
                </a:lnTo>
                <a:lnTo>
                  <a:pt x="6616" y="2928"/>
                </a:lnTo>
                <a:lnTo>
                  <a:pt x="6628" y="2936"/>
                </a:lnTo>
                <a:lnTo>
                  <a:pt x="6642" y="2940"/>
                </a:lnTo>
                <a:lnTo>
                  <a:pt x="6654" y="2942"/>
                </a:lnTo>
                <a:lnTo>
                  <a:pt x="6658" y="2942"/>
                </a:lnTo>
                <a:lnTo>
                  <a:pt x="6662" y="2946"/>
                </a:lnTo>
                <a:lnTo>
                  <a:pt x="6666" y="2956"/>
                </a:lnTo>
                <a:lnTo>
                  <a:pt x="6672" y="2964"/>
                </a:lnTo>
                <a:lnTo>
                  <a:pt x="6676" y="2966"/>
                </a:lnTo>
                <a:lnTo>
                  <a:pt x="6680" y="2968"/>
                </a:lnTo>
                <a:lnTo>
                  <a:pt x="6686" y="2966"/>
                </a:lnTo>
                <a:lnTo>
                  <a:pt x="6688" y="2968"/>
                </a:lnTo>
                <a:lnTo>
                  <a:pt x="6688" y="2972"/>
                </a:lnTo>
                <a:lnTo>
                  <a:pt x="6688" y="2974"/>
                </a:lnTo>
                <a:lnTo>
                  <a:pt x="6688" y="2976"/>
                </a:lnTo>
                <a:lnTo>
                  <a:pt x="6690" y="2976"/>
                </a:lnTo>
                <a:lnTo>
                  <a:pt x="6696" y="2976"/>
                </a:lnTo>
                <a:lnTo>
                  <a:pt x="6702" y="2976"/>
                </a:lnTo>
                <a:lnTo>
                  <a:pt x="6706" y="2976"/>
                </a:lnTo>
                <a:lnTo>
                  <a:pt x="6706" y="2980"/>
                </a:lnTo>
                <a:lnTo>
                  <a:pt x="6706" y="2982"/>
                </a:lnTo>
                <a:lnTo>
                  <a:pt x="6706" y="2992"/>
                </a:lnTo>
                <a:lnTo>
                  <a:pt x="6708" y="2998"/>
                </a:lnTo>
                <a:lnTo>
                  <a:pt x="6714" y="3002"/>
                </a:lnTo>
                <a:lnTo>
                  <a:pt x="6726" y="3008"/>
                </a:lnTo>
                <a:lnTo>
                  <a:pt x="6734" y="3012"/>
                </a:lnTo>
                <a:lnTo>
                  <a:pt x="6738" y="3014"/>
                </a:lnTo>
                <a:lnTo>
                  <a:pt x="6742" y="3020"/>
                </a:lnTo>
                <a:lnTo>
                  <a:pt x="6746" y="3026"/>
                </a:lnTo>
                <a:lnTo>
                  <a:pt x="6750" y="3038"/>
                </a:lnTo>
                <a:lnTo>
                  <a:pt x="6754" y="3058"/>
                </a:lnTo>
                <a:lnTo>
                  <a:pt x="6756" y="3068"/>
                </a:lnTo>
                <a:lnTo>
                  <a:pt x="6756" y="3076"/>
                </a:lnTo>
                <a:lnTo>
                  <a:pt x="6752" y="3080"/>
                </a:lnTo>
                <a:lnTo>
                  <a:pt x="6748" y="3084"/>
                </a:lnTo>
                <a:lnTo>
                  <a:pt x="6748" y="3090"/>
                </a:lnTo>
                <a:lnTo>
                  <a:pt x="6746" y="3094"/>
                </a:lnTo>
                <a:lnTo>
                  <a:pt x="6744" y="3100"/>
                </a:lnTo>
                <a:lnTo>
                  <a:pt x="6740" y="3108"/>
                </a:lnTo>
                <a:lnTo>
                  <a:pt x="6738" y="3114"/>
                </a:lnTo>
                <a:lnTo>
                  <a:pt x="6738" y="3120"/>
                </a:lnTo>
                <a:lnTo>
                  <a:pt x="6742" y="3124"/>
                </a:lnTo>
                <a:lnTo>
                  <a:pt x="6748" y="3126"/>
                </a:lnTo>
                <a:lnTo>
                  <a:pt x="6752" y="3126"/>
                </a:lnTo>
                <a:lnTo>
                  <a:pt x="6754" y="3124"/>
                </a:lnTo>
                <a:lnTo>
                  <a:pt x="6756" y="3122"/>
                </a:lnTo>
                <a:lnTo>
                  <a:pt x="6760" y="3112"/>
                </a:lnTo>
                <a:lnTo>
                  <a:pt x="6768" y="3102"/>
                </a:lnTo>
                <a:lnTo>
                  <a:pt x="6772" y="3096"/>
                </a:lnTo>
                <a:lnTo>
                  <a:pt x="6774" y="3092"/>
                </a:lnTo>
                <a:lnTo>
                  <a:pt x="6776" y="3086"/>
                </a:lnTo>
                <a:lnTo>
                  <a:pt x="6780" y="3078"/>
                </a:lnTo>
                <a:lnTo>
                  <a:pt x="6784" y="3074"/>
                </a:lnTo>
                <a:lnTo>
                  <a:pt x="6790" y="3070"/>
                </a:lnTo>
                <a:lnTo>
                  <a:pt x="6796" y="3066"/>
                </a:lnTo>
                <a:lnTo>
                  <a:pt x="6798" y="3060"/>
                </a:lnTo>
                <a:lnTo>
                  <a:pt x="6800" y="3054"/>
                </a:lnTo>
                <a:lnTo>
                  <a:pt x="6800" y="3050"/>
                </a:lnTo>
                <a:lnTo>
                  <a:pt x="6796" y="3044"/>
                </a:lnTo>
                <a:lnTo>
                  <a:pt x="6794" y="3040"/>
                </a:lnTo>
                <a:lnTo>
                  <a:pt x="6788" y="3036"/>
                </a:lnTo>
                <a:lnTo>
                  <a:pt x="6784" y="3034"/>
                </a:lnTo>
                <a:lnTo>
                  <a:pt x="6774" y="3030"/>
                </a:lnTo>
                <a:lnTo>
                  <a:pt x="6770" y="3026"/>
                </a:lnTo>
                <a:lnTo>
                  <a:pt x="6770" y="3022"/>
                </a:lnTo>
                <a:lnTo>
                  <a:pt x="6774" y="3016"/>
                </a:lnTo>
                <a:lnTo>
                  <a:pt x="6778" y="3008"/>
                </a:lnTo>
                <a:lnTo>
                  <a:pt x="6778" y="3002"/>
                </a:lnTo>
                <a:lnTo>
                  <a:pt x="6780" y="2994"/>
                </a:lnTo>
                <a:lnTo>
                  <a:pt x="6784" y="2990"/>
                </a:lnTo>
                <a:lnTo>
                  <a:pt x="6788" y="2986"/>
                </a:lnTo>
                <a:lnTo>
                  <a:pt x="6796" y="2984"/>
                </a:lnTo>
                <a:lnTo>
                  <a:pt x="6802" y="2984"/>
                </a:lnTo>
                <a:lnTo>
                  <a:pt x="6808" y="2988"/>
                </a:lnTo>
                <a:lnTo>
                  <a:pt x="6818" y="2990"/>
                </a:lnTo>
                <a:lnTo>
                  <a:pt x="6824" y="2992"/>
                </a:lnTo>
                <a:lnTo>
                  <a:pt x="6828" y="2996"/>
                </a:lnTo>
                <a:lnTo>
                  <a:pt x="6832" y="3004"/>
                </a:lnTo>
                <a:lnTo>
                  <a:pt x="6836" y="3014"/>
                </a:lnTo>
                <a:lnTo>
                  <a:pt x="6838" y="3018"/>
                </a:lnTo>
                <a:lnTo>
                  <a:pt x="6842" y="3020"/>
                </a:lnTo>
                <a:lnTo>
                  <a:pt x="6850" y="3020"/>
                </a:lnTo>
                <a:lnTo>
                  <a:pt x="6850" y="3018"/>
                </a:lnTo>
                <a:lnTo>
                  <a:pt x="6850" y="3014"/>
                </a:lnTo>
                <a:lnTo>
                  <a:pt x="6852" y="3006"/>
                </a:lnTo>
                <a:lnTo>
                  <a:pt x="6854" y="3000"/>
                </a:lnTo>
                <a:lnTo>
                  <a:pt x="6852" y="2996"/>
                </a:lnTo>
                <a:lnTo>
                  <a:pt x="6850" y="2992"/>
                </a:lnTo>
                <a:lnTo>
                  <a:pt x="6846" y="2986"/>
                </a:lnTo>
                <a:lnTo>
                  <a:pt x="6836" y="2978"/>
                </a:lnTo>
                <a:lnTo>
                  <a:pt x="6826" y="2972"/>
                </a:lnTo>
                <a:lnTo>
                  <a:pt x="6810" y="2962"/>
                </a:lnTo>
                <a:lnTo>
                  <a:pt x="6804" y="2958"/>
                </a:lnTo>
                <a:lnTo>
                  <a:pt x="6798" y="2952"/>
                </a:lnTo>
                <a:lnTo>
                  <a:pt x="6794" y="2950"/>
                </a:lnTo>
                <a:lnTo>
                  <a:pt x="6786" y="2946"/>
                </a:lnTo>
                <a:lnTo>
                  <a:pt x="6768" y="2938"/>
                </a:lnTo>
                <a:lnTo>
                  <a:pt x="6758" y="2932"/>
                </a:lnTo>
                <a:lnTo>
                  <a:pt x="6752" y="2928"/>
                </a:lnTo>
                <a:lnTo>
                  <a:pt x="6750" y="2922"/>
                </a:lnTo>
                <a:lnTo>
                  <a:pt x="6752" y="2920"/>
                </a:lnTo>
                <a:lnTo>
                  <a:pt x="6754" y="2918"/>
                </a:lnTo>
                <a:lnTo>
                  <a:pt x="6760" y="2912"/>
                </a:lnTo>
                <a:lnTo>
                  <a:pt x="6760" y="2908"/>
                </a:lnTo>
                <a:lnTo>
                  <a:pt x="6758" y="2908"/>
                </a:lnTo>
                <a:lnTo>
                  <a:pt x="6752" y="2906"/>
                </a:lnTo>
                <a:lnTo>
                  <a:pt x="6744" y="2904"/>
                </a:lnTo>
                <a:lnTo>
                  <a:pt x="6722" y="2902"/>
                </a:lnTo>
                <a:lnTo>
                  <a:pt x="6710" y="2898"/>
                </a:lnTo>
                <a:lnTo>
                  <a:pt x="6702" y="2894"/>
                </a:lnTo>
                <a:lnTo>
                  <a:pt x="6686" y="2878"/>
                </a:lnTo>
                <a:lnTo>
                  <a:pt x="6676" y="2862"/>
                </a:lnTo>
                <a:lnTo>
                  <a:pt x="6668" y="2848"/>
                </a:lnTo>
                <a:lnTo>
                  <a:pt x="6664" y="2834"/>
                </a:lnTo>
                <a:lnTo>
                  <a:pt x="6658" y="2816"/>
                </a:lnTo>
                <a:lnTo>
                  <a:pt x="6654" y="2810"/>
                </a:lnTo>
                <a:lnTo>
                  <a:pt x="6650" y="2808"/>
                </a:lnTo>
                <a:lnTo>
                  <a:pt x="6642" y="2806"/>
                </a:lnTo>
                <a:lnTo>
                  <a:pt x="6636" y="2800"/>
                </a:lnTo>
                <a:lnTo>
                  <a:pt x="6628" y="2794"/>
                </a:lnTo>
                <a:lnTo>
                  <a:pt x="6618" y="2786"/>
                </a:lnTo>
                <a:lnTo>
                  <a:pt x="6612" y="2780"/>
                </a:lnTo>
                <a:lnTo>
                  <a:pt x="6608" y="2774"/>
                </a:lnTo>
                <a:lnTo>
                  <a:pt x="6604" y="2766"/>
                </a:lnTo>
                <a:lnTo>
                  <a:pt x="6602" y="2758"/>
                </a:lnTo>
                <a:lnTo>
                  <a:pt x="6602" y="2752"/>
                </a:lnTo>
                <a:lnTo>
                  <a:pt x="6602" y="2746"/>
                </a:lnTo>
                <a:lnTo>
                  <a:pt x="6604" y="2742"/>
                </a:lnTo>
                <a:lnTo>
                  <a:pt x="6608" y="2738"/>
                </a:lnTo>
                <a:lnTo>
                  <a:pt x="6610" y="2738"/>
                </a:lnTo>
                <a:lnTo>
                  <a:pt x="6612" y="2736"/>
                </a:lnTo>
                <a:lnTo>
                  <a:pt x="6612" y="2730"/>
                </a:lnTo>
                <a:lnTo>
                  <a:pt x="6602" y="2718"/>
                </a:lnTo>
                <a:lnTo>
                  <a:pt x="6600" y="2710"/>
                </a:lnTo>
                <a:lnTo>
                  <a:pt x="6600" y="2704"/>
                </a:lnTo>
                <a:lnTo>
                  <a:pt x="6604" y="2702"/>
                </a:lnTo>
                <a:lnTo>
                  <a:pt x="6608" y="2704"/>
                </a:lnTo>
                <a:lnTo>
                  <a:pt x="6612" y="2704"/>
                </a:lnTo>
                <a:lnTo>
                  <a:pt x="6614" y="2704"/>
                </a:lnTo>
                <a:lnTo>
                  <a:pt x="6618" y="2702"/>
                </a:lnTo>
                <a:lnTo>
                  <a:pt x="6626" y="2696"/>
                </a:lnTo>
                <a:lnTo>
                  <a:pt x="6634" y="2690"/>
                </a:lnTo>
                <a:lnTo>
                  <a:pt x="6642" y="2688"/>
                </a:lnTo>
                <a:lnTo>
                  <a:pt x="6642" y="2690"/>
                </a:lnTo>
                <a:lnTo>
                  <a:pt x="6644" y="2692"/>
                </a:lnTo>
                <a:lnTo>
                  <a:pt x="6650" y="2690"/>
                </a:lnTo>
                <a:lnTo>
                  <a:pt x="6656" y="2690"/>
                </a:lnTo>
                <a:lnTo>
                  <a:pt x="6658" y="2690"/>
                </a:lnTo>
                <a:lnTo>
                  <a:pt x="6658" y="2696"/>
                </a:lnTo>
                <a:lnTo>
                  <a:pt x="6658" y="2698"/>
                </a:lnTo>
                <a:lnTo>
                  <a:pt x="6656" y="2698"/>
                </a:lnTo>
                <a:lnTo>
                  <a:pt x="6654" y="2700"/>
                </a:lnTo>
                <a:lnTo>
                  <a:pt x="6652" y="2702"/>
                </a:lnTo>
                <a:lnTo>
                  <a:pt x="6652" y="2704"/>
                </a:lnTo>
                <a:lnTo>
                  <a:pt x="6654" y="2716"/>
                </a:lnTo>
                <a:lnTo>
                  <a:pt x="6660" y="2730"/>
                </a:lnTo>
                <a:lnTo>
                  <a:pt x="6666" y="2742"/>
                </a:lnTo>
                <a:lnTo>
                  <a:pt x="6670" y="2744"/>
                </a:lnTo>
                <a:lnTo>
                  <a:pt x="6672" y="2742"/>
                </a:lnTo>
                <a:lnTo>
                  <a:pt x="6678" y="2718"/>
                </a:lnTo>
                <a:lnTo>
                  <a:pt x="6680" y="2714"/>
                </a:lnTo>
                <a:lnTo>
                  <a:pt x="6684" y="2712"/>
                </a:lnTo>
                <a:lnTo>
                  <a:pt x="6688" y="2712"/>
                </a:lnTo>
                <a:lnTo>
                  <a:pt x="6694" y="2714"/>
                </a:lnTo>
                <a:lnTo>
                  <a:pt x="6700" y="2722"/>
                </a:lnTo>
                <a:lnTo>
                  <a:pt x="6706" y="2728"/>
                </a:lnTo>
                <a:lnTo>
                  <a:pt x="6706" y="2732"/>
                </a:lnTo>
                <a:lnTo>
                  <a:pt x="6708" y="2736"/>
                </a:lnTo>
                <a:lnTo>
                  <a:pt x="6708" y="2746"/>
                </a:lnTo>
                <a:lnTo>
                  <a:pt x="6710" y="2752"/>
                </a:lnTo>
                <a:lnTo>
                  <a:pt x="6714" y="2758"/>
                </a:lnTo>
                <a:lnTo>
                  <a:pt x="6720" y="2764"/>
                </a:lnTo>
                <a:lnTo>
                  <a:pt x="6720" y="2768"/>
                </a:lnTo>
                <a:lnTo>
                  <a:pt x="6720" y="2770"/>
                </a:lnTo>
                <a:lnTo>
                  <a:pt x="6718" y="2772"/>
                </a:lnTo>
                <a:lnTo>
                  <a:pt x="6718" y="2774"/>
                </a:lnTo>
                <a:lnTo>
                  <a:pt x="6718" y="2778"/>
                </a:lnTo>
                <a:lnTo>
                  <a:pt x="6722" y="2782"/>
                </a:lnTo>
                <a:lnTo>
                  <a:pt x="6732" y="2790"/>
                </a:lnTo>
                <a:lnTo>
                  <a:pt x="6740" y="2798"/>
                </a:lnTo>
                <a:lnTo>
                  <a:pt x="6746" y="2804"/>
                </a:lnTo>
                <a:lnTo>
                  <a:pt x="6750" y="2812"/>
                </a:lnTo>
                <a:lnTo>
                  <a:pt x="6750" y="2814"/>
                </a:lnTo>
                <a:lnTo>
                  <a:pt x="6752" y="2814"/>
                </a:lnTo>
                <a:lnTo>
                  <a:pt x="6762" y="2814"/>
                </a:lnTo>
                <a:lnTo>
                  <a:pt x="6768" y="2814"/>
                </a:lnTo>
                <a:lnTo>
                  <a:pt x="6774" y="2814"/>
                </a:lnTo>
                <a:lnTo>
                  <a:pt x="6786" y="2822"/>
                </a:lnTo>
                <a:lnTo>
                  <a:pt x="6800" y="2832"/>
                </a:lnTo>
                <a:lnTo>
                  <a:pt x="6812" y="2844"/>
                </a:lnTo>
                <a:lnTo>
                  <a:pt x="6798" y="2842"/>
                </a:lnTo>
                <a:lnTo>
                  <a:pt x="6794" y="2842"/>
                </a:lnTo>
                <a:lnTo>
                  <a:pt x="6800" y="2846"/>
                </a:lnTo>
                <a:lnTo>
                  <a:pt x="6818" y="2854"/>
                </a:lnTo>
                <a:lnTo>
                  <a:pt x="6828" y="2858"/>
                </a:lnTo>
                <a:lnTo>
                  <a:pt x="6836" y="2862"/>
                </a:lnTo>
                <a:lnTo>
                  <a:pt x="6844" y="2870"/>
                </a:lnTo>
                <a:lnTo>
                  <a:pt x="6848" y="2876"/>
                </a:lnTo>
                <a:lnTo>
                  <a:pt x="6852" y="2876"/>
                </a:lnTo>
                <a:lnTo>
                  <a:pt x="6858" y="2876"/>
                </a:lnTo>
                <a:lnTo>
                  <a:pt x="6862" y="2880"/>
                </a:lnTo>
                <a:lnTo>
                  <a:pt x="6868" y="2882"/>
                </a:lnTo>
                <a:lnTo>
                  <a:pt x="6872" y="2886"/>
                </a:lnTo>
                <a:lnTo>
                  <a:pt x="6874" y="2892"/>
                </a:lnTo>
                <a:lnTo>
                  <a:pt x="6876" y="2898"/>
                </a:lnTo>
                <a:lnTo>
                  <a:pt x="6876" y="2902"/>
                </a:lnTo>
                <a:lnTo>
                  <a:pt x="6880" y="2904"/>
                </a:lnTo>
                <a:lnTo>
                  <a:pt x="6888" y="2904"/>
                </a:lnTo>
                <a:lnTo>
                  <a:pt x="6892" y="2908"/>
                </a:lnTo>
                <a:lnTo>
                  <a:pt x="6894" y="2912"/>
                </a:lnTo>
                <a:lnTo>
                  <a:pt x="6892" y="2928"/>
                </a:lnTo>
                <a:lnTo>
                  <a:pt x="6890" y="2944"/>
                </a:lnTo>
                <a:lnTo>
                  <a:pt x="6890" y="2950"/>
                </a:lnTo>
                <a:lnTo>
                  <a:pt x="6890" y="2954"/>
                </a:lnTo>
                <a:lnTo>
                  <a:pt x="6892" y="2956"/>
                </a:lnTo>
                <a:lnTo>
                  <a:pt x="6890" y="2958"/>
                </a:lnTo>
                <a:lnTo>
                  <a:pt x="6888" y="2962"/>
                </a:lnTo>
                <a:lnTo>
                  <a:pt x="6884" y="2968"/>
                </a:lnTo>
                <a:lnTo>
                  <a:pt x="6884" y="2974"/>
                </a:lnTo>
                <a:lnTo>
                  <a:pt x="6886" y="2978"/>
                </a:lnTo>
                <a:lnTo>
                  <a:pt x="6888" y="2984"/>
                </a:lnTo>
                <a:lnTo>
                  <a:pt x="6888" y="2988"/>
                </a:lnTo>
                <a:lnTo>
                  <a:pt x="6886" y="2990"/>
                </a:lnTo>
                <a:lnTo>
                  <a:pt x="6886" y="2992"/>
                </a:lnTo>
                <a:lnTo>
                  <a:pt x="6894" y="2996"/>
                </a:lnTo>
                <a:lnTo>
                  <a:pt x="6902" y="3002"/>
                </a:lnTo>
                <a:lnTo>
                  <a:pt x="6906" y="3008"/>
                </a:lnTo>
                <a:lnTo>
                  <a:pt x="6908" y="3012"/>
                </a:lnTo>
                <a:lnTo>
                  <a:pt x="6910" y="3016"/>
                </a:lnTo>
                <a:lnTo>
                  <a:pt x="6910" y="3022"/>
                </a:lnTo>
                <a:lnTo>
                  <a:pt x="6912" y="3026"/>
                </a:lnTo>
                <a:lnTo>
                  <a:pt x="6916" y="3026"/>
                </a:lnTo>
                <a:lnTo>
                  <a:pt x="6924" y="3044"/>
                </a:lnTo>
                <a:lnTo>
                  <a:pt x="6930" y="3052"/>
                </a:lnTo>
                <a:lnTo>
                  <a:pt x="6936" y="3058"/>
                </a:lnTo>
                <a:lnTo>
                  <a:pt x="6940" y="3062"/>
                </a:lnTo>
                <a:lnTo>
                  <a:pt x="6942" y="3066"/>
                </a:lnTo>
                <a:lnTo>
                  <a:pt x="6944" y="3064"/>
                </a:lnTo>
                <a:lnTo>
                  <a:pt x="6946" y="3064"/>
                </a:lnTo>
                <a:lnTo>
                  <a:pt x="6948" y="3062"/>
                </a:lnTo>
                <a:lnTo>
                  <a:pt x="6952" y="3064"/>
                </a:lnTo>
                <a:lnTo>
                  <a:pt x="6958" y="3068"/>
                </a:lnTo>
                <a:lnTo>
                  <a:pt x="6960" y="3070"/>
                </a:lnTo>
                <a:lnTo>
                  <a:pt x="6958" y="3070"/>
                </a:lnTo>
                <a:lnTo>
                  <a:pt x="6950" y="3070"/>
                </a:lnTo>
                <a:lnTo>
                  <a:pt x="6942" y="3072"/>
                </a:lnTo>
                <a:lnTo>
                  <a:pt x="6942" y="3074"/>
                </a:lnTo>
                <a:lnTo>
                  <a:pt x="6944" y="3078"/>
                </a:lnTo>
                <a:lnTo>
                  <a:pt x="6952" y="3088"/>
                </a:lnTo>
                <a:lnTo>
                  <a:pt x="6956" y="3098"/>
                </a:lnTo>
                <a:lnTo>
                  <a:pt x="6958" y="3102"/>
                </a:lnTo>
                <a:lnTo>
                  <a:pt x="6962" y="3102"/>
                </a:lnTo>
                <a:lnTo>
                  <a:pt x="6964" y="3100"/>
                </a:lnTo>
                <a:lnTo>
                  <a:pt x="6968" y="3098"/>
                </a:lnTo>
                <a:lnTo>
                  <a:pt x="6970" y="3098"/>
                </a:lnTo>
                <a:lnTo>
                  <a:pt x="6974" y="3100"/>
                </a:lnTo>
                <a:lnTo>
                  <a:pt x="6984" y="3098"/>
                </a:lnTo>
                <a:lnTo>
                  <a:pt x="6996" y="3098"/>
                </a:lnTo>
                <a:lnTo>
                  <a:pt x="7000" y="3098"/>
                </a:lnTo>
                <a:lnTo>
                  <a:pt x="7004" y="3100"/>
                </a:lnTo>
                <a:lnTo>
                  <a:pt x="7008" y="3100"/>
                </a:lnTo>
                <a:lnTo>
                  <a:pt x="7014" y="3100"/>
                </a:lnTo>
                <a:lnTo>
                  <a:pt x="7020" y="3104"/>
                </a:lnTo>
                <a:lnTo>
                  <a:pt x="7026" y="3106"/>
                </a:lnTo>
                <a:lnTo>
                  <a:pt x="7032" y="3108"/>
                </a:lnTo>
                <a:lnTo>
                  <a:pt x="7038" y="3108"/>
                </a:lnTo>
                <a:lnTo>
                  <a:pt x="7042" y="3110"/>
                </a:lnTo>
                <a:lnTo>
                  <a:pt x="7042" y="3112"/>
                </a:lnTo>
                <a:lnTo>
                  <a:pt x="7042" y="3114"/>
                </a:lnTo>
                <a:lnTo>
                  <a:pt x="7036" y="3116"/>
                </a:lnTo>
                <a:lnTo>
                  <a:pt x="7028" y="3118"/>
                </a:lnTo>
                <a:lnTo>
                  <a:pt x="7022" y="3118"/>
                </a:lnTo>
                <a:lnTo>
                  <a:pt x="7006" y="3108"/>
                </a:lnTo>
                <a:lnTo>
                  <a:pt x="6996" y="3104"/>
                </a:lnTo>
                <a:lnTo>
                  <a:pt x="6990" y="3102"/>
                </a:lnTo>
                <a:lnTo>
                  <a:pt x="6986" y="3104"/>
                </a:lnTo>
                <a:lnTo>
                  <a:pt x="6982" y="3108"/>
                </a:lnTo>
                <a:lnTo>
                  <a:pt x="6980" y="3110"/>
                </a:lnTo>
                <a:lnTo>
                  <a:pt x="6978" y="3110"/>
                </a:lnTo>
                <a:lnTo>
                  <a:pt x="6972" y="3110"/>
                </a:lnTo>
                <a:lnTo>
                  <a:pt x="6968" y="3110"/>
                </a:lnTo>
                <a:lnTo>
                  <a:pt x="6966" y="3112"/>
                </a:lnTo>
                <a:lnTo>
                  <a:pt x="6966" y="3116"/>
                </a:lnTo>
                <a:lnTo>
                  <a:pt x="6964" y="3120"/>
                </a:lnTo>
                <a:lnTo>
                  <a:pt x="6962" y="3122"/>
                </a:lnTo>
                <a:lnTo>
                  <a:pt x="6960" y="3124"/>
                </a:lnTo>
                <a:lnTo>
                  <a:pt x="6958" y="3126"/>
                </a:lnTo>
                <a:lnTo>
                  <a:pt x="6960" y="3130"/>
                </a:lnTo>
                <a:lnTo>
                  <a:pt x="6964" y="3134"/>
                </a:lnTo>
                <a:lnTo>
                  <a:pt x="6964" y="3138"/>
                </a:lnTo>
                <a:lnTo>
                  <a:pt x="6964" y="3140"/>
                </a:lnTo>
                <a:lnTo>
                  <a:pt x="6970" y="3142"/>
                </a:lnTo>
                <a:lnTo>
                  <a:pt x="6974" y="3142"/>
                </a:lnTo>
                <a:lnTo>
                  <a:pt x="6976" y="3144"/>
                </a:lnTo>
                <a:lnTo>
                  <a:pt x="6980" y="3148"/>
                </a:lnTo>
                <a:lnTo>
                  <a:pt x="6978" y="3156"/>
                </a:lnTo>
                <a:lnTo>
                  <a:pt x="6976" y="3162"/>
                </a:lnTo>
                <a:lnTo>
                  <a:pt x="6976" y="3166"/>
                </a:lnTo>
                <a:lnTo>
                  <a:pt x="6976" y="3170"/>
                </a:lnTo>
                <a:lnTo>
                  <a:pt x="6982" y="3180"/>
                </a:lnTo>
                <a:lnTo>
                  <a:pt x="6986" y="3184"/>
                </a:lnTo>
                <a:lnTo>
                  <a:pt x="6988" y="3186"/>
                </a:lnTo>
                <a:lnTo>
                  <a:pt x="6990" y="3184"/>
                </a:lnTo>
                <a:lnTo>
                  <a:pt x="6992" y="3178"/>
                </a:lnTo>
                <a:lnTo>
                  <a:pt x="6994" y="3174"/>
                </a:lnTo>
                <a:lnTo>
                  <a:pt x="6996" y="3172"/>
                </a:lnTo>
                <a:lnTo>
                  <a:pt x="6998" y="3172"/>
                </a:lnTo>
                <a:lnTo>
                  <a:pt x="7000" y="3174"/>
                </a:lnTo>
                <a:lnTo>
                  <a:pt x="7006" y="3184"/>
                </a:lnTo>
                <a:lnTo>
                  <a:pt x="7008" y="3196"/>
                </a:lnTo>
                <a:lnTo>
                  <a:pt x="7008" y="3204"/>
                </a:lnTo>
                <a:lnTo>
                  <a:pt x="7010" y="3206"/>
                </a:lnTo>
                <a:lnTo>
                  <a:pt x="7012" y="3206"/>
                </a:lnTo>
                <a:lnTo>
                  <a:pt x="7014" y="3200"/>
                </a:lnTo>
                <a:lnTo>
                  <a:pt x="7018" y="3190"/>
                </a:lnTo>
                <a:lnTo>
                  <a:pt x="7018" y="3184"/>
                </a:lnTo>
                <a:lnTo>
                  <a:pt x="7020" y="3182"/>
                </a:lnTo>
                <a:lnTo>
                  <a:pt x="7022" y="3184"/>
                </a:lnTo>
                <a:lnTo>
                  <a:pt x="7026" y="3190"/>
                </a:lnTo>
                <a:lnTo>
                  <a:pt x="7032" y="3200"/>
                </a:lnTo>
                <a:lnTo>
                  <a:pt x="7036" y="3204"/>
                </a:lnTo>
                <a:lnTo>
                  <a:pt x="7040" y="3204"/>
                </a:lnTo>
                <a:lnTo>
                  <a:pt x="7040" y="3200"/>
                </a:lnTo>
                <a:lnTo>
                  <a:pt x="7040" y="3192"/>
                </a:lnTo>
                <a:lnTo>
                  <a:pt x="7032" y="3172"/>
                </a:lnTo>
                <a:lnTo>
                  <a:pt x="7024" y="3150"/>
                </a:lnTo>
                <a:lnTo>
                  <a:pt x="7022" y="3144"/>
                </a:lnTo>
                <a:lnTo>
                  <a:pt x="7022" y="3142"/>
                </a:lnTo>
                <a:lnTo>
                  <a:pt x="7024" y="3142"/>
                </a:lnTo>
                <a:lnTo>
                  <a:pt x="7030" y="3144"/>
                </a:lnTo>
                <a:lnTo>
                  <a:pt x="7034" y="3146"/>
                </a:lnTo>
                <a:lnTo>
                  <a:pt x="7036" y="3150"/>
                </a:lnTo>
                <a:lnTo>
                  <a:pt x="7038" y="3154"/>
                </a:lnTo>
                <a:lnTo>
                  <a:pt x="7040" y="3158"/>
                </a:lnTo>
                <a:lnTo>
                  <a:pt x="7044" y="3158"/>
                </a:lnTo>
                <a:lnTo>
                  <a:pt x="7052" y="3152"/>
                </a:lnTo>
                <a:lnTo>
                  <a:pt x="7054" y="3152"/>
                </a:lnTo>
                <a:lnTo>
                  <a:pt x="7056" y="3150"/>
                </a:lnTo>
                <a:lnTo>
                  <a:pt x="7054" y="3146"/>
                </a:lnTo>
                <a:lnTo>
                  <a:pt x="7050" y="3142"/>
                </a:lnTo>
                <a:lnTo>
                  <a:pt x="7044" y="3140"/>
                </a:lnTo>
                <a:lnTo>
                  <a:pt x="7040" y="3140"/>
                </a:lnTo>
                <a:lnTo>
                  <a:pt x="7040" y="3138"/>
                </a:lnTo>
                <a:lnTo>
                  <a:pt x="7040" y="3134"/>
                </a:lnTo>
                <a:lnTo>
                  <a:pt x="7038" y="3130"/>
                </a:lnTo>
                <a:lnTo>
                  <a:pt x="7036" y="3128"/>
                </a:lnTo>
                <a:lnTo>
                  <a:pt x="7038" y="3124"/>
                </a:lnTo>
                <a:lnTo>
                  <a:pt x="7044" y="3120"/>
                </a:lnTo>
                <a:lnTo>
                  <a:pt x="7052" y="3118"/>
                </a:lnTo>
                <a:lnTo>
                  <a:pt x="7056" y="3118"/>
                </a:lnTo>
                <a:lnTo>
                  <a:pt x="7058" y="3120"/>
                </a:lnTo>
                <a:lnTo>
                  <a:pt x="7066" y="3132"/>
                </a:lnTo>
                <a:lnTo>
                  <a:pt x="7072" y="3136"/>
                </a:lnTo>
                <a:lnTo>
                  <a:pt x="7074" y="3138"/>
                </a:lnTo>
                <a:lnTo>
                  <a:pt x="7076" y="3138"/>
                </a:lnTo>
                <a:lnTo>
                  <a:pt x="7078" y="3136"/>
                </a:lnTo>
                <a:lnTo>
                  <a:pt x="7078" y="3134"/>
                </a:lnTo>
                <a:lnTo>
                  <a:pt x="7078" y="3128"/>
                </a:lnTo>
                <a:lnTo>
                  <a:pt x="7076" y="3120"/>
                </a:lnTo>
                <a:lnTo>
                  <a:pt x="7076" y="3114"/>
                </a:lnTo>
                <a:lnTo>
                  <a:pt x="7076" y="3110"/>
                </a:lnTo>
                <a:lnTo>
                  <a:pt x="7076" y="3108"/>
                </a:lnTo>
                <a:lnTo>
                  <a:pt x="7070" y="3104"/>
                </a:lnTo>
                <a:lnTo>
                  <a:pt x="7062" y="3102"/>
                </a:lnTo>
                <a:lnTo>
                  <a:pt x="7060" y="3100"/>
                </a:lnTo>
                <a:lnTo>
                  <a:pt x="7058" y="3096"/>
                </a:lnTo>
                <a:lnTo>
                  <a:pt x="7054" y="3092"/>
                </a:lnTo>
                <a:lnTo>
                  <a:pt x="7052" y="3092"/>
                </a:lnTo>
                <a:lnTo>
                  <a:pt x="7048" y="3090"/>
                </a:lnTo>
                <a:lnTo>
                  <a:pt x="7044" y="3086"/>
                </a:lnTo>
                <a:lnTo>
                  <a:pt x="7042" y="3082"/>
                </a:lnTo>
                <a:lnTo>
                  <a:pt x="7036" y="3078"/>
                </a:lnTo>
                <a:lnTo>
                  <a:pt x="7024" y="3074"/>
                </a:lnTo>
                <a:lnTo>
                  <a:pt x="7016" y="3072"/>
                </a:lnTo>
                <a:lnTo>
                  <a:pt x="7016" y="3070"/>
                </a:lnTo>
                <a:lnTo>
                  <a:pt x="7022" y="3068"/>
                </a:lnTo>
                <a:lnTo>
                  <a:pt x="7030" y="3068"/>
                </a:lnTo>
                <a:lnTo>
                  <a:pt x="7032" y="3064"/>
                </a:lnTo>
                <a:lnTo>
                  <a:pt x="7032" y="3060"/>
                </a:lnTo>
                <a:lnTo>
                  <a:pt x="7032" y="3056"/>
                </a:lnTo>
                <a:lnTo>
                  <a:pt x="7028" y="3050"/>
                </a:lnTo>
                <a:lnTo>
                  <a:pt x="7030" y="3048"/>
                </a:lnTo>
                <a:lnTo>
                  <a:pt x="7034" y="3046"/>
                </a:lnTo>
                <a:lnTo>
                  <a:pt x="7036" y="3048"/>
                </a:lnTo>
                <a:lnTo>
                  <a:pt x="7038" y="3048"/>
                </a:lnTo>
                <a:lnTo>
                  <a:pt x="7038" y="3054"/>
                </a:lnTo>
                <a:lnTo>
                  <a:pt x="7038" y="3060"/>
                </a:lnTo>
                <a:lnTo>
                  <a:pt x="7040" y="3060"/>
                </a:lnTo>
                <a:lnTo>
                  <a:pt x="7042" y="3058"/>
                </a:lnTo>
                <a:lnTo>
                  <a:pt x="7044" y="3056"/>
                </a:lnTo>
                <a:lnTo>
                  <a:pt x="7046" y="3052"/>
                </a:lnTo>
                <a:lnTo>
                  <a:pt x="7044" y="3046"/>
                </a:lnTo>
                <a:lnTo>
                  <a:pt x="7038" y="3038"/>
                </a:lnTo>
                <a:lnTo>
                  <a:pt x="7032" y="3028"/>
                </a:lnTo>
                <a:lnTo>
                  <a:pt x="7024" y="3018"/>
                </a:lnTo>
                <a:lnTo>
                  <a:pt x="7018" y="3010"/>
                </a:lnTo>
                <a:lnTo>
                  <a:pt x="7016" y="3000"/>
                </a:lnTo>
                <a:lnTo>
                  <a:pt x="7014" y="2996"/>
                </a:lnTo>
                <a:lnTo>
                  <a:pt x="7016" y="2990"/>
                </a:lnTo>
                <a:lnTo>
                  <a:pt x="7020" y="2984"/>
                </a:lnTo>
                <a:lnTo>
                  <a:pt x="7026" y="2978"/>
                </a:lnTo>
                <a:lnTo>
                  <a:pt x="7028" y="2976"/>
                </a:lnTo>
                <a:lnTo>
                  <a:pt x="7030" y="2976"/>
                </a:lnTo>
                <a:lnTo>
                  <a:pt x="7030" y="2980"/>
                </a:lnTo>
                <a:lnTo>
                  <a:pt x="7030" y="2984"/>
                </a:lnTo>
                <a:lnTo>
                  <a:pt x="7030" y="2988"/>
                </a:lnTo>
                <a:lnTo>
                  <a:pt x="7032" y="2988"/>
                </a:lnTo>
                <a:lnTo>
                  <a:pt x="7036" y="2990"/>
                </a:lnTo>
                <a:lnTo>
                  <a:pt x="7042" y="2994"/>
                </a:lnTo>
                <a:lnTo>
                  <a:pt x="7044" y="2998"/>
                </a:lnTo>
                <a:lnTo>
                  <a:pt x="7046" y="3004"/>
                </a:lnTo>
                <a:lnTo>
                  <a:pt x="7048" y="3008"/>
                </a:lnTo>
                <a:lnTo>
                  <a:pt x="7050" y="3012"/>
                </a:lnTo>
                <a:lnTo>
                  <a:pt x="7056" y="3014"/>
                </a:lnTo>
                <a:lnTo>
                  <a:pt x="7058" y="3014"/>
                </a:lnTo>
                <a:lnTo>
                  <a:pt x="7060" y="3012"/>
                </a:lnTo>
                <a:lnTo>
                  <a:pt x="7060" y="3010"/>
                </a:lnTo>
                <a:lnTo>
                  <a:pt x="7058" y="3008"/>
                </a:lnTo>
                <a:lnTo>
                  <a:pt x="7054" y="3002"/>
                </a:lnTo>
                <a:lnTo>
                  <a:pt x="7052" y="2996"/>
                </a:lnTo>
                <a:lnTo>
                  <a:pt x="7054" y="2996"/>
                </a:lnTo>
                <a:lnTo>
                  <a:pt x="7062" y="3002"/>
                </a:lnTo>
                <a:lnTo>
                  <a:pt x="7070" y="3010"/>
                </a:lnTo>
                <a:lnTo>
                  <a:pt x="7074" y="3012"/>
                </a:lnTo>
                <a:lnTo>
                  <a:pt x="7076" y="3010"/>
                </a:lnTo>
                <a:lnTo>
                  <a:pt x="7076" y="3008"/>
                </a:lnTo>
                <a:lnTo>
                  <a:pt x="7070" y="3000"/>
                </a:lnTo>
                <a:lnTo>
                  <a:pt x="7064" y="2992"/>
                </a:lnTo>
                <a:lnTo>
                  <a:pt x="7066" y="2990"/>
                </a:lnTo>
                <a:lnTo>
                  <a:pt x="7080" y="2998"/>
                </a:lnTo>
                <a:lnTo>
                  <a:pt x="7086" y="3002"/>
                </a:lnTo>
                <a:lnTo>
                  <a:pt x="7090" y="3002"/>
                </a:lnTo>
                <a:lnTo>
                  <a:pt x="7090" y="3000"/>
                </a:lnTo>
                <a:lnTo>
                  <a:pt x="7084" y="2994"/>
                </a:lnTo>
                <a:lnTo>
                  <a:pt x="7076" y="2988"/>
                </a:lnTo>
                <a:lnTo>
                  <a:pt x="7072" y="2986"/>
                </a:lnTo>
                <a:lnTo>
                  <a:pt x="7068" y="2986"/>
                </a:lnTo>
                <a:lnTo>
                  <a:pt x="7070" y="2982"/>
                </a:lnTo>
                <a:lnTo>
                  <a:pt x="7070" y="2980"/>
                </a:lnTo>
                <a:lnTo>
                  <a:pt x="7068" y="2976"/>
                </a:lnTo>
                <a:lnTo>
                  <a:pt x="7066" y="2974"/>
                </a:lnTo>
                <a:lnTo>
                  <a:pt x="7064" y="2972"/>
                </a:lnTo>
                <a:lnTo>
                  <a:pt x="7072" y="2970"/>
                </a:lnTo>
                <a:lnTo>
                  <a:pt x="7078" y="2968"/>
                </a:lnTo>
                <a:lnTo>
                  <a:pt x="7082" y="2966"/>
                </a:lnTo>
                <a:lnTo>
                  <a:pt x="7088" y="2962"/>
                </a:lnTo>
                <a:lnTo>
                  <a:pt x="7094" y="2958"/>
                </a:lnTo>
                <a:lnTo>
                  <a:pt x="7096" y="2958"/>
                </a:lnTo>
                <a:lnTo>
                  <a:pt x="7102" y="2960"/>
                </a:lnTo>
                <a:lnTo>
                  <a:pt x="7106" y="2962"/>
                </a:lnTo>
                <a:lnTo>
                  <a:pt x="7110" y="2960"/>
                </a:lnTo>
                <a:lnTo>
                  <a:pt x="7114" y="2958"/>
                </a:lnTo>
                <a:lnTo>
                  <a:pt x="7120" y="2956"/>
                </a:lnTo>
                <a:lnTo>
                  <a:pt x="7124" y="2956"/>
                </a:lnTo>
                <a:lnTo>
                  <a:pt x="7128" y="2958"/>
                </a:lnTo>
                <a:lnTo>
                  <a:pt x="7134" y="2960"/>
                </a:lnTo>
                <a:lnTo>
                  <a:pt x="7140" y="2962"/>
                </a:lnTo>
                <a:lnTo>
                  <a:pt x="7148" y="2962"/>
                </a:lnTo>
                <a:lnTo>
                  <a:pt x="7154" y="2962"/>
                </a:lnTo>
                <a:lnTo>
                  <a:pt x="7156" y="2964"/>
                </a:lnTo>
                <a:lnTo>
                  <a:pt x="7158" y="2968"/>
                </a:lnTo>
                <a:lnTo>
                  <a:pt x="7158" y="2974"/>
                </a:lnTo>
                <a:lnTo>
                  <a:pt x="7164" y="2976"/>
                </a:lnTo>
                <a:lnTo>
                  <a:pt x="7170" y="2978"/>
                </a:lnTo>
                <a:lnTo>
                  <a:pt x="7178" y="2976"/>
                </a:lnTo>
                <a:lnTo>
                  <a:pt x="7188" y="2974"/>
                </a:lnTo>
                <a:lnTo>
                  <a:pt x="7186" y="2976"/>
                </a:lnTo>
                <a:lnTo>
                  <a:pt x="7168" y="2986"/>
                </a:lnTo>
                <a:lnTo>
                  <a:pt x="7164" y="2990"/>
                </a:lnTo>
                <a:lnTo>
                  <a:pt x="7162" y="2998"/>
                </a:lnTo>
                <a:lnTo>
                  <a:pt x="7164" y="3002"/>
                </a:lnTo>
                <a:lnTo>
                  <a:pt x="7166" y="3000"/>
                </a:lnTo>
                <a:lnTo>
                  <a:pt x="7180" y="2988"/>
                </a:lnTo>
                <a:lnTo>
                  <a:pt x="7190" y="2980"/>
                </a:lnTo>
                <a:lnTo>
                  <a:pt x="7200" y="2976"/>
                </a:lnTo>
                <a:lnTo>
                  <a:pt x="7206" y="2972"/>
                </a:lnTo>
                <a:lnTo>
                  <a:pt x="7212" y="2964"/>
                </a:lnTo>
                <a:lnTo>
                  <a:pt x="7216" y="2956"/>
                </a:lnTo>
                <a:lnTo>
                  <a:pt x="7220" y="2952"/>
                </a:lnTo>
                <a:lnTo>
                  <a:pt x="7222" y="2952"/>
                </a:lnTo>
                <a:lnTo>
                  <a:pt x="7224" y="2952"/>
                </a:lnTo>
                <a:lnTo>
                  <a:pt x="7230" y="2956"/>
                </a:lnTo>
                <a:lnTo>
                  <a:pt x="7232" y="2956"/>
                </a:lnTo>
                <a:lnTo>
                  <a:pt x="7236" y="2954"/>
                </a:lnTo>
                <a:lnTo>
                  <a:pt x="7240" y="2952"/>
                </a:lnTo>
                <a:lnTo>
                  <a:pt x="7246" y="2952"/>
                </a:lnTo>
                <a:lnTo>
                  <a:pt x="7256" y="2954"/>
                </a:lnTo>
                <a:lnTo>
                  <a:pt x="7266" y="2956"/>
                </a:lnTo>
                <a:lnTo>
                  <a:pt x="7270" y="2954"/>
                </a:lnTo>
                <a:lnTo>
                  <a:pt x="7274" y="2950"/>
                </a:lnTo>
                <a:lnTo>
                  <a:pt x="7278" y="2944"/>
                </a:lnTo>
                <a:lnTo>
                  <a:pt x="7278" y="2942"/>
                </a:lnTo>
                <a:lnTo>
                  <a:pt x="7276" y="2940"/>
                </a:lnTo>
                <a:lnTo>
                  <a:pt x="7268" y="2938"/>
                </a:lnTo>
                <a:lnTo>
                  <a:pt x="7256" y="2934"/>
                </a:lnTo>
                <a:lnTo>
                  <a:pt x="7244" y="2926"/>
                </a:lnTo>
                <a:lnTo>
                  <a:pt x="7238" y="2918"/>
                </a:lnTo>
                <a:lnTo>
                  <a:pt x="7236" y="2910"/>
                </a:lnTo>
                <a:lnTo>
                  <a:pt x="7236" y="2900"/>
                </a:lnTo>
                <a:lnTo>
                  <a:pt x="7236" y="2896"/>
                </a:lnTo>
                <a:lnTo>
                  <a:pt x="7234" y="2892"/>
                </a:lnTo>
                <a:lnTo>
                  <a:pt x="7230" y="2890"/>
                </a:lnTo>
                <a:lnTo>
                  <a:pt x="7226" y="2888"/>
                </a:lnTo>
                <a:lnTo>
                  <a:pt x="7224" y="2884"/>
                </a:lnTo>
                <a:lnTo>
                  <a:pt x="7224" y="2882"/>
                </a:lnTo>
                <a:lnTo>
                  <a:pt x="7224" y="2878"/>
                </a:lnTo>
                <a:lnTo>
                  <a:pt x="7222" y="2876"/>
                </a:lnTo>
                <a:lnTo>
                  <a:pt x="7216" y="2874"/>
                </a:lnTo>
                <a:lnTo>
                  <a:pt x="7212" y="2872"/>
                </a:lnTo>
                <a:lnTo>
                  <a:pt x="7220" y="2864"/>
                </a:lnTo>
                <a:lnTo>
                  <a:pt x="7226" y="2860"/>
                </a:lnTo>
                <a:lnTo>
                  <a:pt x="7230" y="2856"/>
                </a:lnTo>
                <a:lnTo>
                  <a:pt x="7232" y="2852"/>
                </a:lnTo>
                <a:lnTo>
                  <a:pt x="7232" y="2848"/>
                </a:lnTo>
                <a:lnTo>
                  <a:pt x="7230" y="2840"/>
                </a:lnTo>
                <a:lnTo>
                  <a:pt x="7232" y="2834"/>
                </a:lnTo>
                <a:lnTo>
                  <a:pt x="7234" y="2826"/>
                </a:lnTo>
                <a:lnTo>
                  <a:pt x="7240" y="2822"/>
                </a:lnTo>
                <a:lnTo>
                  <a:pt x="7244" y="2820"/>
                </a:lnTo>
                <a:lnTo>
                  <a:pt x="7250" y="2822"/>
                </a:lnTo>
                <a:lnTo>
                  <a:pt x="7254" y="2822"/>
                </a:lnTo>
                <a:lnTo>
                  <a:pt x="7256" y="2818"/>
                </a:lnTo>
                <a:lnTo>
                  <a:pt x="7258" y="2812"/>
                </a:lnTo>
                <a:lnTo>
                  <a:pt x="7258" y="2800"/>
                </a:lnTo>
                <a:lnTo>
                  <a:pt x="7262" y="2776"/>
                </a:lnTo>
                <a:lnTo>
                  <a:pt x="7264" y="2766"/>
                </a:lnTo>
                <a:lnTo>
                  <a:pt x="7268" y="2758"/>
                </a:lnTo>
                <a:lnTo>
                  <a:pt x="7272" y="2752"/>
                </a:lnTo>
                <a:lnTo>
                  <a:pt x="7278" y="2746"/>
                </a:lnTo>
                <a:lnTo>
                  <a:pt x="7284" y="2742"/>
                </a:lnTo>
                <a:lnTo>
                  <a:pt x="7292" y="2740"/>
                </a:lnTo>
                <a:lnTo>
                  <a:pt x="7300" y="2736"/>
                </a:lnTo>
                <a:lnTo>
                  <a:pt x="7302" y="2730"/>
                </a:lnTo>
                <a:lnTo>
                  <a:pt x="7304" y="2724"/>
                </a:lnTo>
                <a:lnTo>
                  <a:pt x="7306" y="2716"/>
                </a:lnTo>
                <a:lnTo>
                  <a:pt x="7306" y="2708"/>
                </a:lnTo>
                <a:lnTo>
                  <a:pt x="7304" y="2704"/>
                </a:lnTo>
                <a:lnTo>
                  <a:pt x="7302" y="2702"/>
                </a:lnTo>
                <a:lnTo>
                  <a:pt x="7300" y="2696"/>
                </a:lnTo>
                <a:lnTo>
                  <a:pt x="7300" y="2688"/>
                </a:lnTo>
                <a:lnTo>
                  <a:pt x="7304" y="2688"/>
                </a:lnTo>
                <a:lnTo>
                  <a:pt x="7310" y="2690"/>
                </a:lnTo>
                <a:lnTo>
                  <a:pt x="7316" y="2688"/>
                </a:lnTo>
                <a:lnTo>
                  <a:pt x="7320" y="2684"/>
                </a:lnTo>
                <a:lnTo>
                  <a:pt x="7332" y="2674"/>
                </a:lnTo>
                <a:lnTo>
                  <a:pt x="7340" y="2666"/>
                </a:lnTo>
                <a:lnTo>
                  <a:pt x="7344" y="2658"/>
                </a:lnTo>
                <a:lnTo>
                  <a:pt x="7346" y="2648"/>
                </a:lnTo>
                <a:lnTo>
                  <a:pt x="7346" y="2644"/>
                </a:lnTo>
                <a:lnTo>
                  <a:pt x="7348" y="2640"/>
                </a:lnTo>
                <a:lnTo>
                  <a:pt x="7352" y="2640"/>
                </a:lnTo>
                <a:lnTo>
                  <a:pt x="7356" y="2638"/>
                </a:lnTo>
                <a:lnTo>
                  <a:pt x="7366" y="2638"/>
                </a:lnTo>
                <a:lnTo>
                  <a:pt x="7374" y="2636"/>
                </a:lnTo>
                <a:lnTo>
                  <a:pt x="7382" y="2634"/>
                </a:lnTo>
                <a:lnTo>
                  <a:pt x="7386" y="2636"/>
                </a:lnTo>
                <a:lnTo>
                  <a:pt x="7390" y="2636"/>
                </a:lnTo>
                <a:lnTo>
                  <a:pt x="7390" y="2630"/>
                </a:lnTo>
                <a:lnTo>
                  <a:pt x="7392" y="2612"/>
                </a:lnTo>
                <a:lnTo>
                  <a:pt x="7394" y="2610"/>
                </a:lnTo>
                <a:lnTo>
                  <a:pt x="7396" y="2616"/>
                </a:lnTo>
                <a:lnTo>
                  <a:pt x="7396" y="2626"/>
                </a:lnTo>
                <a:lnTo>
                  <a:pt x="7396" y="2634"/>
                </a:lnTo>
                <a:lnTo>
                  <a:pt x="7398" y="2636"/>
                </a:lnTo>
                <a:lnTo>
                  <a:pt x="7402" y="2638"/>
                </a:lnTo>
                <a:lnTo>
                  <a:pt x="7408" y="2640"/>
                </a:lnTo>
                <a:lnTo>
                  <a:pt x="7418" y="2640"/>
                </a:lnTo>
                <a:lnTo>
                  <a:pt x="7410" y="2642"/>
                </a:lnTo>
                <a:lnTo>
                  <a:pt x="7404" y="2644"/>
                </a:lnTo>
                <a:lnTo>
                  <a:pt x="7392" y="2642"/>
                </a:lnTo>
                <a:lnTo>
                  <a:pt x="7384" y="2640"/>
                </a:lnTo>
                <a:lnTo>
                  <a:pt x="7382" y="2640"/>
                </a:lnTo>
                <a:lnTo>
                  <a:pt x="7380" y="2642"/>
                </a:lnTo>
                <a:lnTo>
                  <a:pt x="7380" y="2644"/>
                </a:lnTo>
                <a:lnTo>
                  <a:pt x="7384" y="2648"/>
                </a:lnTo>
                <a:lnTo>
                  <a:pt x="7392" y="2654"/>
                </a:lnTo>
                <a:lnTo>
                  <a:pt x="7402" y="2660"/>
                </a:lnTo>
                <a:lnTo>
                  <a:pt x="7406" y="2664"/>
                </a:lnTo>
                <a:lnTo>
                  <a:pt x="7406" y="2666"/>
                </a:lnTo>
                <a:lnTo>
                  <a:pt x="7408" y="2668"/>
                </a:lnTo>
                <a:lnTo>
                  <a:pt x="7412" y="2668"/>
                </a:lnTo>
                <a:lnTo>
                  <a:pt x="7424" y="2666"/>
                </a:lnTo>
                <a:lnTo>
                  <a:pt x="7438" y="2666"/>
                </a:lnTo>
                <a:lnTo>
                  <a:pt x="7444" y="2666"/>
                </a:lnTo>
                <a:lnTo>
                  <a:pt x="7448" y="2666"/>
                </a:lnTo>
                <a:lnTo>
                  <a:pt x="7450" y="2668"/>
                </a:lnTo>
                <a:lnTo>
                  <a:pt x="7454" y="2668"/>
                </a:lnTo>
                <a:lnTo>
                  <a:pt x="7458" y="2668"/>
                </a:lnTo>
                <a:lnTo>
                  <a:pt x="7460" y="2666"/>
                </a:lnTo>
                <a:lnTo>
                  <a:pt x="7464" y="2672"/>
                </a:lnTo>
                <a:lnTo>
                  <a:pt x="7464" y="2676"/>
                </a:lnTo>
                <a:lnTo>
                  <a:pt x="7464" y="2678"/>
                </a:lnTo>
                <a:lnTo>
                  <a:pt x="7458" y="2682"/>
                </a:lnTo>
                <a:lnTo>
                  <a:pt x="7440" y="2692"/>
                </a:lnTo>
                <a:lnTo>
                  <a:pt x="7422" y="2700"/>
                </a:lnTo>
                <a:lnTo>
                  <a:pt x="7416" y="2704"/>
                </a:lnTo>
                <a:lnTo>
                  <a:pt x="7416" y="2706"/>
                </a:lnTo>
                <a:lnTo>
                  <a:pt x="7416" y="2708"/>
                </a:lnTo>
                <a:lnTo>
                  <a:pt x="7420" y="2710"/>
                </a:lnTo>
                <a:lnTo>
                  <a:pt x="7426" y="2712"/>
                </a:lnTo>
                <a:lnTo>
                  <a:pt x="7440" y="2716"/>
                </a:lnTo>
                <a:lnTo>
                  <a:pt x="7446" y="2718"/>
                </a:lnTo>
                <a:lnTo>
                  <a:pt x="7452" y="2722"/>
                </a:lnTo>
                <a:lnTo>
                  <a:pt x="7458" y="2726"/>
                </a:lnTo>
                <a:lnTo>
                  <a:pt x="7458" y="2734"/>
                </a:lnTo>
                <a:lnTo>
                  <a:pt x="7458" y="2742"/>
                </a:lnTo>
                <a:lnTo>
                  <a:pt x="7456" y="2746"/>
                </a:lnTo>
                <a:lnTo>
                  <a:pt x="7452" y="2750"/>
                </a:lnTo>
                <a:lnTo>
                  <a:pt x="7452" y="2752"/>
                </a:lnTo>
                <a:lnTo>
                  <a:pt x="7458" y="2760"/>
                </a:lnTo>
                <a:lnTo>
                  <a:pt x="7466" y="2764"/>
                </a:lnTo>
                <a:lnTo>
                  <a:pt x="7472" y="2764"/>
                </a:lnTo>
                <a:lnTo>
                  <a:pt x="7478" y="2762"/>
                </a:lnTo>
                <a:lnTo>
                  <a:pt x="7484" y="2760"/>
                </a:lnTo>
                <a:lnTo>
                  <a:pt x="7494" y="2750"/>
                </a:lnTo>
                <a:lnTo>
                  <a:pt x="7506" y="2740"/>
                </a:lnTo>
                <a:lnTo>
                  <a:pt x="7510" y="2738"/>
                </a:lnTo>
                <a:lnTo>
                  <a:pt x="7514" y="2736"/>
                </a:lnTo>
                <a:lnTo>
                  <a:pt x="7518" y="2738"/>
                </a:lnTo>
                <a:lnTo>
                  <a:pt x="7520" y="2738"/>
                </a:lnTo>
                <a:lnTo>
                  <a:pt x="7528" y="2734"/>
                </a:lnTo>
                <a:lnTo>
                  <a:pt x="7534" y="2728"/>
                </a:lnTo>
                <a:lnTo>
                  <a:pt x="7540" y="2724"/>
                </a:lnTo>
                <a:lnTo>
                  <a:pt x="7544" y="2724"/>
                </a:lnTo>
                <a:lnTo>
                  <a:pt x="7546" y="2726"/>
                </a:lnTo>
                <a:lnTo>
                  <a:pt x="7554" y="2730"/>
                </a:lnTo>
                <a:lnTo>
                  <a:pt x="7560" y="2730"/>
                </a:lnTo>
                <a:lnTo>
                  <a:pt x="7566" y="2730"/>
                </a:lnTo>
                <a:lnTo>
                  <a:pt x="7576" y="2724"/>
                </a:lnTo>
                <a:lnTo>
                  <a:pt x="7578" y="2724"/>
                </a:lnTo>
                <a:lnTo>
                  <a:pt x="7578" y="2722"/>
                </a:lnTo>
                <a:lnTo>
                  <a:pt x="7576" y="2718"/>
                </a:lnTo>
                <a:lnTo>
                  <a:pt x="7576" y="2716"/>
                </a:lnTo>
                <a:lnTo>
                  <a:pt x="7578" y="2712"/>
                </a:lnTo>
                <a:lnTo>
                  <a:pt x="7580" y="2706"/>
                </a:lnTo>
                <a:lnTo>
                  <a:pt x="7578" y="2704"/>
                </a:lnTo>
                <a:lnTo>
                  <a:pt x="7570" y="2702"/>
                </a:lnTo>
                <a:lnTo>
                  <a:pt x="7558" y="2704"/>
                </a:lnTo>
                <a:lnTo>
                  <a:pt x="7552" y="2706"/>
                </a:lnTo>
                <a:lnTo>
                  <a:pt x="7548" y="2708"/>
                </a:lnTo>
                <a:lnTo>
                  <a:pt x="7540" y="2712"/>
                </a:lnTo>
                <a:lnTo>
                  <a:pt x="7536" y="2712"/>
                </a:lnTo>
                <a:lnTo>
                  <a:pt x="7532" y="2710"/>
                </a:lnTo>
                <a:lnTo>
                  <a:pt x="7526" y="2704"/>
                </a:lnTo>
                <a:lnTo>
                  <a:pt x="7520" y="2694"/>
                </a:lnTo>
                <a:lnTo>
                  <a:pt x="7510" y="2676"/>
                </a:lnTo>
                <a:lnTo>
                  <a:pt x="7508" y="2666"/>
                </a:lnTo>
                <a:lnTo>
                  <a:pt x="7508" y="2664"/>
                </a:lnTo>
                <a:lnTo>
                  <a:pt x="7510" y="2662"/>
                </a:lnTo>
                <a:lnTo>
                  <a:pt x="7514" y="2660"/>
                </a:lnTo>
                <a:lnTo>
                  <a:pt x="7520" y="2656"/>
                </a:lnTo>
                <a:lnTo>
                  <a:pt x="7522" y="2656"/>
                </a:lnTo>
                <a:lnTo>
                  <a:pt x="7524" y="2658"/>
                </a:lnTo>
                <a:lnTo>
                  <a:pt x="7522" y="2662"/>
                </a:lnTo>
                <a:lnTo>
                  <a:pt x="7522" y="2666"/>
                </a:lnTo>
                <a:lnTo>
                  <a:pt x="7526" y="2662"/>
                </a:lnTo>
                <a:lnTo>
                  <a:pt x="7536" y="2654"/>
                </a:lnTo>
                <a:lnTo>
                  <a:pt x="7546" y="2644"/>
                </a:lnTo>
                <a:lnTo>
                  <a:pt x="7556" y="2636"/>
                </a:lnTo>
                <a:lnTo>
                  <a:pt x="7560" y="2634"/>
                </a:lnTo>
                <a:lnTo>
                  <a:pt x="7564" y="2634"/>
                </a:lnTo>
                <a:lnTo>
                  <a:pt x="7572" y="2636"/>
                </a:lnTo>
                <a:lnTo>
                  <a:pt x="7580" y="2634"/>
                </a:lnTo>
                <a:lnTo>
                  <a:pt x="7590" y="2630"/>
                </a:lnTo>
                <a:lnTo>
                  <a:pt x="7600" y="2624"/>
                </a:lnTo>
                <a:lnTo>
                  <a:pt x="7618" y="2614"/>
                </a:lnTo>
                <a:lnTo>
                  <a:pt x="7628" y="2608"/>
                </a:lnTo>
                <a:lnTo>
                  <a:pt x="7638" y="2610"/>
                </a:lnTo>
                <a:lnTo>
                  <a:pt x="7642" y="2612"/>
                </a:lnTo>
                <a:lnTo>
                  <a:pt x="7644" y="2614"/>
                </a:lnTo>
                <a:lnTo>
                  <a:pt x="7648" y="2610"/>
                </a:lnTo>
                <a:lnTo>
                  <a:pt x="7658" y="2604"/>
                </a:lnTo>
                <a:lnTo>
                  <a:pt x="7660" y="2604"/>
                </a:lnTo>
                <a:lnTo>
                  <a:pt x="7660" y="2606"/>
                </a:lnTo>
                <a:lnTo>
                  <a:pt x="7666" y="2608"/>
                </a:lnTo>
                <a:lnTo>
                  <a:pt x="7670" y="2606"/>
                </a:lnTo>
                <a:lnTo>
                  <a:pt x="7676" y="2604"/>
                </a:lnTo>
                <a:lnTo>
                  <a:pt x="7682" y="2602"/>
                </a:lnTo>
                <a:lnTo>
                  <a:pt x="7686" y="2600"/>
                </a:lnTo>
                <a:lnTo>
                  <a:pt x="7688" y="2602"/>
                </a:lnTo>
                <a:lnTo>
                  <a:pt x="7690" y="2604"/>
                </a:lnTo>
                <a:lnTo>
                  <a:pt x="7688" y="2608"/>
                </a:lnTo>
                <a:lnTo>
                  <a:pt x="7686" y="2612"/>
                </a:lnTo>
                <a:lnTo>
                  <a:pt x="7680" y="2614"/>
                </a:lnTo>
                <a:lnTo>
                  <a:pt x="7674" y="2618"/>
                </a:lnTo>
                <a:lnTo>
                  <a:pt x="7664" y="2620"/>
                </a:lnTo>
                <a:lnTo>
                  <a:pt x="7658" y="2624"/>
                </a:lnTo>
                <a:lnTo>
                  <a:pt x="7652" y="2628"/>
                </a:lnTo>
                <a:lnTo>
                  <a:pt x="7646" y="2632"/>
                </a:lnTo>
                <a:lnTo>
                  <a:pt x="7634" y="2634"/>
                </a:lnTo>
                <a:lnTo>
                  <a:pt x="7630" y="2636"/>
                </a:lnTo>
                <a:lnTo>
                  <a:pt x="7628" y="2638"/>
                </a:lnTo>
                <a:lnTo>
                  <a:pt x="7628" y="2640"/>
                </a:lnTo>
                <a:lnTo>
                  <a:pt x="7630" y="2644"/>
                </a:lnTo>
                <a:lnTo>
                  <a:pt x="7636" y="2650"/>
                </a:lnTo>
                <a:lnTo>
                  <a:pt x="7640" y="2652"/>
                </a:lnTo>
                <a:lnTo>
                  <a:pt x="7644" y="2652"/>
                </a:lnTo>
                <a:lnTo>
                  <a:pt x="7648" y="2652"/>
                </a:lnTo>
                <a:lnTo>
                  <a:pt x="7652" y="2654"/>
                </a:lnTo>
                <a:lnTo>
                  <a:pt x="7660" y="2662"/>
                </a:lnTo>
                <a:lnTo>
                  <a:pt x="7662" y="2668"/>
                </a:lnTo>
                <a:lnTo>
                  <a:pt x="7662" y="2670"/>
                </a:lnTo>
                <a:lnTo>
                  <a:pt x="7658" y="2670"/>
                </a:lnTo>
                <a:lnTo>
                  <a:pt x="7648" y="2668"/>
                </a:lnTo>
                <a:lnTo>
                  <a:pt x="7642" y="2668"/>
                </a:lnTo>
                <a:lnTo>
                  <a:pt x="7636" y="2670"/>
                </a:lnTo>
                <a:lnTo>
                  <a:pt x="7634" y="2678"/>
                </a:lnTo>
                <a:lnTo>
                  <a:pt x="7626" y="2694"/>
                </a:lnTo>
                <a:lnTo>
                  <a:pt x="7624" y="2698"/>
                </a:lnTo>
                <a:lnTo>
                  <a:pt x="7626" y="2704"/>
                </a:lnTo>
                <a:lnTo>
                  <a:pt x="7628" y="2712"/>
                </a:lnTo>
                <a:lnTo>
                  <a:pt x="7628" y="2714"/>
                </a:lnTo>
                <a:lnTo>
                  <a:pt x="7624" y="2712"/>
                </a:lnTo>
                <a:lnTo>
                  <a:pt x="7618" y="2710"/>
                </a:lnTo>
                <a:lnTo>
                  <a:pt x="7614" y="2710"/>
                </a:lnTo>
                <a:lnTo>
                  <a:pt x="7610" y="2710"/>
                </a:lnTo>
                <a:lnTo>
                  <a:pt x="7606" y="2710"/>
                </a:lnTo>
                <a:lnTo>
                  <a:pt x="7602" y="2710"/>
                </a:lnTo>
                <a:lnTo>
                  <a:pt x="7594" y="2708"/>
                </a:lnTo>
                <a:lnTo>
                  <a:pt x="7590" y="2706"/>
                </a:lnTo>
                <a:lnTo>
                  <a:pt x="7588" y="2706"/>
                </a:lnTo>
                <a:lnTo>
                  <a:pt x="7588" y="2710"/>
                </a:lnTo>
                <a:lnTo>
                  <a:pt x="7588" y="2712"/>
                </a:lnTo>
                <a:lnTo>
                  <a:pt x="7588" y="2716"/>
                </a:lnTo>
                <a:lnTo>
                  <a:pt x="7584" y="2718"/>
                </a:lnTo>
                <a:lnTo>
                  <a:pt x="7584" y="2720"/>
                </a:lnTo>
                <a:lnTo>
                  <a:pt x="7586" y="2722"/>
                </a:lnTo>
                <a:lnTo>
                  <a:pt x="7596" y="2728"/>
                </a:lnTo>
                <a:lnTo>
                  <a:pt x="7604" y="2732"/>
                </a:lnTo>
                <a:lnTo>
                  <a:pt x="7608" y="2736"/>
                </a:lnTo>
                <a:lnTo>
                  <a:pt x="7614" y="2742"/>
                </a:lnTo>
                <a:lnTo>
                  <a:pt x="7618" y="2748"/>
                </a:lnTo>
                <a:lnTo>
                  <a:pt x="7622" y="2750"/>
                </a:lnTo>
                <a:lnTo>
                  <a:pt x="7630" y="2750"/>
                </a:lnTo>
                <a:lnTo>
                  <a:pt x="7636" y="2752"/>
                </a:lnTo>
                <a:lnTo>
                  <a:pt x="7638" y="2754"/>
                </a:lnTo>
                <a:lnTo>
                  <a:pt x="7640" y="2758"/>
                </a:lnTo>
                <a:lnTo>
                  <a:pt x="7642" y="2760"/>
                </a:lnTo>
                <a:lnTo>
                  <a:pt x="7646" y="2762"/>
                </a:lnTo>
                <a:lnTo>
                  <a:pt x="7650" y="2766"/>
                </a:lnTo>
                <a:lnTo>
                  <a:pt x="7660" y="2768"/>
                </a:lnTo>
                <a:lnTo>
                  <a:pt x="7674" y="2774"/>
                </a:lnTo>
                <a:lnTo>
                  <a:pt x="7678" y="2776"/>
                </a:lnTo>
                <a:lnTo>
                  <a:pt x="7680" y="2778"/>
                </a:lnTo>
                <a:lnTo>
                  <a:pt x="7690" y="2792"/>
                </a:lnTo>
                <a:lnTo>
                  <a:pt x="7718" y="2820"/>
                </a:lnTo>
                <a:lnTo>
                  <a:pt x="7726" y="2828"/>
                </a:lnTo>
                <a:lnTo>
                  <a:pt x="7734" y="2832"/>
                </a:lnTo>
                <a:lnTo>
                  <a:pt x="7746" y="2838"/>
                </a:lnTo>
                <a:lnTo>
                  <a:pt x="7754" y="2840"/>
                </a:lnTo>
                <a:lnTo>
                  <a:pt x="7758" y="2844"/>
                </a:lnTo>
                <a:lnTo>
                  <a:pt x="7760" y="2848"/>
                </a:lnTo>
                <a:lnTo>
                  <a:pt x="7764" y="2852"/>
                </a:lnTo>
                <a:lnTo>
                  <a:pt x="7766" y="2854"/>
                </a:lnTo>
                <a:lnTo>
                  <a:pt x="7772" y="2856"/>
                </a:lnTo>
                <a:lnTo>
                  <a:pt x="7776" y="2858"/>
                </a:lnTo>
                <a:lnTo>
                  <a:pt x="7778" y="2862"/>
                </a:lnTo>
                <a:lnTo>
                  <a:pt x="7782" y="2868"/>
                </a:lnTo>
                <a:lnTo>
                  <a:pt x="7786" y="2880"/>
                </a:lnTo>
                <a:lnTo>
                  <a:pt x="7788" y="2902"/>
                </a:lnTo>
                <a:lnTo>
                  <a:pt x="7788" y="2916"/>
                </a:lnTo>
                <a:lnTo>
                  <a:pt x="7786" y="2922"/>
                </a:lnTo>
                <a:lnTo>
                  <a:pt x="7782" y="2926"/>
                </a:lnTo>
                <a:lnTo>
                  <a:pt x="7770" y="2936"/>
                </a:lnTo>
                <a:lnTo>
                  <a:pt x="7750" y="2948"/>
                </a:lnTo>
                <a:lnTo>
                  <a:pt x="7740" y="2954"/>
                </a:lnTo>
                <a:lnTo>
                  <a:pt x="7728" y="2956"/>
                </a:lnTo>
                <a:lnTo>
                  <a:pt x="7718" y="2956"/>
                </a:lnTo>
                <a:lnTo>
                  <a:pt x="7712" y="2954"/>
                </a:lnTo>
                <a:lnTo>
                  <a:pt x="7708" y="2952"/>
                </a:lnTo>
                <a:lnTo>
                  <a:pt x="7698" y="2948"/>
                </a:lnTo>
                <a:lnTo>
                  <a:pt x="7690" y="2946"/>
                </a:lnTo>
                <a:lnTo>
                  <a:pt x="7680" y="2950"/>
                </a:lnTo>
                <a:lnTo>
                  <a:pt x="7670" y="2954"/>
                </a:lnTo>
                <a:lnTo>
                  <a:pt x="7662" y="2956"/>
                </a:lnTo>
                <a:lnTo>
                  <a:pt x="7652" y="2960"/>
                </a:lnTo>
                <a:lnTo>
                  <a:pt x="7644" y="2958"/>
                </a:lnTo>
                <a:lnTo>
                  <a:pt x="7640" y="2956"/>
                </a:lnTo>
                <a:lnTo>
                  <a:pt x="7636" y="2954"/>
                </a:lnTo>
                <a:lnTo>
                  <a:pt x="7626" y="2946"/>
                </a:lnTo>
                <a:lnTo>
                  <a:pt x="7624" y="2946"/>
                </a:lnTo>
                <a:lnTo>
                  <a:pt x="7624" y="2948"/>
                </a:lnTo>
                <a:lnTo>
                  <a:pt x="7622" y="2950"/>
                </a:lnTo>
                <a:lnTo>
                  <a:pt x="7620" y="2950"/>
                </a:lnTo>
                <a:lnTo>
                  <a:pt x="7616" y="2950"/>
                </a:lnTo>
                <a:lnTo>
                  <a:pt x="7610" y="2948"/>
                </a:lnTo>
                <a:lnTo>
                  <a:pt x="7602" y="2944"/>
                </a:lnTo>
                <a:lnTo>
                  <a:pt x="7598" y="2940"/>
                </a:lnTo>
                <a:lnTo>
                  <a:pt x="7594" y="2936"/>
                </a:lnTo>
                <a:lnTo>
                  <a:pt x="7592" y="2934"/>
                </a:lnTo>
                <a:lnTo>
                  <a:pt x="7590" y="2934"/>
                </a:lnTo>
                <a:lnTo>
                  <a:pt x="7582" y="2938"/>
                </a:lnTo>
                <a:lnTo>
                  <a:pt x="7574" y="2938"/>
                </a:lnTo>
                <a:lnTo>
                  <a:pt x="7572" y="2936"/>
                </a:lnTo>
                <a:lnTo>
                  <a:pt x="7568" y="2932"/>
                </a:lnTo>
                <a:lnTo>
                  <a:pt x="7566" y="2926"/>
                </a:lnTo>
                <a:lnTo>
                  <a:pt x="7564" y="2920"/>
                </a:lnTo>
                <a:lnTo>
                  <a:pt x="7560" y="2916"/>
                </a:lnTo>
                <a:lnTo>
                  <a:pt x="7554" y="2914"/>
                </a:lnTo>
                <a:lnTo>
                  <a:pt x="7544" y="2916"/>
                </a:lnTo>
                <a:lnTo>
                  <a:pt x="7534" y="2916"/>
                </a:lnTo>
                <a:lnTo>
                  <a:pt x="7528" y="2914"/>
                </a:lnTo>
                <a:lnTo>
                  <a:pt x="7526" y="2910"/>
                </a:lnTo>
                <a:lnTo>
                  <a:pt x="7524" y="2904"/>
                </a:lnTo>
                <a:lnTo>
                  <a:pt x="7524" y="2898"/>
                </a:lnTo>
                <a:lnTo>
                  <a:pt x="7522" y="2894"/>
                </a:lnTo>
                <a:lnTo>
                  <a:pt x="7520" y="2894"/>
                </a:lnTo>
                <a:lnTo>
                  <a:pt x="7514" y="2896"/>
                </a:lnTo>
                <a:lnTo>
                  <a:pt x="7506" y="2900"/>
                </a:lnTo>
                <a:lnTo>
                  <a:pt x="7498" y="2902"/>
                </a:lnTo>
                <a:lnTo>
                  <a:pt x="7482" y="2900"/>
                </a:lnTo>
                <a:lnTo>
                  <a:pt x="7474" y="2898"/>
                </a:lnTo>
                <a:lnTo>
                  <a:pt x="7462" y="2898"/>
                </a:lnTo>
                <a:lnTo>
                  <a:pt x="7450" y="2898"/>
                </a:lnTo>
                <a:lnTo>
                  <a:pt x="7436" y="2902"/>
                </a:lnTo>
                <a:lnTo>
                  <a:pt x="7408" y="2914"/>
                </a:lnTo>
                <a:lnTo>
                  <a:pt x="7390" y="2924"/>
                </a:lnTo>
                <a:lnTo>
                  <a:pt x="7378" y="2934"/>
                </a:lnTo>
                <a:lnTo>
                  <a:pt x="7372" y="2942"/>
                </a:lnTo>
                <a:lnTo>
                  <a:pt x="7368" y="2948"/>
                </a:lnTo>
                <a:lnTo>
                  <a:pt x="7362" y="2950"/>
                </a:lnTo>
                <a:lnTo>
                  <a:pt x="7354" y="2950"/>
                </a:lnTo>
                <a:lnTo>
                  <a:pt x="7342" y="2946"/>
                </a:lnTo>
                <a:lnTo>
                  <a:pt x="7330" y="2944"/>
                </a:lnTo>
                <a:lnTo>
                  <a:pt x="7322" y="2944"/>
                </a:lnTo>
                <a:lnTo>
                  <a:pt x="7314" y="2946"/>
                </a:lnTo>
                <a:lnTo>
                  <a:pt x="7302" y="2944"/>
                </a:lnTo>
                <a:lnTo>
                  <a:pt x="7292" y="2942"/>
                </a:lnTo>
                <a:lnTo>
                  <a:pt x="7286" y="2942"/>
                </a:lnTo>
                <a:lnTo>
                  <a:pt x="7282" y="2946"/>
                </a:lnTo>
                <a:lnTo>
                  <a:pt x="7280" y="2952"/>
                </a:lnTo>
                <a:lnTo>
                  <a:pt x="7278" y="2956"/>
                </a:lnTo>
                <a:lnTo>
                  <a:pt x="7280" y="2958"/>
                </a:lnTo>
                <a:lnTo>
                  <a:pt x="7284" y="2960"/>
                </a:lnTo>
                <a:lnTo>
                  <a:pt x="7288" y="2964"/>
                </a:lnTo>
                <a:lnTo>
                  <a:pt x="7292" y="2966"/>
                </a:lnTo>
                <a:lnTo>
                  <a:pt x="7296" y="2968"/>
                </a:lnTo>
                <a:lnTo>
                  <a:pt x="7304" y="2970"/>
                </a:lnTo>
                <a:lnTo>
                  <a:pt x="7306" y="2970"/>
                </a:lnTo>
                <a:lnTo>
                  <a:pt x="7290" y="2974"/>
                </a:lnTo>
                <a:lnTo>
                  <a:pt x="7270" y="2978"/>
                </a:lnTo>
                <a:lnTo>
                  <a:pt x="7268" y="2980"/>
                </a:lnTo>
                <a:lnTo>
                  <a:pt x="7270" y="2982"/>
                </a:lnTo>
                <a:lnTo>
                  <a:pt x="7276" y="2984"/>
                </a:lnTo>
                <a:lnTo>
                  <a:pt x="7278" y="2986"/>
                </a:lnTo>
                <a:lnTo>
                  <a:pt x="7278" y="2990"/>
                </a:lnTo>
                <a:lnTo>
                  <a:pt x="7270" y="2990"/>
                </a:lnTo>
                <a:lnTo>
                  <a:pt x="7256" y="2990"/>
                </a:lnTo>
                <a:lnTo>
                  <a:pt x="7242" y="2988"/>
                </a:lnTo>
                <a:lnTo>
                  <a:pt x="7238" y="2986"/>
                </a:lnTo>
                <a:lnTo>
                  <a:pt x="7236" y="2984"/>
                </a:lnTo>
                <a:lnTo>
                  <a:pt x="7236" y="2982"/>
                </a:lnTo>
                <a:lnTo>
                  <a:pt x="7236" y="2980"/>
                </a:lnTo>
                <a:lnTo>
                  <a:pt x="7228" y="2980"/>
                </a:lnTo>
                <a:lnTo>
                  <a:pt x="7222" y="2982"/>
                </a:lnTo>
                <a:lnTo>
                  <a:pt x="7222" y="2984"/>
                </a:lnTo>
                <a:lnTo>
                  <a:pt x="7222" y="2986"/>
                </a:lnTo>
                <a:lnTo>
                  <a:pt x="7224" y="2990"/>
                </a:lnTo>
                <a:lnTo>
                  <a:pt x="7220" y="2994"/>
                </a:lnTo>
                <a:lnTo>
                  <a:pt x="7214" y="2994"/>
                </a:lnTo>
                <a:lnTo>
                  <a:pt x="7212" y="2992"/>
                </a:lnTo>
                <a:lnTo>
                  <a:pt x="7210" y="2990"/>
                </a:lnTo>
                <a:lnTo>
                  <a:pt x="7208" y="2986"/>
                </a:lnTo>
                <a:lnTo>
                  <a:pt x="7204" y="2986"/>
                </a:lnTo>
                <a:lnTo>
                  <a:pt x="7200" y="2984"/>
                </a:lnTo>
                <a:lnTo>
                  <a:pt x="7196" y="2984"/>
                </a:lnTo>
                <a:lnTo>
                  <a:pt x="7190" y="2986"/>
                </a:lnTo>
                <a:lnTo>
                  <a:pt x="7184" y="2990"/>
                </a:lnTo>
                <a:lnTo>
                  <a:pt x="7178" y="2996"/>
                </a:lnTo>
                <a:lnTo>
                  <a:pt x="7172" y="3004"/>
                </a:lnTo>
                <a:lnTo>
                  <a:pt x="7168" y="3010"/>
                </a:lnTo>
                <a:lnTo>
                  <a:pt x="7164" y="3010"/>
                </a:lnTo>
                <a:lnTo>
                  <a:pt x="7162" y="3014"/>
                </a:lnTo>
                <a:lnTo>
                  <a:pt x="7160" y="3022"/>
                </a:lnTo>
                <a:lnTo>
                  <a:pt x="7158" y="3032"/>
                </a:lnTo>
                <a:lnTo>
                  <a:pt x="7160" y="3036"/>
                </a:lnTo>
                <a:lnTo>
                  <a:pt x="7160" y="3038"/>
                </a:lnTo>
                <a:lnTo>
                  <a:pt x="7168" y="3038"/>
                </a:lnTo>
                <a:lnTo>
                  <a:pt x="7180" y="3034"/>
                </a:lnTo>
                <a:lnTo>
                  <a:pt x="7188" y="3032"/>
                </a:lnTo>
                <a:lnTo>
                  <a:pt x="7190" y="3032"/>
                </a:lnTo>
                <a:lnTo>
                  <a:pt x="7190" y="3034"/>
                </a:lnTo>
                <a:lnTo>
                  <a:pt x="7188" y="3038"/>
                </a:lnTo>
                <a:lnTo>
                  <a:pt x="7184" y="3044"/>
                </a:lnTo>
                <a:lnTo>
                  <a:pt x="7184" y="3048"/>
                </a:lnTo>
                <a:lnTo>
                  <a:pt x="7186" y="3052"/>
                </a:lnTo>
                <a:lnTo>
                  <a:pt x="7188" y="3054"/>
                </a:lnTo>
                <a:lnTo>
                  <a:pt x="7190" y="3058"/>
                </a:lnTo>
                <a:lnTo>
                  <a:pt x="7188" y="3064"/>
                </a:lnTo>
                <a:lnTo>
                  <a:pt x="7186" y="3068"/>
                </a:lnTo>
                <a:lnTo>
                  <a:pt x="7188" y="3068"/>
                </a:lnTo>
                <a:lnTo>
                  <a:pt x="7192" y="3070"/>
                </a:lnTo>
                <a:lnTo>
                  <a:pt x="7194" y="3070"/>
                </a:lnTo>
                <a:lnTo>
                  <a:pt x="7194" y="3072"/>
                </a:lnTo>
                <a:lnTo>
                  <a:pt x="7188" y="3078"/>
                </a:lnTo>
                <a:lnTo>
                  <a:pt x="7182" y="3082"/>
                </a:lnTo>
                <a:lnTo>
                  <a:pt x="7182" y="3086"/>
                </a:lnTo>
                <a:lnTo>
                  <a:pt x="7186" y="3088"/>
                </a:lnTo>
                <a:lnTo>
                  <a:pt x="7192" y="3092"/>
                </a:lnTo>
                <a:lnTo>
                  <a:pt x="7194" y="3094"/>
                </a:lnTo>
                <a:lnTo>
                  <a:pt x="7194" y="3098"/>
                </a:lnTo>
                <a:lnTo>
                  <a:pt x="7192" y="3100"/>
                </a:lnTo>
                <a:lnTo>
                  <a:pt x="7188" y="3100"/>
                </a:lnTo>
                <a:lnTo>
                  <a:pt x="7184" y="3100"/>
                </a:lnTo>
                <a:lnTo>
                  <a:pt x="7182" y="3096"/>
                </a:lnTo>
                <a:lnTo>
                  <a:pt x="7178" y="3090"/>
                </a:lnTo>
                <a:lnTo>
                  <a:pt x="7176" y="3086"/>
                </a:lnTo>
                <a:lnTo>
                  <a:pt x="7174" y="3084"/>
                </a:lnTo>
                <a:lnTo>
                  <a:pt x="7170" y="3086"/>
                </a:lnTo>
                <a:lnTo>
                  <a:pt x="7170" y="3090"/>
                </a:lnTo>
                <a:lnTo>
                  <a:pt x="7170" y="3100"/>
                </a:lnTo>
                <a:lnTo>
                  <a:pt x="7170" y="3104"/>
                </a:lnTo>
                <a:lnTo>
                  <a:pt x="7174" y="3108"/>
                </a:lnTo>
                <a:lnTo>
                  <a:pt x="7180" y="3112"/>
                </a:lnTo>
                <a:lnTo>
                  <a:pt x="7182" y="3112"/>
                </a:lnTo>
                <a:lnTo>
                  <a:pt x="7186" y="3110"/>
                </a:lnTo>
                <a:lnTo>
                  <a:pt x="7188" y="3114"/>
                </a:lnTo>
                <a:lnTo>
                  <a:pt x="7192" y="3116"/>
                </a:lnTo>
                <a:lnTo>
                  <a:pt x="7196" y="3118"/>
                </a:lnTo>
                <a:lnTo>
                  <a:pt x="7202" y="3120"/>
                </a:lnTo>
                <a:lnTo>
                  <a:pt x="7204" y="3120"/>
                </a:lnTo>
                <a:lnTo>
                  <a:pt x="7206" y="3122"/>
                </a:lnTo>
                <a:lnTo>
                  <a:pt x="7206" y="3124"/>
                </a:lnTo>
                <a:lnTo>
                  <a:pt x="7204" y="3128"/>
                </a:lnTo>
                <a:lnTo>
                  <a:pt x="7200" y="3136"/>
                </a:lnTo>
                <a:lnTo>
                  <a:pt x="7202" y="3140"/>
                </a:lnTo>
                <a:lnTo>
                  <a:pt x="7204" y="3144"/>
                </a:lnTo>
                <a:lnTo>
                  <a:pt x="7204" y="3150"/>
                </a:lnTo>
                <a:lnTo>
                  <a:pt x="7204" y="3154"/>
                </a:lnTo>
                <a:lnTo>
                  <a:pt x="7208" y="3154"/>
                </a:lnTo>
                <a:lnTo>
                  <a:pt x="7212" y="3156"/>
                </a:lnTo>
                <a:lnTo>
                  <a:pt x="7214" y="3158"/>
                </a:lnTo>
                <a:lnTo>
                  <a:pt x="7214" y="3162"/>
                </a:lnTo>
                <a:lnTo>
                  <a:pt x="7216" y="3164"/>
                </a:lnTo>
                <a:lnTo>
                  <a:pt x="7214" y="3166"/>
                </a:lnTo>
                <a:lnTo>
                  <a:pt x="7208" y="3166"/>
                </a:lnTo>
                <a:lnTo>
                  <a:pt x="7204" y="3166"/>
                </a:lnTo>
                <a:lnTo>
                  <a:pt x="7202" y="3168"/>
                </a:lnTo>
                <a:lnTo>
                  <a:pt x="7204" y="3172"/>
                </a:lnTo>
                <a:lnTo>
                  <a:pt x="7208" y="3174"/>
                </a:lnTo>
                <a:lnTo>
                  <a:pt x="7212" y="3174"/>
                </a:lnTo>
                <a:lnTo>
                  <a:pt x="7226" y="3174"/>
                </a:lnTo>
                <a:lnTo>
                  <a:pt x="7238" y="3174"/>
                </a:lnTo>
                <a:lnTo>
                  <a:pt x="7240" y="3174"/>
                </a:lnTo>
                <a:lnTo>
                  <a:pt x="7238" y="3178"/>
                </a:lnTo>
                <a:lnTo>
                  <a:pt x="7234" y="3182"/>
                </a:lnTo>
                <a:lnTo>
                  <a:pt x="7230" y="3184"/>
                </a:lnTo>
                <a:lnTo>
                  <a:pt x="7220" y="3186"/>
                </a:lnTo>
                <a:lnTo>
                  <a:pt x="7210" y="3186"/>
                </a:lnTo>
                <a:lnTo>
                  <a:pt x="7210" y="3188"/>
                </a:lnTo>
                <a:lnTo>
                  <a:pt x="7210" y="3190"/>
                </a:lnTo>
                <a:lnTo>
                  <a:pt x="7212" y="3192"/>
                </a:lnTo>
                <a:lnTo>
                  <a:pt x="7216" y="3192"/>
                </a:lnTo>
                <a:lnTo>
                  <a:pt x="7224" y="3190"/>
                </a:lnTo>
                <a:lnTo>
                  <a:pt x="7232" y="3190"/>
                </a:lnTo>
                <a:lnTo>
                  <a:pt x="7236" y="3190"/>
                </a:lnTo>
                <a:lnTo>
                  <a:pt x="7236" y="3194"/>
                </a:lnTo>
                <a:lnTo>
                  <a:pt x="7236" y="3196"/>
                </a:lnTo>
                <a:lnTo>
                  <a:pt x="7238" y="3196"/>
                </a:lnTo>
                <a:lnTo>
                  <a:pt x="7244" y="3190"/>
                </a:lnTo>
                <a:lnTo>
                  <a:pt x="7248" y="3186"/>
                </a:lnTo>
                <a:lnTo>
                  <a:pt x="7252" y="3184"/>
                </a:lnTo>
                <a:lnTo>
                  <a:pt x="7256" y="3184"/>
                </a:lnTo>
                <a:lnTo>
                  <a:pt x="7260" y="3188"/>
                </a:lnTo>
                <a:lnTo>
                  <a:pt x="7264" y="3192"/>
                </a:lnTo>
                <a:lnTo>
                  <a:pt x="7268" y="3192"/>
                </a:lnTo>
                <a:lnTo>
                  <a:pt x="7272" y="3190"/>
                </a:lnTo>
                <a:lnTo>
                  <a:pt x="7274" y="3190"/>
                </a:lnTo>
                <a:lnTo>
                  <a:pt x="7276" y="3190"/>
                </a:lnTo>
                <a:lnTo>
                  <a:pt x="7278" y="3192"/>
                </a:lnTo>
                <a:lnTo>
                  <a:pt x="7280" y="3198"/>
                </a:lnTo>
                <a:lnTo>
                  <a:pt x="7282" y="3204"/>
                </a:lnTo>
                <a:lnTo>
                  <a:pt x="7286" y="3210"/>
                </a:lnTo>
                <a:lnTo>
                  <a:pt x="7296" y="3218"/>
                </a:lnTo>
                <a:lnTo>
                  <a:pt x="7300" y="3220"/>
                </a:lnTo>
                <a:lnTo>
                  <a:pt x="7304" y="3222"/>
                </a:lnTo>
                <a:lnTo>
                  <a:pt x="7310" y="3220"/>
                </a:lnTo>
                <a:lnTo>
                  <a:pt x="7312" y="3218"/>
                </a:lnTo>
                <a:lnTo>
                  <a:pt x="7318" y="3214"/>
                </a:lnTo>
                <a:lnTo>
                  <a:pt x="7322" y="3212"/>
                </a:lnTo>
                <a:lnTo>
                  <a:pt x="7326" y="3212"/>
                </a:lnTo>
                <a:lnTo>
                  <a:pt x="7328" y="3212"/>
                </a:lnTo>
                <a:lnTo>
                  <a:pt x="7330" y="3214"/>
                </a:lnTo>
                <a:lnTo>
                  <a:pt x="7332" y="3214"/>
                </a:lnTo>
                <a:lnTo>
                  <a:pt x="7336" y="3212"/>
                </a:lnTo>
                <a:lnTo>
                  <a:pt x="7338" y="3208"/>
                </a:lnTo>
                <a:lnTo>
                  <a:pt x="7338" y="3202"/>
                </a:lnTo>
                <a:lnTo>
                  <a:pt x="7338" y="3188"/>
                </a:lnTo>
                <a:lnTo>
                  <a:pt x="7340" y="3184"/>
                </a:lnTo>
                <a:lnTo>
                  <a:pt x="7346" y="3180"/>
                </a:lnTo>
                <a:lnTo>
                  <a:pt x="7356" y="3180"/>
                </a:lnTo>
                <a:lnTo>
                  <a:pt x="7370" y="3184"/>
                </a:lnTo>
                <a:lnTo>
                  <a:pt x="7384" y="3192"/>
                </a:lnTo>
                <a:lnTo>
                  <a:pt x="7396" y="3200"/>
                </a:lnTo>
                <a:lnTo>
                  <a:pt x="7404" y="3208"/>
                </a:lnTo>
                <a:lnTo>
                  <a:pt x="7412" y="3214"/>
                </a:lnTo>
                <a:lnTo>
                  <a:pt x="7418" y="3222"/>
                </a:lnTo>
                <a:lnTo>
                  <a:pt x="7422" y="3226"/>
                </a:lnTo>
                <a:lnTo>
                  <a:pt x="7428" y="3228"/>
                </a:lnTo>
                <a:lnTo>
                  <a:pt x="7436" y="3226"/>
                </a:lnTo>
                <a:lnTo>
                  <a:pt x="7450" y="3222"/>
                </a:lnTo>
                <a:lnTo>
                  <a:pt x="7462" y="3220"/>
                </a:lnTo>
                <a:lnTo>
                  <a:pt x="7466" y="3218"/>
                </a:lnTo>
                <a:lnTo>
                  <a:pt x="7472" y="3214"/>
                </a:lnTo>
                <a:lnTo>
                  <a:pt x="7480" y="3210"/>
                </a:lnTo>
                <a:lnTo>
                  <a:pt x="7488" y="3200"/>
                </a:lnTo>
                <a:lnTo>
                  <a:pt x="7498" y="3190"/>
                </a:lnTo>
                <a:lnTo>
                  <a:pt x="7506" y="3186"/>
                </a:lnTo>
                <a:lnTo>
                  <a:pt x="7514" y="3186"/>
                </a:lnTo>
                <a:lnTo>
                  <a:pt x="7518" y="3190"/>
                </a:lnTo>
                <a:lnTo>
                  <a:pt x="7524" y="3194"/>
                </a:lnTo>
                <a:lnTo>
                  <a:pt x="7528" y="3196"/>
                </a:lnTo>
                <a:lnTo>
                  <a:pt x="7534" y="3198"/>
                </a:lnTo>
                <a:lnTo>
                  <a:pt x="7540" y="3194"/>
                </a:lnTo>
                <a:lnTo>
                  <a:pt x="7552" y="3182"/>
                </a:lnTo>
                <a:lnTo>
                  <a:pt x="7560" y="3178"/>
                </a:lnTo>
                <a:lnTo>
                  <a:pt x="7562" y="3178"/>
                </a:lnTo>
                <a:lnTo>
                  <a:pt x="7564" y="3178"/>
                </a:lnTo>
                <a:lnTo>
                  <a:pt x="7566" y="3186"/>
                </a:lnTo>
                <a:lnTo>
                  <a:pt x="7566" y="3192"/>
                </a:lnTo>
                <a:lnTo>
                  <a:pt x="7564" y="3196"/>
                </a:lnTo>
                <a:lnTo>
                  <a:pt x="7556" y="3202"/>
                </a:lnTo>
                <a:lnTo>
                  <a:pt x="7550" y="3208"/>
                </a:lnTo>
                <a:lnTo>
                  <a:pt x="7550" y="3212"/>
                </a:lnTo>
                <a:lnTo>
                  <a:pt x="7550" y="3214"/>
                </a:lnTo>
                <a:lnTo>
                  <a:pt x="7556" y="3222"/>
                </a:lnTo>
                <a:lnTo>
                  <a:pt x="7558" y="3226"/>
                </a:lnTo>
                <a:lnTo>
                  <a:pt x="7556" y="3230"/>
                </a:lnTo>
                <a:lnTo>
                  <a:pt x="7552" y="3236"/>
                </a:lnTo>
                <a:lnTo>
                  <a:pt x="7548" y="3242"/>
                </a:lnTo>
                <a:lnTo>
                  <a:pt x="7546" y="3248"/>
                </a:lnTo>
                <a:lnTo>
                  <a:pt x="7550" y="3256"/>
                </a:lnTo>
                <a:lnTo>
                  <a:pt x="7554" y="3264"/>
                </a:lnTo>
                <a:lnTo>
                  <a:pt x="7554" y="3272"/>
                </a:lnTo>
                <a:lnTo>
                  <a:pt x="7554" y="3284"/>
                </a:lnTo>
                <a:lnTo>
                  <a:pt x="7556" y="3298"/>
                </a:lnTo>
                <a:lnTo>
                  <a:pt x="7556" y="3304"/>
                </a:lnTo>
                <a:lnTo>
                  <a:pt x="7556" y="3308"/>
                </a:lnTo>
                <a:lnTo>
                  <a:pt x="7550" y="3312"/>
                </a:lnTo>
                <a:lnTo>
                  <a:pt x="7544" y="3318"/>
                </a:lnTo>
                <a:lnTo>
                  <a:pt x="7542" y="3322"/>
                </a:lnTo>
                <a:lnTo>
                  <a:pt x="7542" y="3328"/>
                </a:lnTo>
                <a:lnTo>
                  <a:pt x="7544" y="3336"/>
                </a:lnTo>
                <a:lnTo>
                  <a:pt x="7542" y="3338"/>
                </a:lnTo>
                <a:lnTo>
                  <a:pt x="7538" y="3340"/>
                </a:lnTo>
                <a:lnTo>
                  <a:pt x="7536" y="3350"/>
                </a:lnTo>
                <a:lnTo>
                  <a:pt x="7532" y="3362"/>
                </a:lnTo>
                <a:lnTo>
                  <a:pt x="7530" y="3366"/>
                </a:lnTo>
                <a:lnTo>
                  <a:pt x="7526" y="3372"/>
                </a:lnTo>
                <a:lnTo>
                  <a:pt x="7522" y="3382"/>
                </a:lnTo>
                <a:lnTo>
                  <a:pt x="7508" y="3424"/>
                </a:lnTo>
                <a:lnTo>
                  <a:pt x="7502" y="3446"/>
                </a:lnTo>
                <a:lnTo>
                  <a:pt x="7498" y="3460"/>
                </a:lnTo>
                <a:lnTo>
                  <a:pt x="7492" y="3472"/>
                </a:lnTo>
                <a:lnTo>
                  <a:pt x="7486" y="3478"/>
                </a:lnTo>
                <a:lnTo>
                  <a:pt x="7452" y="3488"/>
                </a:lnTo>
                <a:lnTo>
                  <a:pt x="7448" y="3488"/>
                </a:lnTo>
                <a:lnTo>
                  <a:pt x="7444" y="3484"/>
                </a:lnTo>
                <a:lnTo>
                  <a:pt x="7440" y="3482"/>
                </a:lnTo>
                <a:lnTo>
                  <a:pt x="7438" y="3482"/>
                </a:lnTo>
                <a:lnTo>
                  <a:pt x="7432" y="3486"/>
                </a:lnTo>
                <a:lnTo>
                  <a:pt x="7428" y="3488"/>
                </a:lnTo>
                <a:lnTo>
                  <a:pt x="7424" y="3488"/>
                </a:lnTo>
                <a:lnTo>
                  <a:pt x="7418" y="3486"/>
                </a:lnTo>
                <a:lnTo>
                  <a:pt x="7414" y="3482"/>
                </a:lnTo>
                <a:lnTo>
                  <a:pt x="7410" y="3478"/>
                </a:lnTo>
                <a:lnTo>
                  <a:pt x="7408" y="3478"/>
                </a:lnTo>
                <a:lnTo>
                  <a:pt x="7408" y="3482"/>
                </a:lnTo>
                <a:lnTo>
                  <a:pt x="7408" y="3484"/>
                </a:lnTo>
                <a:lnTo>
                  <a:pt x="7406" y="3486"/>
                </a:lnTo>
                <a:lnTo>
                  <a:pt x="7402" y="3488"/>
                </a:lnTo>
                <a:lnTo>
                  <a:pt x="7400" y="3484"/>
                </a:lnTo>
                <a:lnTo>
                  <a:pt x="7398" y="3482"/>
                </a:lnTo>
                <a:lnTo>
                  <a:pt x="7394" y="3482"/>
                </a:lnTo>
                <a:lnTo>
                  <a:pt x="7390" y="3482"/>
                </a:lnTo>
                <a:lnTo>
                  <a:pt x="7388" y="3480"/>
                </a:lnTo>
                <a:lnTo>
                  <a:pt x="7388" y="3478"/>
                </a:lnTo>
                <a:lnTo>
                  <a:pt x="7390" y="3476"/>
                </a:lnTo>
                <a:lnTo>
                  <a:pt x="7392" y="3474"/>
                </a:lnTo>
                <a:lnTo>
                  <a:pt x="7392" y="3470"/>
                </a:lnTo>
                <a:lnTo>
                  <a:pt x="7394" y="3470"/>
                </a:lnTo>
                <a:lnTo>
                  <a:pt x="7398" y="3472"/>
                </a:lnTo>
                <a:lnTo>
                  <a:pt x="7402" y="3476"/>
                </a:lnTo>
                <a:lnTo>
                  <a:pt x="7404" y="3478"/>
                </a:lnTo>
                <a:lnTo>
                  <a:pt x="7404" y="3476"/>
                </a:lnTo>
                <a:lnTo>
                  <a:pt x="7402" y="3472"/>
                </a:lnTo>
                <a:lnTo>
                  <a:pt x="7396" y="3466"/>
                </a:lnTo>
                <a:lnTo>
                  <a:pt x="7392" y="3464"/>
                </a:lnTo>
                <a:lnTo>
                  <a:pt x="7390" y="3464"/>
                </a:lnTo>
                <a:lnTo>
                  <a:pt x="7384" y="3468"/>
                </a:lnTo>
                <a:lnTo>
                  <a:pt x="7382" y="3468"/>
                </a:lnTo>
                <a:lnTo>
                  <a:pt x="7378" y="3468"/>
                </a:lnTo>
                <a:lnTo>
                  <a:pt x="7370" y="3464"/>
                </a:lnTo>
                <a:lnTo>
                  <a:pt x="7362" y="3460"/>
                </a:lnTo>
                <a:lnTo>
                  <a:pt x="7358" y="3460"/>
                </a:lnTo>
                <a:lnTo>
                  <a:pt x="7352" y="3462"/>
                </a:lnTo>
                <a:lnTo>
                  <a:pt x="7342" y="3466"/>
                </a:lnTo>
                <a:lnTo>
                  <a:pt x="7336" y="3468"/>
                </a:lnTo>
                <a:lnTo>
                  <a:pt x="7332" y="3468"/>
                </a:lnTo>
                <a:lnTo>
                  <a:pt x="7326" y="3474"/>
                </a:lnTo>
                <a:lnTo>
                  <a:pt x="7324" y="3476"/>
                </a:lnTo>
                <a:lnTo>
                  <a:pt x="7320" y="3476"/>
                </a:lnTo>
                <a:lnTo>
                  <a:pt x="7312" y="3482"/>
                </a:lnTo>
                <a:lnTo>
                  <a:pt x="7298" y="3496"/>
                </a:lnTo>
                <a:lnTo>
                  <a:pt x="7290" y="3500"/>
                </a:lnTo>
                <a:lnTo>
                  <a:pt x="7284" y="3502"/>
                </a:lnTo>
                <a:lnTo>
                  <a:pt x="7278" y="3502"/>
                </a:lnTo>
                <a:lnTo>
                  <a:pt x="7270" y="3498"/>
                </a:lnTo>
                <a:lnTo>
                  <a:pt x="7258" y="3492"/>
                </a:lnTo>
                <a:lnTo>
                  <a:pt x="7254" y="3490"/>
                </a:lnTo>
                <a:lnTo>
                  <a:pt x="7248" y="3490"/>
                </a:lnTo>
                <a:lnTo>
                  <a:pt x="7240" y="3488"/>
                </a:lnTo>
                <a:lnTo>
                  <a:pt x="7236" y="3484"/>
                </a:lnTo>
                <a:lnTo>
                  <a:pt x="7230" y="3482"/>
                </a:lnTo>
                <a:lnTo>
                  <a:pt x="7226" y="3482"/>
                </a:lnTo>
                <a:lnTo>
                  <a:pt x="7222" y="3482"/>
                </a:lnTo>
                <a:lnTo>
                  <a:pt x="7218" y="3482"/>
                </a:lnTo>
                <a:lnTo>
                  <a:pt x="7216" y="3478"/>
                </a:lnTo>
                <a:lnTo>
                  <a:pt x="7214" y="3476"/>
                </a:lnTo>
                <a:lnTo>
                  <a:pt x="7208" y="3474"/>
                </a:lnTo>
                <a:lnTo>
                  <a:pt x="7198" y="3470"/>
                </a:lnTo>
                <a:lnTo>
                  <a:pt x="7182" y="3466"/>
                </a:lnTo>
                <a:lnTo>
                  <a:pt x="7166" y="3464"/>
                </a:lnTo>
                <a:lnTo>
                  <a:pt x="7154" y="3462"/>
                </a:lnTo>
                <a:lnTo>
                  <a:pt x="7138" y="3464"/>
                </a:lnTo>
                <a:lnTo>
                  <a:pt x="7128" y="3466"/>
                </a:lnTo>
                <a:lnTo>
                  <a:pt x="7124" y="3466"/>
                </a:lnTo>
                <a:lnTo>
                  <a:pt x="7122" y="3464"/>
                </a:lnTo>
                <a:lnTo>
                  <a:pt x="7120" y="3456"/>
                </a:lnTo>
                <a:lnTo>
                  <a:pt x="7118" y="3448"/>
                </a:lnTo>
                <a:lnTo>
                  <a:pt x="7116" y="3444"/>
                </a:lnTo>
                <a:lnTo>
                  <a:pt x="7112" y="3442"/>
                </a:lnTo>
                <a:lnTo>
                  <a:pt x="7106" y="3440"/>
                </a:lnTo>
                <a:lnTo>
                  <a:pt x="7096" y="3440"/>
                </a:lnTo>
                <a:lnTo>
                  <a:pt x="7082" y="3440"/>
                </a:lnTo>
                <a:lnTo>
                  <a:pt x="7076" y="3438"/>
                </a:lnTo>
                <a:lnTo>
                  <a:pt x="7072" y="3436"/>
                </a:lnTo>
                <a:lnTo>
                  <a:pt x="7060" y="3434"/>
                </a:lnTo>
                <a:lnTo>
                  <a:pt x="7052" y="3432"/>
                </a:lnTo>
                <a:lnTo>
                  <a:pt x="7048" y="3430"/>
                </a:lnTo>
                <a:lnTo>
                  <a:pt x="7044" y="3422"/>
                </a:lnTo>
                <a:lnTo>
                  <a:pt x="7042" y="3416"/>
                </a:lnTo>
                <a:lnTo>
                  <a:pt x="7036" y="3410"/>
                </a:lnTo>
                <a:lnTo>
                  <a:pt x="7028" y="3404"/>
                </a:lnTo>
                <a:lnTo>
                  <a:pt x="7016" y="3398"/>
                </a:lnTo>
                <a:lnTo>
                  <a:pt x="7000" y="3392"/>
                </a:lnTo>
                <a:lnTo>
                  <a:pt x="6988" y="3390"/>
                </a:lnTo>
                <a:lnTo>
                  <a:pt x="6980" y="3392"/>
                </a:lnTo>
                <a:lnTo>
                  <a:pt x="6972" y="3398"/>
                </a:lnTo>
                <a:lnTo>
                  <a:pt x="6968" y="3400"/>
                </a:lnTo>
                <a:lnTo>
                  <a:pt x="6964" y="3400"/>
                </a:lnTo>
                <a:lnTo>
                  <a:pt x="6956" y="3402"/>
                </a:lnTo>
                <a:lnTo>
                  <a:pt x="6948" y="3404"/>
                </a:lnTo>
                <a:lnTo>
                  <a:pt x="6942" y="3408"/>
                </a:lnTo>
                <a:lnTo>
                  <a:pt x="6932" y="3416"/>
                </a:lnTo>
                <a:lnTo>
                  <a:pt x="6920" y="3428"/>
                </a:lnTo>
                <a:lnTo>
                  <a:pt x="6914" y="3438"/>
                </a:lnTo>
                <a:lnTo>
                  <a:pt x="6912" y="3448"/>
                </a:lnTo>
                <a:lnTo>
                  <a:pt x="6914" y="3458"/>
                </a:lnTo>
                <a:lnTo>
                  <a:pt x="6914" y="3468"/>
                </a:lnTo>
                <a:lnTo>
                  <a:pt x="6916" y="3478"/>
                </a:lnTo>
                <a:lnTo>
                  <a:pt x="6918" y="3488"/>
                </a:lnTo>
                <a:lnTo>
                  <a:pt x="6916" y="3498"/>
                </a:lnTo>
                <a:lnTo>
                  <a:pt x="6910" y="3508"/>
                </a:lnTo>
                <a:lnTo>
                  <a:pt x="6904" y="3518"/>
                </a:lnTo>
                <a:lnTo>
                  <a:pt x="6896" y="3524"/>
                </a:lnTo>
                <a:lnTo>
                  <a:pt x="6888" y="3528"/>
                </a:lnTo>
                <a:lnTo>
                  <a:pt x="6882" y="3530"/>
                </a:lnTo>
                <a:lnTo>
                  <a:pt x="6874" y="3530"/>
                </a:lnTo>
                <a:lnTo>
                  <a:pt x="6868" y="3528"/>
                </a:lnTo>
                <a:lnTo>
                  <a:pt x="6862" y="3524"/>
                </a:lnTo>
                <a:lnTo>
                  <a:pt x="6856" y="3518"/>
                </a:lnTo>
                <a:lnTo>
                  <a:pt x="6850" y="3510"/>
                </a:lnTo>
                <a:lnTo>
                  <a:pt x="6842" y="3504"/>
                </a:lnTo>
                <a:lnTo>
                  <a:pt x="6824" y="3494"/>
                </a:lnTo>
                <a:lnTo>
                  <a:pt x="6802" y="3486"/>
                </a:lnTo>
                <a:lnTo>
                  <a:pt x="6780" y="3482"/>
                </a:lnTo>
                <a:lnTo>
                  <a:pt x="6762" y="3480"/>
                </a:lnTo>
                <a:lnTo>
                  <a:pt x="6754" y="3478"/>
                </a:lnTo>
                <a:lnTo>
                  <a:pt x="6748" y="3476"/>
                </a:lnTo>
                <a:lnTo>
                  <a:pt x="6742" y="3472"/>
                </a:lnTo>
                <a:lnTo>
                  <a:pt x="6738" y="3464"/>
                </a:lnTo>
                <a:lnTo>
                  <a:pt x="6734" y="3454"/>
                </a:lnTo>
                <a:lnTo>
                  <a:pt x="6732" y="3442"/>
                </a:lnTo>
                <a:lnTo>
                  <a:pt x="6728" y="3430"/>
                </a:lnTo>
                <a:lnTo>
                  <a:pt x="6724" y="3422"/>
                </a:lnTo>
                <a:lnTo>
                  <a:pt x="6718" y="3418"/>
                </a:lnTo>
                <a:lnTo>
                  <a:pt x="6712" y="3416"/>
                </a:lnTo>
                <a:lnTo>
                  <a:pt x="6698" y="3414"/>
                </a:lnTo>
                <a:lnTo>
                  <a:pt x="6692" y="3412"/>
                </a:lnTo>
                <a:lnTo>
                  <a:pt x="6688" y="3410"/>
                </a:lnTo>
                <a:lnTo>
                  <a:pt x="6676" y="3402"/>
                </a:lnTo>
                <a:lnTo>
                  <a:pt x="6660" y="3396"/>
                </a:lnTo>
                <a:lnTo>
                  <a:pt x="6644" y="3394"/>
                </a:lnTo>
                <a:lnTo>
                  <a:pt x="6636" y="3394"/>
                </a:lnTo>
                <a:lnTo>
                  <a:pt x="6628" y="3396"/>
                </a:lnTo>
                <a:lnTo>
                  <a:pt x="6622" y="3396"/>
                </a:lnTo>
                <a:lnTo>
                  <a:pt x="6614" y="3396"/>
                </a:lnTo>
                <a:lnTo>
                  <a:pt x="6600" y="3392"/>
                </a:lnTo>
                <a:lnTo>
                  <a:pt x="6586" y="3386"/>
                </a:lnTo>
                <a:lnTo>
                  <a:pt x="6576" y="3380"/>
                </a:lnTo>
                <a:lnTo>
                  <a:pt x="6564" y="3374"/>
                </a:lnTo>
                <a:lnTo>
                  <a:pt x="6560" y="3370"/>
                </a:lnTo>
                <a:lnTo>
                  <a:pt x="6558" y="3362"/>
                </a:lnTo>
                <a:lnTo>
                  <a:pt x="6556" y="3354"/>
                </a:lnTo>
                <a:lnTo>
                  <a:pt x="6554" y="3352"/>
                </a:lnTo>
                <a:lnTo>
                  <a:pt x="6552" y="3354"/>
                </a:lnTo>
                <a:lnTo>
                  <a:pt x="6548" y="3354"/>
                </a:lnTo>
                <a:lnTo>
                  <a:pt x="6546" y="3354"/>
                </a:lnTo>
                <a:lnTo>
                  <a:pt x="6544" y="3354"/>
                </a:lnTo>
                <a:lnTo>
                  <a:pt x="6536" y="3352"/>
                </a:lnTo>
                <a:lnTo>
                  <a:pt x="6528" y="3350"/>
                </a:lnTo>
                <a:lnTo>
                  <a:pt x="6522" y="3348"/>
                </a:lnTo>
                <a:lnTo>
                  <a:pt x="6518" y="3344"/>
                </a:lnTo>
                <a:lnTo>
                  <a:pt x="6516" y="3340"/>
                </a:lnTo>
                <a:lnTo>
                  <a:pt x="6512" y="3332"/>
                </a:lnTo>
                <a:lnTo>
                  <a:pt x="6514" y="3326"/>
                </a:lnTo>
                <a:lnTo>
                  <a:pt x="6520" y="3318"/>
                </a:lnTo>
                <a:lnTo>
                  <a:pt x="6538" y="3298"/>
                </a:lnTo>
                <a:lnTo>
                  <a:pt x="6548" y="3288"/>
                </a:lnTo>
                <a:lnTo>
                  <a:pt x="6554" y="3280"/>
                </a:lnTo>
                <a:lnTo>
                  <a:pt x="6558" y="3272"/>
                </a:lnTo>
                <a:lnTo>
                  <a:pt x="6558" y="3268"/>
                </a:lnTo>
                <a:lnTo>
                  <a:pt x="6556" y="3266"/>
                </a:lnTo>
                <a:lnTo>
                  <a:pt x="6554" y="3262"/>
                </a:lnTo>
                <a:lnTo>
                  <a:pt x="6554" y="3258"/>
                </a:lnTo>
                <a:lnTo>
                  <a:pt x="6554" y="3252"/>
                </a:lnTo>
                <a:lnTo>
                  <a:pt x="6552" y="3248"/>
                </a:lnTo>
                <a:lnTo>
                  <a:pt x="6550" y="3244"/>
                </a:lnTo>
                <a:lnTo>
                  <a:pt x="6548" y="3242"/>
                </a:lnTo>
                <a:lnTo>
                  <a:pt x="6540" y="3236"/>
                </a:lnTo>
                <a:lnTo>
                  <a:pt x="6536" y="3234"/>
                </a:lnTo>
                <a:lnTo>
                  <a:pt x="6532" y="3230"/>
                </a:lnTo>
                <a:lnTo>
                  <a:pt x="6528" y="3220"/>
                </a:lnTo>
                <a:lnTo>
                  <a:pt x="6528" y="3216"/>
                </a:lnTo>
                <a:lnTo>
                  <a:pt x="6528" y="3210"/>
                </a:lnTo>
                <a:lnTo>
                  <a:pt x="6532" y="3208"/>
                </a:lnTo>
                <a:lnTo>
                  <a:pt x="6534" y="3204"/>
                </a:lnTo>
                <a:lnTo>
                  <a:pt x="6544" y="3198"/>
                </a:lnTo>
                <a:lnTo>
                  <a:pt x="6552" y="3190"/>
                </a:lnTo>
                <a:lnTo>
                  <a:pt x="6556" y="3180"/>
                </a:lnTo>
                <a:lnTo>
                  <a:pt x="6556" y="3176"/>
                </a:lnTo>
                <a:lnTo>
                  <a:pt x="6556" y="3172"/>
                </a:lnTo>
                <a:lnTo>
                  <a:pt x="6552" y="3170"/>
                </a:lnTo>
                <a:lnTo>
                  <a:pt x="6550" y="3170"/>
                </a:lnTo>
                <a:lnTo>
                  <a:pt x="6542" y="3176"/>
                </a:lnTo>
                <a:lnTo>
                  <a:pt x="6532" y="3184"/>
                </a:lnTo>
                <a:lnTo>
                  <a:pt x="6530" y="3186"/>
                </a:lnTo>
                <a:lnTo>
                  <a:pt x="6526" y="3188"/>
                </a:lnTo>
                <a:lnTo>
                  <a:pt x="6524" y="3186"/>
                </a:lnTo>
                <a:lnTo>
                  <a:pt x="6524" y="3182"/>
                </a:lnTo>
                <a:lnTo>
                  <a:pt x="6522" y="3174"/>
                </a:lnTo>
                <a:lnTo>
                  <a:pt x="6520" y="3164"/>
                </a:lnTo>
                <a:lnTo>
                  <a:pt x="6516" y="3162"/>
                </a:lnTo>
                <a:lnTo>
                  <a:pt x="6512" y="3158"/>
                </a:lnTo>
                <a:lnTo>
                  <a:pt x="6502" y="3156"/>
                </a:lnTo>
                <a:lnTo>
                  <a:pt x="6492" y="3156"/>
                </a:lnTo>
                <a:lnTo>
                  <a:pt x="6484" y="3158"/>
                </a:lnTo>
                <a:lnTo>
                  <a:pt x="6478" y="3162"/>
                </a:lnTo>
                <a:lnTo>
                  <a:pt x="6468" y="3170"/>
                </a:lnTo>
                <a:lnTo>
                  <a:pt x="6462" y="3176"/>
                </a:lnTo>
                <a:lnTo>
                  <a:pt x="6456" y="3178"/>
                </a:lnTo>
                <a:lnTo>
                  <a:pt x="6444" y="3178"/>
                </a:lnTo>
                <a:lnTo>
                  <a:pt x="6438" y="3178"/>
                </a:lnTo>
                <a:lnTo>
                  <a:pt x="6432" y="3180"/>
                </a:lnTo>
                <a:lnTo>
                  <a:pt x="6426" y="3182"/>
                </a:lnTo>
                <a:lnTo>
                  <a:pt x="6422" y="3180"/>
                </a:lnTo>
                <a:lnTo>
                  <a:pt x="6420" y="3174"/>
                </a:lnTo>
                <a:lnTo>
                  <a:pt x="6410" y="3168"/>
                </a:lnTo>
                <a:lnTo>
                  <a:pt x="6406" y="3168"/>
                </a:lnTo>
                <a:lnTo>
                  <a:pt x="6404" y="3168"/>
                </a:lnTo>
                <a:lnTo>
                  <a:pt x="6398" y="3174"/>
                </a:lnTo>
                <a:lnTo>
                  <a:pt x="6396" y="3176"/>
                </a:lnTo>
                <a:lnTo>
                  <a:pt x="6392" y="3178"/>
                </a:lnTo>
                <a:lnTo>
                  <a:pt x="6388" y="3178"/>
                </a:lnTo>
                <a:lnTo>
                  <a:pt x="6382" y="3176"/>
                </a:lnTo>
                <a:lnTo>
                  <a:pt x="6370" y="3172"/>
                </a:lnTo>
                <a:lnTo>
                  <a:pt x="6366" y="3172"/>
                </a:lnTo>
                <a:lnTo>
                  <a:pt x="6364" y="3172"/>
                </a:lnTo>
                <a:lnTo>
                  <a:pt x="6358" y="3176"/>
                </a:lnTo>
                <a:lnTo>
                  <a:pt x="6346" y="3182"/>
                </a:lnTo>
                <a:lnTo>
                  <a:pt x="6340" y="3184"/>
                </a:lnTo>
                <a:lnTo>
                  <a:pt x="6334" y="3186"/>
                </a:lnTo>
                <a:lnTo>
                  <a:pt x="6328" y="3192"/>
                </a:lnTo>
                <a:lnTo>
                  <a:pt x="6326" y="3192"/>
                </a:lnTo>
                <a:lnTo>
                  <a:pt x="6322" y="3192"/>
                </a:lnTo>
                <a:lnTo>
                  <a:pt x="6318" y="3192"/>
                </a:lnTo>
                <a:lnTo>
                  <a:pt x="6314" y="3188"/>
                </a:lnTo>
                <a:lnTo>
                  <a:pt x="6310" y="3184"/>
                </a:lnTo>
                <a:lnTo>
                  <a:pt x="6304" y="3182"/>
                </a:lnTo>
                <a:lnTo>
                  <a:pt x="6290" y="3178"/>
                </a:lnTo>
                <a:lnTo>
                  <a:pt x="6274" y="3178"/>
                </a:lnTo>
                <a:lnTo>
                  <a:pt x="6258" y="3182"/>
                </a:lnTo>
                <a:lnTo>
                  <a:pt x="6252" y="3184"/>
                </a:lnTo>
                <a:lnTo>
                  <a:pt x="6246" y="3184"/>
                </a:lnTo>
                <a:lnTo>
                  <a:pt x="6236" y="3184"/>
                </a:lnTo>
                <a:lnTo>
                  <a:pt x="6228" y="3184"/>
                </a:lnTo>
                <a:lnTo>
                  <a:pt x="6224" y="3184"/>
                </a:lnTo>
                <a:lnTo>
                  <a:pt x="6222" y="3188"/>
                </a:lnTo>
                <a:lnTo>
                  <a:pt x="6216" y="3194"/>
                </a:lnTo>
                <a:lnTo>
                  <a:pt x="6208" y="3196"/>
                </a:lnTo>
                <a:lnTo>
                  <a:pt x="6180" y="3196"/>
                </a:lnTo>
                <a:lnTo>
                  <a:pt x="6158" y="3200"/>
                </a:lnTo>
                <a:lnTo>
                  <a:pt x="6138" y="3208"/>
                </a:lnTo>
                <a:lnTo>
                  <a:pt x="6128" y="3212"/>
                </a:lnTo>
                <a:lnTo>
                  <a:pt x="6120" y="3218"/>
                </a:lnTo>
                <a:lnTo>
                  <a:pt x="6114" y="3226"/>
                </a:lnTo>
                <a:lnTo>
                  <a:pt x="6110" y="3232"/>
                </a:lnTo>
                <a:lnTo>
                  <a:pt x="6108" y="3238"/>
                </a:lnTo>
                <a:lnTo>
                  <a:pt x="6106" y="3240"/>
                </a:lnTo>
                <a:lnTo>
                  <a:pt x="6102" y="3240"/>
                </a:lnTo>
                <a:lnTo>
                  <a:pt x="6100" y="3240"/>
                </a:lnTo>
                <a:lnTo>
                  <a:pt x="6094" y="3236"/>
                </a:lnTo>
                <a:lnTo>
                  <a:pt x="6090" y="3236"/>
                </a:lnTo>
                <a:lnTo>
                  <a:pt x="6086" y="3240"/>
                </a:lnTo>
                <a:lnTo>
                  <a:pt x="6084" y="3242"/>
                </a:lnTo>
                <a:lnTo>
                  <a:pt x="6080" y="3244"/>
                </a:lnTo>
                <a:lnTo>
                  <a:pt x="6076" y="3242"/>
                </a:lnTo>
                <a:lnTo>
                  <a:pt x="6072" y="3242"/>
                </a:lnTo>
                <a:lnTo>
                  <a:pt x="6070" y="3242"/>
                </a:lnTo>
                <a:lnTo>
                  <a:pt x="6066" y="3246"/>
                </a:lnTo>
                <a:lnTo>
                  <a:pt x="6062" y="3250"/>
                </a:lnTo>
                <a:lnTo>
                  <a:pt x="6054" y="3260"/>
                </a:lnTo>
                <a:lnTo>
                  <a:pt x="6044" y="3270"/>
                </a:lnTo>
                <a:lnTo>
                  <a:pt x="6038" y="3274"/>
                </a:lnTo>
                <a:lnTo>
                  <a:pt x="6032" y="3276"/>
                </a:lnTo>
                <a:lnTo>
                  <a:pt x="6026" y="3276"/>
                </a:lnTo>
                <a:lnTo>
                  <a:pt x="6020" y="3276"/>
                </a:lnTo>
                <a:lnTo>
                  <a:pt x="6006" y="3274"/>
                </a:lnTo>
                <a:lnTo>
                  <a:pt x="6000" y="3274"/>
                </a:lnTo>
                <a:lnTo>
                  <a:pt x="5996" y="3272"/>
                </a:lnTo>
                <a:lnTo>
                  <a:pt x="5992" y="3268"/>
                </a:lnTo>
                <a:lnTo>
                  <a:pt x="5990" y="3262"/>
                </a:lnTo>
                <a:lnTo>
                  <a:pt x="5990" y="3258"/>
                </a:lnTo>
                <a:lnTo>
                  <a:pt x="5988" y="3258"/>
                </a:lnTo>
                <a:lnTo>
                  <a:pt x="5986" y="3262"/>
                </a:lnTo>
                <a:lnTo>
                  <a:pt x="5982" y="3266"/>
                </a:lnTo>
                <a:lnTo>
                  <a:pt x="5978" y="3268"/>
                </a:lnTo>
                <a:lnTo>
                  <a:pt x="5974" y="3268"/>
                </a:lnTo>
                <a:lnTo>
                  <a:pt x="5968" y="3266"/>
                </a:lnTo>
                <a:lnTo>
                  <a:pt x="5962" y="3266"/>
                </a:lnTo>
                <a:lnTo>
                  <a:pt x="5958" y="3266"/>
                </a:lnTo>
                <a:lnTo>
                  <a:pt x="5948" y="3270"/>
                </a:lnTo>
                <a:lnTo>
                  <a:pt x="5942" y="3272"/>
                </a:lnTo>
                <a:lnTo>
                  <a:pt x="5934" y="3272"/>
                </a:lnTo>
                <a:lnTo>
                  <a:pt x="5926" y="3272"/>
                </a:lnTo>
                <a:lnTo>
                  <a:pt x="5914" y="3266"/>
                </a:lnTo>
                <a:lnTo>
                  <a:pt x="5904" y="3260"/>
                </a:lnTo>
                <a:lnTo>
                  <a:pt x="5898" y="3254"/>
                </a:lnTo>
                <a:lnTo>
                  <a:pt x="5896" y="3248"/>
                </a:lnTo>
                <a:lnTo>
                  <a:pt x="5896" y="3242"/>
                </a:lnTo>
                <a:lnTo>
                  <a:pt x="5896" y="3236"/>
                </a:lnTo>
                <a:lnTo>
                  <a:pt x="5894" y="3234"/>
                </a:lnTo>
                <a:lnTo>
                  <a:pt x="5890" y="3232"/>
                </a:lnTo>
                <a:lnTo>
                  <a:pt x="5884" y="3234"/>
                </a:lnTo>
                <a:lnTo>
                  <a:pt x="5880" y="3238"/>
                </a:lnTo>
                <a:lnTo>
                  <a:pt x="5874" y="3242"/>
                </a:lnTo>
                <a:lnTo>
                  <a:pt x="5868" y="3254"/>
                </a:lnTo>
                <a:lnTo>
                  <a:pt x="5856" y="3290"/>
                </a:lnTo>
                <a:lnTo>
                  <a:pt x="5848" y="3310"/>
                </a:lnTo>
                <a:lnTo>
                  <a:pt x="5838" y="3328"/>
                </a:lnTo>
                <a:lnTo>
                  <a:pt x="5830" y="3336"/>
                </a:lnTo>
                <a:lnTo>
                  <a:pt x="5822" y="3344"/>
                </a:lnTo>
                <a:lnTo>
                  <a:pt x="5814" y="3350"/>
                </a:lnTo>
                <a:lnTo>
                  <a:pt x="5804" y="3354"/>
                </a:lnTo>
                <a:lnTo>
                  <a:pt x="5786" y="3362"/>
                </a:lnTo>
                <a:lnTo>
                  <a:pt x="5772" y="3368"/>
                </a:lnTo>
                <a:lnTo>
                  <a:pt x="5766" y="3374"/>
                </a:lnTo>
                <a:lnTo>
                  <a:pt x="5762" y="3378"/>
                </a:lnTo>
                <a:lnTo>
                  <a:pt x="5756" y="3386"/>
                </a:lnTo>
                <a:lnTo>
                  <a:pt x="5752" y="3392"/>
                </a:lnTo>
                <a:lnTo>
                  <a:pt x="5746" y="3400"/>
                </a:lnTo>
                <a:lnTo>
                  <a:pt x="5738" y="3406"/>
                </a:lnTo>
                <a:lnTo>
                  <a:pt x="5736" y="3412"/>
                </a:lnTo>
                <a:lnTo>
                  <a:pt x="5734" y="3416"/>
                </a:lnTo>
                <a:lnTo>
                  <a:pt x="5736" y="3420"/>
                </a:lnTo>
                <a:lnTo>
                  <a:pt x="5736" y="3424"/>
                </a:lnTo>
                <a:lnTo>
                  <a:pt x="5734" y="3430"/>
                </a:lnTo>
                <a:lnTo>
                  <a:pt x="5732" y="3438"/>
                </a:lnTo>
                <a:lnTo>
                  <a:pt x="5724" y="3448"/>
                </a:lnTo>
                <a:lnTo>
                  <a:pt x="5716" y="3462"/>
                </a:lnTo>
                <a:lnTo>
                  <a:pt x="5714" y="3476"/>
                </a:lnTo>
                <a:lnTo>
                  <a:pt x="5712" y="3490"/>
                </a:lnTo>
                <a:lnTo>
                  <a:pt x="5714" y="3504"/>
                </a:lnTo>
                <a:lnTo>
                  <a:pt x="5718" y="3530"/>
                </a:lnTo>
                <a:lnTo>
                  <a:pt x="5718" y="3542"/>
                </a:lnTo>
                <a:lnTo>
                  <a:pt x="5714" y="3554"/>
                </a:lnTo>
                <a:lnTo>
                  <a:pt x="5702" y="3576"/>
                </a:lnTo>
                <a:lnTo>
                  <a:pt x="5694" y="3590"/>
                </a:lnTo>
                <a:lnTo>
                  <a:pt x="5686" y="3598"/>
                </a:lnTo>
                <a:lnTo>
                  <a:pt x="5680" y="3602"/>
                </a:lnTo>
                <a:lnTo>
                  <a:pt x="5668" y="3606"/>
                </a:lnTo>
                <a:lnTo>
                  <a:pt x="5662" y="3612"/>
                </a:lnTo>
                <a:lnTo>
                  <a:pt x="5654" y="3622"/>
                </a:lnTo>
                <a:lnTo>
                  <a:pt x="5644" y="3632"/>
                </a:lnTo>
                <a:lnTo>
                  <a:pt x="5634" y="3640"/>
                </a:lnTo>
                <a:lnTo>
                  <a:pt x="5622" y="3642"/>
                </a:lnTo>
                <a:lnTo>
                  <a:pt x="5610" y="3646"/>
                </a:lnTo>
                <a:lnTo>
                  <a:pt x="5600" y="3648"/>
                </a:lnTo>
                <a:lnTo>
                  <a:pt x="5592" y="3650"/>
                </a:lnTo>
                <a:lnTo>
                  <a:pt x="5584" y="3656"/>
                </a:lnTo>
                <a:lnTo>
                  <a:pt x="5580" y="3666"/>
                </a:lnTo>
                <a:lnTo>
                  <a:pt x="5570" y="3694"/>
                </a:lnTo>
                <a:lnTo>
                  <a:pt x="5560" y="3712"/>
                </a:lnTo>
                <a:lnTo>
                  <a:pt x="5552" y="3722"/>
                </a:lnTo>
                <a:lnTo>
                  <a:pt x="5544" y="3726"/>
                </a:lnTo>
                <a:lnTo>
                  <a:pt x="5538" y="3730"/>
                </a:lnTo>
                <a:lnTo>
                  <a:pt x="5534" y="3732"/>
                </a:lnTo>
                <a:lnTo>
                  <a:pt x="5528" y="3738"/>
                </a:lnTo>
                <a:lnTo>
                  <a:pt x="5524" y="3752"/>
                </a:lnTo>
                <a:lnTo>
                  <a:pt x="5520" y="3766"/>
                </a:lnTo>
                <a:lnTo>
                  <a:pt x="5518" y="3770"/>
                </a:lnTo>
                <a:lnTo>
                  <a:pt x="5516" y="3776"/>
                </a:lnTo>
                <a:lnTo>
                  <a:pt x="5512" y="3794"/>
                </a:lnTo>
                <a:lnTo>
                  <a:pt x="5508" y="3816"/>
                </a:lnTo>
                <a:lnTo>
                  <a:pt x="5506" y="3822"/>
                </a:lnTo>
                <a:lnTo>
                  <a:pt x="5502" y="3826"/>
                </a:lnTo>
                <a:lnTo>
                  <a:pt x="5494" y="3834"/>
                </a:lnTo>
                <a:lnTo>
                  <a:pt x="5482" y="3848"/>
                </a:lnTo>
                <a:lnTo>
                  <a:pt x="5468" y="3862"/>
                </a:lnTo>
                <a:lnTo>
                  <a:pt x="5462" y="3868"/>
                </a:lnTo>
                <a:lnTo>
                  <a:pt x="5462" y="3870"/>
                </a:lnTo>
                <a:lnTo>
                  <a:pt x="5464" y="3870"/>
                </a:lnTo>
                <a:lnTo>
                  <a:pt x="5470" y="3870"/>
                </a:lnTo>
                <a:lnTo>
                  <a:pt x="5470" y="3872"/>
                </a:lnTo>
                <a:lnTo>
                  <a:pt x="5466" y="3880"/>
                </a:lnTo>
                <a:lnTo>
                  <a:pt x="5458" y="3896"/>
                </a:lnTo>
                <a:lnTo>
                  <a:pt x="5456" y="3906"/>
                </a:lnTo>
                <a:lnTo>
                  <a:pt x="5454" y="3918"/>
                </a:lnTo>
                <a:lnTo>
                  <a:pt x="5452" y="3928"/>
                </a:lnTo>
                <a:lnTo>
                  <a:pt x="5450" y="3934"/>
                </a:lnTo>
                <a:lnTo>
                  <a:pt x="5446" y="3938"/>
                </a:lnTo>
                <a:lnTo>
                  <a:pt x="5442" y="3940"/>
                </a:lnTo>
                <a:lnTo>
                  <a:pt x="5436" y="3944"/>
                </a:lnTo>
                <a:lnTo>
                  <a:pt x="5432" y="3948"/>
                </a:lnTo>
                <a:lnTo>
                  <a:pt x="5428" y="3956"/>
                </a:lnTo>
                <a:lnTo>
                  <a:pt x="5424" y="3966"/>
                </a:lnTo>
                <a:lnTo>
                  <a:pt x="5420" y="3990"/>
                </a:lnTo>
                <a:lnTo>
                  <a:pt x="5420" y="4006"/>
                </a:lnTo>
                <a:lnTo>
                  <a:pt x="5420" y="4014"/>
                </a:lnTo>
                <a:lnTo>
                  <a:pt x="5422" y="4016"/>
                </a:lnTo>
                <a:lnTo>
                  <a:pt x="5424" y="4016"/>
                </a:lnTo>
                <a:lnTo>
                  <a:pt x="5424" y="4014"/>
                </a:lnTo>
                <a:lnTo>
                  <a:pt x="5426" y="4012"/>
                </a:lnTo>
                <a:lnTo>
                  <a:pt x="5426" y="4006"/>
                </a:lnTo>
                <a:lnTo>
                  <a:pt x="5428" y="4002"/>
                </a:lnTo>
                <a:lnTo>
                  <a:pt x="5430" y="4000"/>
                </a:lnTo>
                <a:lnTo>
                  <a:pt x="5432" y="4000"/>
                </a:lnTo>
                <a:lnTo>
                  <a:pt x="5434" y="4002"/>
                </a:lnTo>
                <a:lnTo>
                  <a:pt x="5434" y="4006"/>
                </a:lnTo>
                <a:lnTo>
                  <a:pt x="5436" y="4014"/>
                </a:lnTo>
                <a:lnTo>
                  <a:pt x="5438" y="4022"/>
                </a:lnTo>
                <a:lnTo>
                  <a:pt x="5440" y="4024"/>
                </a:lnTo>
                <a:lnTo>
                  <a:pt x="5442" y="4024"/>
                </a:lnTo>
                <a:lnTo>
                  <a:pt x="5446" y="4022"/>
                </a:lnTo>
                <a:lnTo>
                  <a:pt x="5448" y="4024"/>
                </a:lnTo>
                <a:lnTo>
                  <a:pt x="5452" y="4032"/>
                </a:lnTo>
                <a:lnTo>
                  <a:pt x="5454" y="4044"/>
                </a:lnTo>
                <a:lnTo>
                  <a:pt x="5454" y="4058"/>
                </a:lnTo>
                <a:lnTo>
                  <a:pt x="5454" y="4066"/>
                </a:lnTo>
                <a:lnTo>
                  <a:pt x="5452" y="4072"/>
                </a:lnTo>
                <a:lnTo>
                  <a:pt x="5446" y="4080"/>
                </a:lnTo>
                <a:lnTo>
                  <a:pt x="5442" y="4086"/>
                </a:lnTo>
                <a:lnTo>
                  <a:pt x="5444" y="4088"/>
                </a:lnTo>
                <a:lnTo>
                  <a:pt x="5446" y="4090"/>
                </a:lnTo>
                <a:lnTo>
                  <a:pt x="5450" y="4096"/>
                </a:lnTo>
                <a:lnTo>
                  <a:pt x="5456" y="4104"/>
                </a:lnTo>
                <a:lnTo>
                  <a:pt x="5458" y="4114"/>
                </a:lnTo>
                <a:lnTo>
                  <a:pt x="5462" y="4128"/>
                </a:lnTo>
                <a:lnTo>
                  <a:pt x="5464" y="4142"/>
                </a:lnTo>
                <a:lnTo>
                  <a:pt x="5464" y="4156"/>
                </a:lnTo>
                <a:lnTo>
                  <a:pt x="5462" y="4172"/>
                </a:lnTo>
                <a:lnTo>
                  <a:pt x="5460" y="4186"/>
                </a:lnTo>
                <a:lnTo>
                  <a:pt x="5448" y="4222"/>
                </a:lnTo>
                <a:lnTo>
                  <a:pt x="5446" y="4232"/>
                </a:lnTo>
                <a:lnTo>
                  <a:pt x="5444" y="4242"/>
                </a:lnTo>
                <a:lnTo>
                  <a:pt x="5444" y="4258"/>
                </a:lnTo>
                <a:lnTo>
                  <a:pt x="5438" y="4278"/>
                </a:lnTo>
                <a:lnTo>
                  <a:pt x="5434" y="4288"/>
                </a:lnTo>
                <a:lnTo>
                  <a:pt x="5428" y="4298"/>
                </a:lnTo>
                <a:lnTo>
                  <a:pt x="5420" y="4304"/>
                </a:lnTo>
                <a:lnTo>
                  <a:pt x="5412" y="4310"/>
                </a:lnTo>
                <a:lnTo>
                  <a:pt x="5406" y="4314"/>
                </a:lnTo>
                <a:lnTo>
                  <a:pt x="5404" y="4318"/>
                </a:lnTo>
                <a:lnTo>
                  <a:pt x="5408" y="4320"/>
                </a:lnTo>
                <a:lnTo>
                  <a:pt x="5414" y="4318"/>
                </a:lnTo>
                <a:lnTo>
                  <a:pt x="5418" y="4320"/>
                </a:lnTo>
                <a:lnTo>
                  <a:pt x="5422" y="4324"/>
                </a:lnTo>
                <a:lnTo>
                  <a:pt x="5428" y="4338"/>
                </a:lnTo>
                <a:lnTo>
                  <a:pt x="5434" y="4358"/>
                </a:lnTo>
                <a:lnTo>
                  <a:pt x="5438" y="4366"/>
                </a:lnTo>
                <a:lnTo>
                  <a:pt x="5442" y="4374"/>
                </a:lnTo>
                <a:lnTo>
                  <a:pt x="5444" y="4378"/>
                </a:lnTo>
                <a:lnTo>
                  <a:pt x="5448" y="4380"/>
                </a:lnTo>
                <a:lnTo>
                  <a:pt x="5452" y="4382"/>
                </a:lnTo>
                <a:lnTo>
                  <a:pt x="5456" y="4382"/>
                </a:lnTo>
                <a:lnTo>
                  <a:pt x="5468" y="4380"/>
                </a:lnTo>
                <a:lnTo>
                  <a:pt x="5484" y="4378"/>
                </a:lnTo>
                <a:lnTo>
                  <a:pt x="5466" y="4382"/>
                </a:lnTo>
                <a:lnTo>
                  <a:pt x="5454" y="4386"/>
                </a:lnTo>
                <a:lnTo>
                  <a:pt x="5446" y="4388"/>
                </a:lnTo>
                <a:lnTo>
                  <a:pt x="5442" y="4386"/>
                </a:lnTo>
                <a:lnTo>
                  <a:pt x="5440" y="4384"/>
                </a:lnTo>
                <a:lnTo>
                  <a:pt x="5438" y="4380"/>
                </a:lnTo>
                <a:lnTo>
                  <a:pt x="5436" y="4380"/>
                </a:lnTo>
                <a:lnTo>
                  <a:pt x="5432" y="4382"/>
                </a:lnTo>
                <a:lnTo>
                  <a:pt x="5430" y="4390"/>
                </a:lnTo>
                <a:lnTo>
                  <a:pt x="5432" y="4398"/>
                </a:lnTo>
                <a:lnTo>
                  <a:pt x="5434" y="4408"/>
                </a:lnTo>
                <a:lnTo>
                  <a:pt x="5434" y="4416"/>
                </a:lnTo>
                <a:lnTo>
                  <a:pt x="5436" y="4420"/>
                </a:lnTo>
                <a:lnTo>
                  <a:pt x="5440" y="4418"/>
                </a:lnTo>
                <a:lnTo>
                  <a:pt x="5444" y="4416"/>
                </a:lnTo>
                <a:lnTo>
                  <a:pt x="5448" y="4418"/>
                </a:lnTo>
                <a:lnTo>
                  <a:pt x="5452" y="4420"/>
                </a:lnTo>
                <a:lnTo>
                  <a:pt x="5458" y="4420"/>
                </a:lnTo>
                <a:lnTo>
                  <a:pt x="5464" y="4418"/>
                </a:lnTo>
                <a:lnTo>
                  <a:pt x="5468" y="4420"/>
                </a:lnTo>
                <a:lnTo>
                  <a:pt x="5474" y="4422"/>
                </a:lnTo>
                <a:lnTo>
                  <a:pt x="5480" y="4424"/>
                </a:lnTo>
                <a:lnTo>
                  <a:pt x="5468" y="4426"/>
                </a:lnTo>
                <a:lnTo>
                  <a:pt x="5460" y="4426"/>
                </a:lnTo>
                <a:lnTo>
                  <a:pt x="5448" y="4424"/>
                </a:lnTo>
                <a:lnTo>
                  <a:pt x="5442" y="4422"/>
                </a:lnTo>
                <a:lnTo>
                  <a:pt x="5440" y="4422"/>
                </a:lnTo>
                <a:lnTo>
                  <a:pt x="5436" y="4426"/>
                </a:lnTo>
                <a:lnTo>
                  <a:pt x="5434" y="4430"/>
                </a:lnTo>
                <a:lnTo>
                  <a:pt x="5434" y="4432"/>
                </a:lnTo>
                <a:lnTo>
                  <a:pt x="5438" y="4434"/>
                </a:lnTo>
                <a:lnTo>
                  <a:pt x="5442" y="4438"/>
                </a:lnTo>
                <a:lnTo>
                  <a:pt x="5444" y="4440"/>
                </a:lnTo>
                <a:lnTo>
                  <a:pt x="5446" y="4440"/>
                </a:lnTo>
                <a:lnTo>
                  <a:pt x="5452" y="4440"/>
                </a:lnTo>
                <a:lnTo>
                  <a:pt x="5456" y="4440"/>
                </a:lnTo>
                <a:lnTo>
                  <a:pt x="5454" y="4444"/>
                </a:lnTo>
                <a:lnTo>
                  <a:pt x="5452" y="4452"/>
                </a:lnTo>
                <a:lnTo>
                  <a:pt x="5452" y="4454"/>
                </a:lnTo>
                <a:lnTo>
                  <a:pt x="5454" y="4456"/>
                </a:lnTo>
                <a:lnTo>
                  <a:pt x="5458" y="4456"/>
                </a:lnTo>
                <a:lnTo>
                  <a:pt x="5464" y="4454"/>
                </a:lnTo>
                <a:lnTo>
                  <a:pt x="5468" y="4454"/>
                </a:lnTo>
                <a:lnTo>
                  <a:pt x="5470" y="4456"/>
                </a:lnTo>
                <a:lnTo>
                  <a:pt x="5468" y="4462"/>
                </a:lnTo>
                <a:lnTo>
                  <a:pt x="5468" y="4468"/>
                </a:lnTo>
                <a:lnTo>
                  <a:pt x="5470" y="4468"/>
                </a:lnTo>
                <a:lnTo>
                  <a:pt x="5474" y="4464"/>
                </a:lnTo>
                <a:lnTo>
                  <a:pt x="5484" y="4458"/>
                </a:lnTo>
                <a:lnTo>
                  <a:pt x="5490" y="4456"/>
                </a:lnTo>
                <a:lnTo>
                  <a:pt x="5492" y="4456"/>
                </a:lnTo>
                <a:lnTo>
                  <a:pt x="5488" y="4460"/>
                </a:lnTo>
                <a:lnTo>
                  <a:pt x="5484" y="4462"/>
                </a:lnTo>
                <a:lnTo>
                  <a:pt x="5484" y="4464"/>
                </a:lnTo>
                <a:lnTo>
                  <a:pt x="5484" y="4468"/>
                </a:lnTo>
                <a:lnTo>
                  <a:pt x="5488" y="4472"/>
                </a:lnTo>
                <a:lnTo>
                  <a:pt x="5488" y="4476"/>
                </a:lnTo>
                <a:lnTo>
                  <a:pt x="5486" y="4478"/>
                </a:lnTo>
                <a:lnTo>
                  <a:pt x="5486" y="4482"/>
                </a:lnTo>
                <a:lnTo>
                  <a:pt x="5486" y="4484"/>
                </a:lnTo>
                <a:lnTo>
                  <a:pt x="5488" y="4484"/>
                </a:lnTo>
                <a:lnTo>
                  <a:pt x="5490" y="4488"/>
                </a:lnTo>
                <a:lnTo>
                  <a:pt x="5490" y="4492"/>
                </a:lnTo>
                <a:lnTo>
                  <a:pt x="5492" y="4492"/>
                </a:lnTo>
                <a:lnTo>
                  <a:pt x="5494" y="4492"/>
                </a:lnTo>
                <a:lnTo>
                  <a:pt x="5496" y="4496"/>
                </a:lnTo>
                <a:lnTo>
                  <a:pt x="5496" y="4500"/>
                </a:lnTo>
                <a:lnTo>
                  <a:pt x="5498" y="4500"/>
                </a:lnTo>
                <a:lnTo>
                  <a:pt x="5504" y="4492"/>
                </a:lnTo>
                <a:lnTo>
                  <a:pt x="5502" y="4500"/>
                </a:lnTo>
                <a:lnTo>
                  <a:pt x="5504" y="4504"/>
                </a:lnTo>
                <a:lnTo>
                  <a:pt x="5502" y="4508"/>
                </a:lnTo>
                <a:lnTo>
                  <a:pt x="5504" y="4510"/>
                </a:lnTo>
                <a:lnTo>
                  <a:pt x="5506" y="4512"/>
                </a:lnTo>
                <a:lnTo>
                  <a:pt x="5508" y="4510"/>
                </a:lnTo>
                <a:lnTo>
                  <a:pt x="5508" y="4506"/>
                </a:lnTo>
                <a:lnTo>
                  <a:pt x="5512" y="4502"/>
                </a:lnTo>
                <a:lnTo>
                  <a:pt x="5514" y="4500"/>
                </a:lnTo>
                <a:lnTo>
                  <a:pt x="5518" y="4498"/>
                </a:lnTo>
                <a:lnTo>
                  <a:pt x="5520" y="4500"/>
                </a:lnTo>
                <a:lnTo>
                  <a:pt x="5518" y="4502"/>
                </a:lnTo>
                <a:lnTo>
                  <a:pt x="5514" y="4506"/>
                </a:lnTo>
                <a:lnTo>
                  <a:pt x="5514" y="4508"/>
                </a:lnTo>
                <a:lnTo>
                  <a:pt x="5516" y="4512"/>
                </a:lnTo>
                <a:lnTo>
                  <a:pt x="5516" y="4514"/>
                </a:lnTo>
                <a:lnTo>
                  <a:pt x="5518" y="4516"/>
                </a:lnTo>
                <a:lnTo>
                  <a:pt x="5522" y="4512"/>
                </a:lnTo>
                <a:lnTo>
                  <a:pt x="5524" y="4510"/>
                </a:lnTo>
                <a:lnTo>
                  <a:pt x="5522" y="4518"/>
                </a:lnTo>
                <a:lnTo>
                  <a:pt x="5522" y="4528"/>
                </a:lnTo>
                <a:lnTo>
                  <a:pt x="5524" y="4528"/>
                </a:lnTo>
                <a:lnTo>
                  <a:pt x="5524" y="4534"/>
                </a:lnTo>
                <a:lnTo>
                  <a:pt x="5528" y="4538"/>
                </a:lnTo>
                <a:lnTo>
                  <a:pt x="5532" y="4542"/>
                </a:lnTo>
                <a:lnTo>
                  <a:pt x="5538" y="4544"/>
                </a:lnTo>
                <a:lnTo>
                  <a:pt x="5544" y="4548"/>
                </a:lnTo>
                <a:lnTo>
                  <a:pt x="5550" y="4554"/>
                </a:lnTo>
                <a:lnTo>
                  <a:pt x="5558" y="4556"/>
                </a:lnTo>
                <a:lnTo>
                  <a:pt x="5562" y="4560"/>
                </a:lnTo>
                <a:lnTo>
                  <a:pt x="5564" y="4562"/>
                </a:lnTo>
                <a:lnTo>
                  <a:pt x="5562" y="4564"/>
                </a:lnTo>
                <a:lnTo>
                  <a:pt x="5560" y="4568"/>
                </a:lnTo>
                <a:lnTo>
                  <a:pt x="5560" y="4572"/>
                </a:lnTo>
                <a:lnTo>
                  <a:pt x="5560" y="4576"/>
                </a:lnTo>
                <a:lnTo>
                  <a:pt x="5566" y="4578"/>
                </a:lnTo>
                <a:lnTo>
                  <a:pt x="5570" y="4582"/>
                </a:lnTo>
                <a:lnTo>
                  <a:pt x="5570" y="4584"/>
                </a:lnTo>
                <a:lnTo>
                  <a:pt x="5572" y="4586"/>
                </a:lnTo>
                <a:lnTo>
                  <a:pt x="5574" y="4588"/>
                </a:lnTo>
                <a:lnTo>
                  <a:pt x="5576" y="4592"/>
                </a:lnTo>
                <a:lnTo>
                  <a:pt x="5574" y="4594"/>
                </a:lnTo>
                <a:lnTo>
                  <a:pt x="5574" y="4596"/>
                </a:lnTo>
                <a:lnTo>
                  <a:pt x="5580" y="4604"/>
                </a:lnTo>
                <a:lnTo>
                  <a:pt x="5580" y="4606"/>
                </a:lnTo>
                <a:lnTo>
                  <a:pt x="5576" y="4608"/>
                </a:lnTo>
                <a:lnTo>
                  <a:pt x="5576" y="4610"/>
                </a:lnTo>
                <a:lnTo>
                  <a:pt x="5576" y="4612"/>
                </a:lnTo>
                <a:lnTo>
                  <a:pt x="5578" y="4618"/>
                </a:lnTo>
                <a:lnTo>
                  <a:pt x="5580" y="4618"/>
                </a:lnTo>
                <a:lnTo>
                  <a:pt x="5584" y="4616"/>
                </a:lnTo>
                <a:lnTo>
                  <a:pt x="5590" y="4620"/>
                </a:lnTo>
                <a:lnTo>
                  <a:pt x="5586" y="4624"/>
                </a:lnTo>
                <a:lnTo>
                  <a:pt x="5584" y="4624"/>
                </a:lnTo>
                <a:lnTo>
                  <a:pt x="5578" y="4624"/>
                </a:lnTo>
                <a:lnTo>
                  <a:pt x="5574" y="4624"/>
                </a:lnTo>
                <a:lnTo>
                  <a:pt x="5574" y="4628"/>
                </a:lnTo>
                <a:lnTo>
                  <a:pt x="5580" y="4636"/>
                </a:lnTo>
                <a:lnTo>
                  <a:pt x="5584" y="4638"/>
                </a:lnTo>
                <a:lnTo>
                  <a:pt x="5586" y="4638"/>
                </a:lnTo>
                <a:lnTo>
                  <a:pt x="5590" y="4642"/>
                </a:lnTo>
                <a:lnTo>
                  <a:pt x="5590" y="4648"/>
                </a:lnTo>
                <a:lnTo>
                  <a:pt x="5588" y="4650"/>
                </a:lnTo>
                <a:lnTo>
                  <a:pt x="5586" y="4650"/>
                </a:lnTo>
                <a:lnTo>
                  <a:pt x="5588" y="4654"/>
                </a:lnTo>
                <a:lnTo>
                  <a:pt x="5590" y="4656"/>
                </a:lnTo>
                <a:lnTo>
                  <a:pt x="5596" y="4658"/>
                </a:lnTo>
                <a:lnTo>
                  <a:pt x="5602" y="4660"/>
                </a:lnTo>
                <a:lnTo>
                  <a:pt x="5606" y="4666"/>
                </a:lnTo>
                <a:lnTo>
                  <a:pt x="5608" y="4668"/>
                </a:lnTo>
                <a:lnTo>
                  <a:pt x="5608" y="4670"/>
                </a:lnTo>
                <a:lnTo>
                  <a:pt x="5606" y="4672"/>
                </a:lnTo>
                <a:lnTo>
                  <a:pt x="5606" y="4674"/>
                </a:lnTo>
                <a:lnTo>
                  <a:pt x="5606" y="4676"/>
                </a:lnTo>
                <a:lnTo>
                  <a:pt x="5612" y="4680"/>
                </a:lnTo>
                <a:lnTo>
                  <a:pt x="5632" y="4688"/>
                </a:lnTo>
                <a:lnTo>
                  <a:pt x="5640" y="4694"/>
                </a:lnTo>
                <a:lnTo>
                  <a:pt x="5646" y="4700"/>
                </a:lnTo>
                <a:lnTo>
                  <a:pt x="5650" y="4706"/>
                </a:lnTo>
                <a:lnTo>
                  <a:pt x="5656" y="4710"/>
                </a:lnTo>
                <a:lnTo>
                  <a:pt x="5664" y="4716"/>
                </a:lnTo>
                <a:lnTo>
                  <a:pt x="5672" y="4722"/>
                </a:lnTo>
                <a:lnTo>
                  <a:pt x="5676" y="4724"/>
                </a:lnTo>
                <a:lnTo>
                  <a:pt x="5676" y="4728"/>
                </a:lnTo>
                <a:lnTo>
                  <a:pt x="5678" y="4732"/>
                </a:lnTo>
                <a:lnTo>
                  <a:pt x="5680" y="4734"/>
                </a:lnTo>
                <a:lnTo>
                  <a:pt x="5686" y="4738"/>
                </a:lnTo>
                <a:lnTo>
                  <a:pt x="5698" y="4744"/>
                </a:lnTo>
                <a:lnTo>
                  <a:pt x="5706" y="4752"/>
                </a:lnTo>
                <a:lnTo>
                  <a:pt x="5714" y="4762"/>
                </a:lnTo>
                <a:lnTo>
                  <a:pt x="5732" y="4782"/>
                </a:lnTo>
                <a:lnTo>
                  <a:pt x="5752" y="4798"/>
                </a:lnTo>
                <a:lnTo>
                  <a:pt x="5768" y="4810"/>
                </a:lnTo>
                <a:lnTo>
                  <a:pt x="5784" y="4816"/>
                </a:lnTo>
                <a:lnTo>
                  <a:pt x="5794" y="4820"/>
                </a:lnTo>
                <a:lnTo>
                  <a:pt x="5796" y="4824"/>
                </a:lnTo>
                <a:lnTo>
                  <a:pt x="5800" y="4826"/>
                </a:lnTo>
                <a:lnTo>
                  <a:pt x="5808" y="4826"/>
                </a:lnTo>
                <a:lnTo>
                  <a:pt x="5812" y="4824"/>
                </a:lnTo>
                <a:lnTo>
                  <a:pt x="5816" y="4822"/>
                </a:lnTo>
                <a:lnTo>
                  <a:pt x="5826" y="4814"/>
                </a:lnTo>
                <a:lnTo>
                  <a:pt x="5840" y="4804"/>
                </a:lnTo>
                <a:lnTo>
                  <a:pt x="5852" y="4798"/>
                </a:lnTo>
                <a:lnTo>
                  <a:pt x="5866" y="4794"/>
                </a:lnTo>
                <a:lnTo>
                  <a:pt x="5892" y="4788"/>
                </a:lnTo>
                <a:lnTo>
                  <a:pt x="5908" y="4788"/>
                </a:lnTo>
                <a:lnTo>
                  <a:pt x="5920" y="4788"/>
                </a:lnTo>
                <a:lnTo>
                  <a:pt x="5934" y="4786"/>
                </a:lnTo>
                <a:lnTo>
                  <a:pt x="5944" y="4782"/>
                </a:lnTo>
                <a:lnTo>
                  <a:pt x="5958" y="4786"/>
                </a:lnTo>
                <a:lnTo>
                  <a:pt x="5972" y="4786"/>
                </a:lnTo>
                <a:lnTo>
                  <a:pt x="5976" y="4786"/>
                </a:lnTo>
                <a:lnTo>
                  <a:pt x="5980" y="4784"/>
                </a:lnTo>
                <a:lnTo>
                  <a:pt x="5984" y="4784"/>
                </a:lnTo>
                <a:lnTo>
                  <a:pt x="5994" y="4786"/>
                </a:lnTo>
                <a:lnTo>
                  <a:pt x="5996" y="4788"/>
                </a:lnTo>
                <a:lnTo>
                  <a:pt x="5994" y="4788"/>
                </a:lnTo>
                <a:lnTo>
                  <a:pt x="5986" y="4790"/>
                </a:lnTo>
                <a:lnTo>
                  <a:pt x="5982" y="4790"/>
                </a:lnTo>
                <a:lnTo>
                  <a:pt x="5980" y="4790"/>
                </a:lnTo>
                <a:lnTo>
                  <a:pt x="5982" y="4792"/>
                </a:lnTo>
                <a:lnTo>
                  <a:pt x="6000" y="4796"/>
                </a:lnTo>
                <a:lnTo>
                  <a:pt x="6010" y="4800"/>
                </a:lnTo>
                <a:lnTo>
                  <a:pt x="6022" y="4804"/>
                </a:lnTo>
                <a:lnTo>
                  <a:pt x="6026" y="4806"/>
                </a:lnTo>
                <a:lnTo>
                  <a:pt x="6030" y="4806"/>
                </a:lnTo>
                <a:lnTo>
                  <a:pt x="6040" y="4800"/>
                </a:lnTo>
                <a:lnTo>
                  <a:pt x="6052" y="4790"/>
                </a:lnTo>
                <a:lnTo>
                  <a:pt x="6060" y="4786"/>
                </a:lnTo>
                <a:lnTo>
                  <a:pt x="6068" y="4784"/>
                </a:lnTo>
                <a:lnTo>
                  <a:pt x="6078" y="4782"/>
                </a:lnTo>
                <a:lnTo>
                  <a:pt x="6084" y="4778"/>
                </a:lnTo>
                <a:lnTo>
                  <a:pt x="6096" y="4770"/>
                </a:lnTo>
                <a:lnTo>
                  <a:pt x="6102" y="4766"/>
                </a:lnTo>
                <a:lnTo>
                  <a:pt x="6110" y="4762"/>
                </a:lnTo>
                <a:lnTo>
                  <a:pt x="6120" y="4758"/>
                </a:lnTo>
                <a:lnTo>
                  <a:pt x="6134" y="4756"/>
                </a:lnTo>
                <a:lnTo>
                  <a:pt x="6146" y="4754"/>
                </a:lnTo>
                <a:lnTo>
                  <a:pt x="6150" y="4752"/>
                </a:lnTo>
                <a:lnTo>
                  <a:pt x="6152" y="4750"/>
                </a:lnTo>
                <a:lnTo>
                  <a:pt x="6152" y="4746"/>
                </a:lnTo>
                <a:lnTo>
                  <a:pt x="6158" y="4740"/>
                </a:lnTo>
                <a:lnTo>
                  <a:pt x="6164" y="4736"/>
                </a:lnTo>
                <a:lnTo>
                  <a:pt x="6178" y="4732"/>
                </a:lnTo>
                <a:lnTo>
                  <a:pt x="6202" y="4730"/>
                </a:lnTo>
                <a:lnTo>
                  <a:pt x="6218" y="4728"/>
                </a:lnTo>
                <a:lnTo>
                  <a:pt x="6236" y="4726"/>
                </a:lnTo>
                <a:lnTo>
                  <a:pt x="6242" y="4726"/>
                </a:lnTo>
                <a:lnTo>
                  <a:pt x="6246" y="4722"/>
                </a:lnTo>
                <a:lnTo>
                  <a:pt x="6248" y="4720"/>
                </a:lnTo>
                <a:lnTo>
                  <a:pt x="6250" y="4722"/>
                </a:lnTo>
                <a:lnTo>
                  <a:pt x="6254" y="4724"/>
                </a:lnTo>
                <a:lnTo>
                  <a:pt x="6264" y="4726"/>
                </a:lnTo>
                <a:lnTo>
                  <a:pt x="6278" y="4726"/>
                </a:lnTo>
                <a:lnTo>
                  <a:pt x="6290" y="4730"/>
                </a:lnTo>
                <a:lnTo>
                  <a:pt x="6294" y="4734"/>
                </a:lnTo>
                <a:lnTo>
                  <a:pt x="6300" y="4738"/>
                </a:lnTo>
                <a:lnTo>
                  <a:pt x="6314" y="4756"/>
                </a:lnTo>
                <a:lnTo>
                  <a:pt x="6320" y="4772"/>
                </a:lnTo>
                <a:lnTo>
                  <a:pt x="6328" y="4796"/>
                </a:lnTo>
                <a:lnTo>
                  <a:pt x="6334" y="4808"/>
                </a:lnTo>
                <a:lnTo>
                  <a:pt x="6340" y="4818"/>
                </a:lnTo>
                <a:lnTo>
                  <a:pt x="6348" y="4826"/>
                </a:lnTo>
                <a:lnTo>
                  <a:pt x="6352" y="4826"/>
                </a:lnTo>
                <a:lnTo>
                  <a:pt x="6358" y="4828"/>
                </a:lnTo>
                <a:lnTo>
                  <a:pt x="6374" y="4828"/>
                </a:lnTo>
                <a:lnTo>
                  <a:pt x="6380" y="4828"/>
                </a:lnTo>
                <a:lnTo>
                  <a:pt x="6388" y="4826"/>
                </a:lnTo>
                <a:lnTo>
                  <a:pt x="6394" y="4822"/>
                </a:lnTo>
                <a:lnTo>
                  <a:pt x="6396" y="4820"/>
                </a:lnTo>
                <a:lnTo>
                  <a:pt x="6398" y="4816"/>
                </a:lnTo>
                <a:lnTo>
                  <a:pt x="6398" y="4814"/>
                </a:lnTo>
                <a:lnTo>
                  <a:pt x="6396" y="4810"/>
                </a:lnTo>
                <a:lnTo>
                  <a:pt x="6402" y="4814"/>
                </a:lnTo>
                <a:lnTo>
                  <a:pt x="6406" y="4816"/>
                </a:lnTo>
                <a:lnTo>
                  <a:pt x="6414" y="4818"/>
                </a:lnTo>
                <a:lnTo>
                  <a:pt x="6422" y="4818"/>
                </a:lnTo>
                <a:lnTo>
                  <a:pt x="6432" y="4818"/>
                </a:lnTo>
                <a:lnTo>
                  <a:pt x="6440" y="4816"/>
                </a:lnTo>
                <a:lnTo>
                  <a:pt x="6444" y="4812"/>
                </a:lnTo>
                <a:lnTo>
                  <a:pt x="6446" y="4808"/>
                </a:lnTo>
                <a:lnTo>
                  <a:pt x="6446" y="4806"/>
                </a:lnTo>
                <a:lnTo>
                  <a:pt x="6440" y="4796"/>
                </a:lnTo>
                <a:lnTo>
                  <a:pt x="6452" y="4806"/>
                </a:lnTo>
                <a:lnTo>
                  <a:pt x="6452" y="4814"/>
                </a:lnTo>
                <a:lnTo>
                  <a:pt x="6454" y="4818"/>
                </a:lnTo>
                <a:lnTo>
                  <a:pt x="6458" y="4818"/>
                </a:lnTo>
                <a:lnTo>
                  <a:pt x="6460" y="4818"/>
                </a:lnTo>
                <a:lnTo>
                  <a:pt x="6464" y="4816"/>
                </a:lnTo>
                <a:lnTo>
                  <a:pt x="6466" y="4816"/>
                </a:lnTo>
                <a:lnTo>
                  <a:pt x="6468" y="4822"/>
                </a:lnTo>
                <a:lnTo>
                  <a:pt x="6470" y="4836"/>
                </a:lnTo>
                <a:lnTo>
                  <a:pt x="6474" y="4840"/>
                </a:lnTo>
                <a:lnTo>
                  <a:pt x="6482" y="4844"/>
                </a:lnTo>
                <a:lnTo>
                  <a:pt x="6486" y="4846"/>
                </a:lnTo>
                <a:lnTo>
                  <a:pt x="6488" y="4844"/>
                </a:lnTo>
                <a:lnTo>
                  <a:pt x="6492" y="4842"/>
                </a:lnTo>
                <a:lnTo>
                  <a:pt x="6494" y="4838"/>
                </a:lnTo>
                <a:lnTo>
                  <a:pt x="6498" y="4840"/>
                </a:lnTo>
                <a:lnTo>
                  <a:pt x="6500" y="4844"/>
                </a:lnTo>
                <a:lnTo>
                  <a:pt x="6500" y="4846"/>
                </a:lnTo>
                <a:lnTo>
                  <a:pt x="6498" y="4850"/>
                </a:lnTo>
                <a:lnTo>
                  <a:pt x="6494" y="4852"/>
                </a:lnTo>
                <a:lnTo>
                  <a:pt x="6494" y="4856"/>
                </a:lnTo>
                <a:lnTo>
                  <a:pt x="6496" y="4858"/>
                </a:lnTo>
                <a:lnTo>
                  <a:pt x="6500" y="4862"/>
                </a:lnTo>
                <a:lnTo>
                  <a:pt x="6500" y="4864"/>
                </a:lnTo>
                <a:lnTo>
                  <a:pt x="6500" y="4866"/>
                </a:lnTo>
                <a:lnTo>
                  <a:pt x="6504" y="4874"/>
                </a:lnTo>
                <a:lnTo>
                  <a:pt x="6506" y="4880"/>
                </a:lnTo>
                <a:lnTo>
                  <a:pt x="6508" y="4886"/>
                </a:lnTo>
                <a:lnTo>
                  <a:pt x="6508" y="4898"/>
                </a:lnTo>
                <a:lnTo>
                  <a:pt x="6504" y="4910"/>
                </a:lnTo>
                <a:lnTo>
                  <a:pt x="6504" y="4924"/>
                </a:lnTo>
                <a:lnTo>
                  <a:pt x="6504" y="4936"/>
                </a:lnTo>
                <a:lnTo>
                  <a:pt x="6502" y="4946"/>
                </a:lnTo>
                <a:lnTo>
                  <a:pt x="6498" y="4954"/>
                </a:lnTo>
                <a:lnTo>
                  <a:pt x="6494" y="4960"/>
                </a:lnTo>
                <a:lnTo>
                  <a:pt x="6488" y="4970"/>
                </a:lnTo>
                <a:lnTo>
                  <a:pt x="6486" y="4974"/>
                </a:lnTo>
                <a:lnTo>
                  <a:pt x="6486" y="4978"/>
                </a:lnTo>
                <a:lnTo>
                  <a:pt x="6486" y="4982"/>
                </a:lnTo>
                <a:lnTo>
                  <a:pt x="6488" y="4984"/>
                </a:lnTo>
                <a:lnTo>
                  <a:pt x="6494" y="4984"/>
                </a:lnTo>
                <a:lnTo>
                  <a:pt x="6496" y="4984"/>
                </a:lnTo>
                <a:lnTo>
                  <a:pt x="6496" y="4988"/>
                </a:lnTo>
                <a:lnTo>
                  <a:pt x="6494" y="4994"/>
                </a:lnTo>
                <a:lnTo>
                  <a:pt x="6496" y="4998"/>
                </a:lnTo>
                <a:lnTo>
                  <a:pt x="6498" y="5002"/>
                </a:lnTo>
                <a:lnTo>
                  <a:pt x="6496" y="5006"/>
                </a:lnTo>
                <a:lnTo>
                  <a:pt x="6494" y="5006"/>
                </a:lnTo>
                <a:lnTo>
                  <a:pt x="6492" y="5004"/>
                </a:lnTo>
                <a:lnTo>
                  <a:pt x="6490" y="5004"/>
                </a:lnTo>
                <a:lnTo>
                  <a:pt x="6486" y="5006"/>
                </a:lnTo>
                <a:lnTo>
                  <a:pt x="6486" y="5010"/>
                </a:lnTo>
                <a:lnTo>
                  <a:pt x="6486" y="5014"/>
                </a:lnTo>
                <a:lnTo>
                  <a:pt x="6490" y="5018"/>
                </a:lnTo>
                <a:lnTo>
                  <a:pt x="6500" y="5024"/>
                </a:lnTo>
                <a:lnTo>
                  <a:pt x="6510" y="5026"/>
                </a:lnTo>
                <a:lnTo>
                  <a:pt x="6514" y="5028"/>
                </a:lnTo>
                <a:lnTo>
                  <a:pt x="6516" y="5030"/>
                </a:lnTo>
                <a:lnTo>
                  <a:pt x="6514" y="5032"/>
                </a:lnTo>
                <a:lnTo>
                  <a:pt x="6512" y="5034"/>
                </a:lnTo>
                <a:lnTo>
                  <a:pt x="6508" y="5034"/>
                </a:lnTo>
                <a:lnTo>
                  <a:pt x="6502" y="5034"/>
                </a:lnTo>
                <a:lnTo>
                  <a:pt x="6498" y="5034"/>
                </a:lnTo>
                <a:lnTo>
                  <a:pt x="6494" y="5030"/>
                </a:lnTo>
                <a:lnTo>
                  <a:pt x="6488" y="5022"/>
                </a:lnTo>
                <a:lnTo>
                  <a:pt x="6486" y="5022"/>
                </a:lnTo>
                <a:lnTo>
                  <a:pt x="6484" y="5022"/>
                </a:lnTo>
                <a:lnTo>
                  <a:pt x="6484" y="5026"/>
                </a:lnTo>
                <a:lnTo>
                  <a:pt x="6484" y="5038"/>
                </a:lnTo>
                <a:lnTo>
                  <a:pt x="6484" y="5052"/>
                </a:lnTo>
                <a:lnTo>
                  <a:pt x="6480" y="5066"/>
                </a:lnTo>
                <a:lnTo>
                  <a:pt x="6476" y="5070"/>
                </a:lnTo>
                <a:lnTo>
                  <a:pt x="6474" y="5072"/>
                </a:lnTo>
                <a:lnTo>
                  <a:pt x="6470" y="5072"/>
                </a:lnTo>
                <a:lnTo>
                  <a:pt x="6466" y="5070"/>
                </a:lnTo>
                <a:lnTo>
                  <a:pt x="6460" y="5066"/>
                </a:lnTo>
                <a:lnTo>
                  <a:pt x="6460" y="5068"/>
                </a:lnTo>
                <a:lnTo>
                  <a:pt x="6462" y="5076"/>
                </a:lnTo>
                <a:lnTo>
                  <a:pt x="6468" y="5092"/>
                </a:lnTo>
                <a:lnTo>
                  <a:pt x="6480" y="5120"/>
                </a:lnTo>
                <a:lnTo>
                  <a:pt x="6484" y="5130"/>
                </a:lnTo>
                <a:lnTo>
                  <a:pt x="6488" y="5136"/>
                </a:lnTo>
                <a:lnTo>
                  <a:pt x="6494" y="5144"/>
                </a:lnTo>
                <a:lnTo>
                  <a:pt x="6498" y="5152"/>
                </a:lnTo>
                <a:lnTo>
                  <a:pt x="6504" y="5162"/>
                </a:lnTo>
                <a:lnTo>
                  <a:pt x="6514" y="5174"/>
                </a:lnTo>
                <a:lnTo>
                  <a:pt x="6536" y="5198"/>
                </a:lnTo>
                <a:lnTo>
                  <a:pt x="6544" y="5208"/>
                </a:lnTo>
                <a:lnTo>
                  <a:pt x="6546" y="5214"/>
                </a:lnTo>
                <a:lnTo>
                  <a:pt x="6556" y="5224"/>
                </a:lnTo>
                <a:lnTo>
                  <a:pt x="6576" y="5248"/>
                </a:lnTo>
                <a:lnTo>
                  <a:pt x="6582" y="5256"/>
                </a:lnTo>
                <a:lnTo>
                  <a:pt x="6584" y="5264"/>
                </a:lnTo>
                <a:lnTo>
                  <a:pt x="6588" y="5274"/>
                </a:lnTo>
                <a:lnTo>
                  <a:pt x="6594" y="5282"/>
                </a:lnTo>
                <a:lnTo>
                  <a:pt x="6600" y="5292"/>
                </a:lnTo>
                <a:lnTo>
                  <a:pt x="6600" y="5296"/>
                </a:lnTo>
                <a:lnTo>
                  <a:pt x="6600" y="5302"/>
                </a:lnTo>
                <a:lnTo>
                  <a:pt x="6598" y="5310"/>
                </a:lnTo>
                <a:lnTo>
                  <a:pt x="6598" y="5314"/>
                </a:lnTo>
                <a:lnTo>
                  <a:pt x="6600" y="5314"/>
                </a:lnTo>
                <a:lnTo>
                  <a:pt x="6602" y="5318"/>
                </a:lnTo>
                <a:lnTo>
                  <a:pt x="6606" y="5324"/>
                </a:lnTo>
                <a:lnTo>
                  <a:pt x="6608" y="5324"/>
                </a:lnTo>
                <a:lnTo>
                  <a:pt x="6614" y="5322"/>
                </a:lnTo>
                <a:lnTo>
                  <a:pt x="6620" y="5320"/>
                </a:lnTo>
                <a:lnTo>
                  <a:pt x="6626" y="5318"/>
                </a:lnTo>
                <a:lnTo>
                  <a:pt x="6630" y="5316"/>
                </a:lnTo>
                <a:lnTo>
                  <a:pt x="6638" y="5318"/>
                </a:lnTo>
                <a:lnTo>
                  <a:pt x="6630" y="5324"/>
                </a:lnTo>
                <a:lnTo>
                  <a:pt x="6624" y="5328"/>
                </a:lnTo>
                <a:lnTo>
                  <a:pt x="6612" y="5330"/>
                </a:lnTo>
                <a:lnTo>
                  <a:pt x="6606" y="5332"/>
                </a:lnTo>
                <a:lnTo>
                  <a:pt x="6604" y="5334"/>
                </a:lnTo>
                <a:lnTo>
                  <a:pt x="6606" y="5336"/>
                </a:lnTo>
                <a:lnTo>
                  <a:pt x="6616" y="5358"/>
                </a:lnTo>
                <a:lnTo>
                  <a:pt x="6630" y="5394"/>
                </a:lnTo>
                <a:lnTo>
                  <a:pt x="6638" y="5416"/>
                </a:lnTo>
                <a:lnTo>
                  <a:pt x="6642" y="5434"/>
                </a:lnTo>
                <a:lnTo>
                  <a:pt x="6642" y="5450"/>
                </a:lnTo>
                <a:lnTo>
                  <a:pt x="6642" y="5456"/>
                </a:lnTo>
                <a:lnTo>
                  <a:pt x="6638" y="5460"/>
                </a:lnTo>
                <a:lnTo>
                  <a:pt x="6634" y="5470"/>
                </a:lnTo>
                <a:lnTo>
                  <a:pt x="6634" y="5480"/>
                </a:lnTo>
                <a:lnTo>
                  <a:pt x="6636" y="5490"/>
                </a:lnTo>
                <a:lnTo>
                  <a:pt x="6638" y="5502"/>
                </a:lnTo>
                <a:lnTo>
                  <a:pt x="6650" y="5526"/>
                </a:lnTo>
                <a:lnTo>
                  <a:pt x="6660" y="5552"/>
                </a:lnTo>
                <a:lnTo>
                  <a:pt x="6664" y="5564"/>
                </a:lnTo>
                <a:lnTo>
                  <a:pt x="6666" y="5578"/>
                </a:lnTo>
                <a:lnTo>
                  <a:pt x="6668" y="5592"/>
                </a:lnTo>
                <a:lnTo>
                  <a:pt x="6666" y="5606"/>
                </a:lnTo>
                <a:lnTo>
                  <a:pt x="6664" y="5618"/>
                </a:lnTo>
                <a:lnTo>
                  <a:pt x="6658" y="5630"/>
                </a:lnTo>
                <a:lnTo>
                  <a:pt x="6652" y="5642"/>
                </a:lnTo>
                <a:lnTo>
                  <a:pt x="6642" y="5650"/>
                </a:lnTo>
                <a:lnTo>
                  <a:pt x="6634" y="5658"/>
                </a:lnTo>
                <a:lnTo>
                  <a:pt x="6628" y="5666"/>
                </a:lnTo>
                <a:lnTo>
                  <a:pt x="6622" y="5674"/>
                </a:lnTo>
                <a:lnTo>
                  <a:pt x="6618" y="5684"/>
                </a:lnTo>
                <a:lnTo>
                  <a:pt x="6610" y="5704"/>
                </a:lnTo>
                <a:lnTo>
                  <a:pt x="6606" y="5724"/>
                </a:lnTo>
                <a:lnTo>
                  <a:pt x="6600" y="5764"/>
                </a:lnTo>
                <a:lnTo>
                  <a:pt x="6598" y="5782"/>
                </a:lnTo>
                <a:lnTo>
                  <a:pt x="6592" y="5794"/>
                </a:lnTo>
                <a:lnTo>
                  <a:pt x="6586" y="5806"/>
                </a:lnTo>
                <a:lnTo>
                  <a:pt x="6582" y="5816"/>
                </a:lnTo>
                <a:lnTo>
                  <a:pt x="6582" y="5826"/>
                </a:lnTo>
                <a:lnTo>
                  <a:pt x="6582" y="5836"/>
                </a:lnTo>
                <a:lnTo>
                  <a:pt x="6584" y="5854"/>
                </a:lnTo>
                <a:lnTo>
                  <a:pt x="6584" y="5868"/>
                </a:lnTo>
                <a:lnTo>
                  <a:pt x="6582" y="5882"/>
                </a:lnTo>
                <a:lnTo>
                  <a:pt x="6580" y="5892"/>
                </a:lnTo>
                <a:lnTo>
                  <a:pt x="6582" y="5900"/>
                </a:lnTo>
                <a:lnTo>
                  <a:pt x="6586" y="5920"/>
                </a:lnTo>
                <a:lnTo>
                  <a:pt x="6594" y="5938"/>
                </a:lnTo>
                <a:lnTo>
                  <a:pt x="6604" y="5960"/>
                </a:lnTo>
                <a:lnTo>
                  <a:pt x="6628" y="6004"/>
                </a:lnTo>
                <a:lnTo>
                  <a:pt x="6638" y="6030"/>
                </a:lnTo>
                <a:lnTo>
                  <a:pt x="6646" y="6060"/>
                </a:lnTo>
                <a:lnTo>
                  <a:pt x="6654" y="6084"/>
                </a:lnTo>
                <a:lnTo>
                  <a:pt x="6664" y="6102"/>
                </a:lnTo>
                <a:lnTo>
                  <a:pt x="6672" y="6112"/>
                </a:lnTo>
                <a:lnTo>
                  <a:pt x="6682" y="6122"/>
                </a:lnTo>
                <a:lnTo>
                  <a:pt x="6688" y="6132"/>
                </a:lnTo>
                <a:lnTo>
                  <a:pt x="6692" y="6144"/>
                </a:lnTo>
                <a:lnTo>
                  <a:pt x="6692" y="6164"/>
                </a:lnTo>
                <a:lnTo>
                  <a:pt x="6690" y="6194"/>
                </a:lnTo>
                <a:lnTo>
                  <a:pt x="6688" y="6208"/>
                </a:lnTo>
                <a:lnTo>
                  <a:pt x="6690" y="6226"/>
                </a:lnTo>
                <a:lnTo>
                  <a:pt x="6698" y="6266"/>
                </a:lnTo>
                <a:lnTo>
                  <a:pt x="6708" y="6312"/>
                </a:lnTo>
                <a:lnTo>
                  <a:pt x="6712" y="6334"/>
                </a:lnTo>
                <a:lnTo>
                  <a:pt x="6714" y="6356"/>
                </a:lnTo>
                <a:lnTo>
                  <a:pt x="6718" y="6376"/>
                </a:lnTo>
                <a:lnTo>
                  <a:pt x="6722" y="6394"/>
                </a:lnTo>
                <a:lnTo>
                  <a:pt x="6730" y="6408"/>
                </a:lnTo>
                <a:lnTo>
                  <a:pt x="6738" y="6422"/>
                </a:lnTo>
                <a:lnTo>
                  <a:pt x="6748" y="6432"/>
                </a:lnTo>
                <a:lnTo>
                  <a:pt x="6756" y="6442"/>
                </a:lnTo>
                <a:lnTo>
                  <a:pt x="6772" y="6456"/>
                </a:lnTo>
                <a:lnTo>
                  <a:pt x="6782" y="6470"/>
                </a:lnTo>
                <a:lnTo>
                  <a:pt x="6788" y="6484"/>
                </a:lnTo>
                <a:lnTo>
                  <a:pt x="6792" y="6498"/>
                </a:lnTo>
                <a:lnTo>
                  <a:pt x="6796" y="6514"/>
                </a:lnTo>
                <a:lnTo>
                  <a:pt x="6800" y="6530"/>
                </a:lnTo>
                <a:lnTo>
                  <a:pt x="6806" y="6548"/>
                </a:lnTo>
                <a:lnTo>
                  <a:pt x="6816" y="6568"/>
                </a:lnTo>
                <a:lnTo>
                  <a:pt x="6830" y="6592"/>
                </a:lnTo>
                <a:lnTo>
                  <a:pt x="6840" y="6612"/>
                </a:lnTo>
                <a:lnTo>
                  <a:pt x="6848" y="6630"/>
                </a:lnTo>
                <a:lnTo>
                  <a:pt x="6850" y="6644"/>
                </a:lnTo>
                <a:lnTo>
                  <a:pt x="6850" y="6656"/>
                </a:lnTo>
                <a:lnTo>
                  <a:pt x="6846" y="6666"/>
                </a:lnTo>
                <a:lnTo>
                  <a:pt x="6844" y="6672"/>
                </a:lnTo>
                <a:lnTo>
                  <a:pt x="6840" y="6674"/>
                </a:lnTo>
                <a:lnTo>
                  <a:pt x="6836" y="6674"/>
                </a:lnTo>
                <a:lnTo>
                  <a:pt x="6834" y="6672"/>
                </a:lnTo>
                <a:lnTo>
                  <a:pt x="6832" y="6672"/>
                </a:lnTo>
                <a:lnTo>
                  <a:pt x="6830" y="6674"/>
                </a:lnTo>
                <a:lnTo>
                  <a:pt x="6828" y="6676"/>
                </a:lnTo>
                <a:lnTo>
                  <a:pt x="6828" y="6682"/>
                </a:lnTo>
                <a:lnTo>
                  <a:pt x="6830" y="6686"/>
                </a:lnTo>
                <a:lnTo>
                  <a:pt x="6832" y="6694"/>
                </a:lnTo>
                <a:lnTo>
                  <a:pt x="6836" y="6700"/>
                </a:lnTo>
                <a:lnTo>
                  <a:pt x="6846" y="6714"/>
                </a:lnTo>
                <a:lnTo>
                  <a:pt x="6850" y="6722"/>
                </a:lnTo>
                <a:lnTo>
                  <a:pt x="6852" y="6730"/>
                </a:lnTo>
                <a:lnTo>
                  <a:pt x="6848" y="6734"/>
                </a:lnTo>
                <a:lnTo>
                  <a:pt x="6846" y="6738"/>
                </a:lnTo>
                <a:lnTo>
                  <a:pt x="6846" y="6742"/>
                </a:lnTo>
                <a:lnTo>
                  <a:pt x="6848" y="6752"/>
                </a:lnTo>
                <a:lnTo>
                  <a:pt x="6850" y="6758"/>
                </a:lnTo>
                <a:lnTo>
                  <a:pt x="6852" y="6756"/>
                </a:lnTo>
                <a:lnTo>
                  <a:pt x="6854" y="6754"/>
                </a:lnTo>
                <a:lnTo>
                  <a:pt x="6854" y="6750"/>
                </a:lnTo>
                <a:lnTo>
                  <a:pt x="6856" y="6746"/>
                </a:lnTo>
                <a:lnTo>
                  <a:pt x="6858" y="6744"/>
                </a:lnTo>
                <a:lnTo>
                  <a:pt x="6862" y="6744"/>
                </a:lnTo>
                <a:lnTo>
                  <a:pt x="6864" y="6744"/>
                </a:lnTo>
                <a:lnTo>
                  <a:pt x="6866" y="6746"/>
                </a:lnTo>
                <a:lnTo>
                  <a:pt x="6868" y="6748"/>
                </a:lnTo>
                <a:lnTo>
                  <a:pt x="6868" y="6752"/>
                </a:lnTo>
                <a:lnTo>
                  <a:pt x="6870" y="6758"/>
                </a:lnTo>
                <a:lnTo>
                  <a:pt x="6870" y="6760"/>
                </a:lnTo>
                <a:lnTo>
                  <a:pt x="6874" y="6760"/>
                </a:lnTo>
                <a:lnTo>
                  <a:pt x="6876" y="6760"/>
                </a:lnTo>
                <a:lnTo>
                  <a:pt x="6882" y="6762"/>
                </a:lnTo>
                <a:lnTo>
                  <a:pt x="6884" y="6764"/>
                </a:lnTo>
                <a:lnTo>
                  <a:pt x="6886" y="6768"/>
                </a:lnTo>
                <a:lnTo>
                  <a:pt x="6888" y="6774"/>
                </a:lnTo>
                <a:lnTo>
                  <a:pt x="6890" y="6776"/>
                </a:lnTo>
                <a:lnTo>
                  <a:pt x="6894" y="6776"/>
                </a:lnTo>
                <a:lnTo>
                  <a:pt x="6898" y="6780"/>
                </a:lnTo>
                <a:lnTo>
                  <a:pt x="6902" y="6782"/>
                </a:lnTo>
                <a:lnTo>
                  <a:pt x="6906" y="6782"/>
                </a:lnTo>
                <a:lnTo>
                  <a:pt x="6910" y="6782"/>
                </a:lnTo>
                <a:lnTo>
                  <a:pt x="6916" y="6782"/>
                </a:lnTo>
                <a:lnTo>
                  <a:pt x="6918" y="6782"/>
                </a:lnTo>
                <a:lnTo>
                  <a:pt x="6920" y="6782"/>
                </a:lnTo>
                <a:lnTo>
                  <a:pt x="6924" y="6774"/>
                </a:lnTo>
                <a:lnTo>
                  <a:pt x="6932" y="6768"/>
                </a:lnTo>
                <a:lnTo>
                  <a:pt x="6936" y="6764"/>
                </a:lnTo>
                <a:lnTo>
                  <a:pt x="6944" y="6762"/>
                </a:lnTo>
                <a:lnTo>
                  <a:pt x="6956" y="6762"/>
                </a:lnTo>
                <a:lnTo>
                  <a:pt x="6962" y="6764"/>
                </a:lnTo>
                <a:lnTo>
                  <a:pt x="6970" y="6764"/>
                </a:lnTo>
                <a:lnTo>
                  <a:pt x="6982" y="6760"/>
                </a:lnTo>
                <a:lnTo>
                  <a:pt x="6988" y="6758"/>
                </a:lnTo>
                <a:lnTo>
                  <a:pt x="6994" y="6754"/>
                </a:lnTo>
                <a:lnTo>
                  <a:pt x="7000" y="6748"/>
                </a:lnTo>
                <a:lnTo>
                  <a:pt x="7004" y="6742"/>
                </a:lnTo>
                <a:lnTo>
                  <a:pt x="7008" y="6740"/>
                </a:lnTo>
                <a:lnTo>
                  <a:pt x="7012" y="6740"/>
                </a:lnTo>
                <a:lnTo>
                  <a:pt x="7024" y="6740"/>
                </a:lnTo>
                <a:lnTo>
                  <a:pt x="7036" y="6742"/>
                </a:lnTo>
                <a:lnTo>
                  <a:pt x="7046" y="6744"/>
                </a:lnTo>
                <a:lnTo>
                  <a:pt x="7052" y="6744"/>
                </a:lnTo>
                <a:lnTo>
                  <a:pt x="7056" y="6742"/>
                </a:lnTo>
                <a:lnTo>
                  <a:pt x="7062" y="6740"/>
                </a:lnTo>
                <a:lnTo>
                  <a:pt x="7068" y="6742"/>
                </a:lnTo>
                <a:lnTo>
                  <a:pt x="7084" y="6746"/>
                </a:lnTo>
                <a:lnTo>
                  <a:pt x="7092" y="6750"/>
                </a:lnTo>
                <a:lnTo>
                  <a:pt x="7098" y="6750"/>
                </a:lnTo>
                <a:lnTo>
                  <a:pt x="7106" y="6748"/>
                </a:lnTo>
                <a:lnTo>
                  <a:pt x="7112" y="6744"/>
                </a:lnTo>
                <a:lnTo>
                  <a:pt x="7116" y="6740"/>
                </a:lnTo>
                <a:lnTo>
                  <a:pt x="7122" y="6738"/>
                </a:lnTo>
                <a:lnTo>
                  <a:pt x="7128" y="6738"/>
                </a:lnTo>
                <a:lnTo>
                  <a:pt x="7134" y="6740"/>
                </a:lnTo>
                <a:lnTo>
                  <a:pt x="7142" y="6742"/>
                </a:lnTo>
                <a:lnTo>
                  <a:pt x="7144" y="6740"/>
                </a:lnTo>
                <a:lnTo>
                  <a:pt x="7144" y="6734"/>
                </a:lnTo>
                <a:lnTo>
                  <a:pt x="7144" y="6730"/>
                </a:lnTo>
                <a:lnTo>
                  <a:pt x="7148" y="6728"/>
                </a:lnTo>
                <a:lnTo>
                  <a:pt x="7152" y="6726"/>
                </a:lnTo>
                <a:lnTo>
                  <a:pt x="7160" y="6726"/>
                </a:lnTo>
                <a:lnTo>
                  <a:pt x="7168" y="6726"/>
                </a:lnTo>
                <a:lnTo>
                  <a:pt x="7178" y="6726"/>
                </a:lnTo>
                <a:lnTo>
                  <a:pt x="7188" y="6724"/>
                </a:lnTo>
                <a:lnTo>
                  <a:pt x="7196" y="6718"/>
                </a:lnTo>
                <a:lnTo>
                  <a:pt x="7214" y="6704"/>
                </a:lnTo>
                <a:lnTo>
                  <a:pt x="7236" y="6686"/>
                </a:lnTo>
                <a:lnTo>
                  <a:pt x="7262" y="6662"/>
                </a:lnTo>
                <a:lnTo>
                  <a:pt x="7276" y="6646"/>
                </a:lnTo>
                <a:lnTo>
                  <a:pt x="7288" y="6626"/>
                </a:lnTo>
                <a:lnTo>
                  <a:pt x="7296" y="6618"/>
                </a:lnTo>
                <a:lnTo>
                  <a:pt x="7302" y="6610"/>
                </a:lnTo>
                <a:lnTo>
                  <a:pt x="7316" y="6598"/>
                </a:lnTo>
                <a:lnTo>
                  <a:pt x="7324" y="6588"/>
                </a:lnTo>
                <a:lnTo>
                  <a:pt x="7334" y="6574"/>
                </a:lnTo>
                <a:lnTo>
                  <a:pt x="7344" y="6554"/>
                </a:lnTo>
                <a:lnTo>
                  <a:pt x="7356" y="6528"/>
                </a:lnTo>
                <a:lnTo>
                  <a:pt x="7372" y="6498"/>
                </a:lnTo>
                <a:lnTo>
                  <a:pt x="7384" y="6480"/>
                </a:lnTo>
                <a:lnTo>
                  <a:pt x="7396" y="6468"/>
                </a:lnTo>
                <a:lnTo>
                  <a:pt x="7406" y="6460"/>
                </a:lnTo>
                <a:lnTo>
                  <a:pt x="7416" y="6448"/>
                </a:lnTo>
                <a:lnTo>
                  <a:pt x="7424" y="6432"/>
                </a:lnTo>
                <a:lnTo>
                  <a:pt x="7430" y="6406"/>
                </a:lnTo>
                <a:lnTo>
                  <a:pt x="7436" y="6366"/>
                </a:lnTo>
                <a:lnTo>
                  <a:pt x="7438" y="6338"/>
                </a:lnTo>
                <a:lnTo>
                  <a:pt x="7438" y="6332"/>
                </a:lnTo>
                <a:lnTo>
                  <a:pt x="7436" y="6330"/>
                </a:lnTo>
                <a:lnTo>
                  <a:pt x="7430" y="6332"/>
                </a:lnTo>
                <a:lnTo>
                  <a:pt x="7428" y="6330"/>
                </a:lnTo>
                <a:lnTo>
                  <a:pt x="7426" y="6326"/>
                </a:lnTo>
                <a:lnTo>
                  <a:pt x="7426" y="6320"/>
                </a:lnTo>
                <a:lnTo>
                  <a:pt x="7428" y="6312"/>
                </a:lnTo>
                <a:lnTo>
                  <a:pt x="7434" y="6304"/>
                </a:lnTo>
                <a:lnTo>
                  <a:pt x="7440" y="6296"/>
                </a:lnTo>
                <a:lnTo>
                  <a:pt x="7450" y="6288"/>
                </a:lnTo>
                <a:lnTo>
                  <a:pt x="7462" y="6280"/>
                </a:lnTo>
                <a:lnTo>
                  <a:pt x="7474" y="6274"/>
                </a:lnTo>
                <a:lnTo>
                  <a:pt x="7488" y="6268"/>
                </a:lnTo>
                <a:lnTo>
                  <a:pt x="7502" y="6262"/>
                </a:lnTo>
                <a:lnTo>
                  <a:pt x="7514" y="6256"/>
                </a:lnTo>
                <a:lnTo>
                  <a:pt x="7524" y="6248"/>
                </a:lnTo>
                <a:lnTo>
                  <a:pt x="7530" y="6242"/>
                </a:lnTo>
                <a:lnTo>
                  <a:pt x="7536" y="6234"/>
                </a:lnTo>
                <a:lnTo>
                  <a:pt x="7540" y="6226"/>
                </a:lnTo>
                <a:lnTo>
                  <a:pt x="7540" y="6218"/>
                </a:lnTo>
                <a:lnTo>
                  <a:pt x="7538" y="6210"/>
                </a:lnTo>
                <a:lnTo>
                  <a:pt x="7534" y="6206"/>
                </a:lnTo>
                <a:lnTo>
                  <a:pt x="7534" y="6200"/>
                </a:lnTo>
                <a:lnTo>
                  <a:pt x="7536" y="6188"/>
                </a:lnTo>
                <a:lnTo>
                  <a:pt x="7540" y="6172"/>
                </a:lnTo>
                <a:lnTo>
                  <a:pt x="7542" y="6160"/>
                </a:lnTo>
                <a:lnTo>
                  <a:pt x="7542" y="6146"/>
                </a:lnTo>
                <a:lnTo>
                  <a:pt x="7540" y="6126"/>
                </a:lnTo>
                <a:lnTo>
                  <a:pt x="7538" y="6128"/>
                </a:lnTo>
                <a:lnTo>
                  <a:pt x="7536" y="6130"/>
                </a:lnTo>
                <a:lnTo>
                  <a:pt x="7534" y="6130"/>
                </a:lnTo>
                <a:lnTo>
                  <a:pt x="7532" y="6126"/>
                </a:lnTo>
                <a:lnTo>
                  <a:pt x="7530" y="6118"/>
                </a:lnTo>
                <a:lnTo>
                  <a:pt x="7526" y="6090"/>
                </a:lnTo>
                <a:lnTo>
                  <a:pt x="7524" y="6074"/>
                </a:lnTo>
                <a:lnTo>
                  <a:pt x="7522" y="6064"/>
                </a:lnTo>
                <a:lnTo>
                  <a:pt x="7512" y="6052"/>
                </a:lnTo>
                <a:lnTo>
                  <a:pt x="7508" y="6046"/>
                </a:lnTo>
                <a:lnTo>
                  <a:pt x="7506" y="6042"/>
                </a:lnTo>
                <a:lnTo>
                  <a:pt x="7506" y="6034"/>
                </a:lnTo>
                <a:lnTo>
                  <a:pt x="7508" y="6026"/>
                </a:lnTo>
                <a:lnTo>
                  <a:pt x="7508" y="6016"/>
                </a:lnTo>
                <a:lnTo>
                  <a:pt x="7508" y="6010"/>
                </a:lnTo>
                <a:lnTo>
                  <a:pt x="7514" y="6008"/>
                </a:lnTo>
                <a:lnTo>
                  <a:pt x="7518" y="6008"/>
                </a:lnTo>
                <a:lnTo>
                  <a:pt x="7524" y="6004"/>
                </a:lnTo>
                <a:lnTo>
                  <a:pt x="7530" y="5998"/>
                </a:lnTo>
                <a:lnTo>
                  <a:pt x="7540" y="5988"/>
                </a:lnTo>
                <a:lnTo>
                  <a:pt x="7548" y="5976"/>
                </a:lnTo>
                <a:lnTo>
                  <a:pt x="7556" y="5972"/>
                </a:lnTo>
                <a:lnTo>
                  <a:pt x="7566" y="5966"/>
                </a:lnTo>
                <a:lnTo>
                  <a:pt x="7570" y="5964"/>
                </a:lnTo>
                <a:lnTo>
                  <a:pt x="7576" y="5960"/>
                </a:lnTo>
                <a:lnTo>
                  <a:pt x="7582" y="5950"/>
                </a:lnTo>
                <a:lnTo>
                  <a:pt x="7590" y="5936"/>
                </a:lnTo>
                <a:lnTo>
                  <a:pt x="7600" y="5918"/>
                </a:lnTo>
                <a:lnTo>
                  <a:pt x="7610" y="5906"/>
                </a:lnTo>
                <a:lnTo>
                  <a:pt x="7620" y="5896"/>
                </a:lnTo>
                <a:lnTo>
                  <a:pt x="7630" y="5888"/>
                </a:lnTo>
                <a:lnTo>
                  <a:pt x="7640" y="5884"/>
                </a:lnTo>
                <a:lnTo>
                  <a:pt x="7650" y="5880"/>
                </a:lnTo>
                <a:lnTo>
                  <a:pt x="7670" y="5874"/>
                </a:lnTo>
                <a:lnTo>
                  <a:pt x="7680" y="5868"/>
                </a:lnTo>
                <a:lnTo>
                  <a:pt x="7690" y="5862"/>
                </a:lnTo>
                <a:lnTo>
                  <a:pt x="7698" y="5854"/>
                </a:lnTo>
                <a:lnTo>
                  <a:pt x="7708" y="5844"/>
                </a:lnTo>
                <a:lnTo>
                  <a:pt x="7724" y="5822"/>
                </a:lnTo>
                <a:lnTo>
                  <a:pt x="7742" y="5792"/>
                </a:lnTo>
                <a:lnTo>
                  <a:pt x="7748" y="5778"/>
                </a:lnTo>
                <a:lnTo>
                  <a:pt x="7748" y="5774"/>
                </a:lnTo>
                <a:lnTo>
                  <a:pt x="7748" y="5772"/>
                </a:lnTo>
                <a:lnTo>
                  <a:pt x="7752" y="5762"/>
                </a:lnTo>
                <a:lnTo>
                  <a:pt x="7756" y="5754"/>
                </a:lnTo>
                <a:lnTo>
                  <a:pt x="7756" y="5748"/>
                </a:lnTo>
                <a:lnTo>
                  <a:pt x="7754" y="5744"/>
                </a:lnTo>
                <a:lnTo>
                  <a:pt x="7752" y="5742"/>
                </a:lnTo>
                <a:lnTo>
                  <a:pt x="7748" y="5736"/>
                </a:lnTo>
                <a:lnTo>
                  <a:pt x="7744" y="5730"/>
                </a:lnTo>
                <a:lnTo>
                  <a:pt x="7742" y="5720"/>
                </a:lnTo>
                <a:lnTo>
                  <a:pt x="7742" y="5706"/>
                </a:lnTo>
                <a:lnTo>
                  <a:pt x="7744" y="5654"/>
                </a:lnTo>
                <a:lnTo>
                  <a:pt x="7742" y="5632"/>
                </a:lnTo>
                <a:lnTo>
                  <a:pt x="7738" y="5610"/>
                </a:lnTo>
                <a:lnTo>
                  <a:pt x="7738" y="5596"/>
                </a:lnTo>
                <a:lnTo>
                  <a:pt x="7740" y="5588"/>
                </a:lnTo>
                <a:lnTo>
                  <a:pt x="7742" y="5582"/>
                </a:lnTo>
                <a:lnTo>
                  <a:pt x="7746" y="5578"/>
                </a:lnTo>
                <a:lnTo>
                  <a:pt x="7748" y="5576"/>
                </a:lnTo>
                <a:lnTo>
                  <a:pt x="7748" y="5570"/>
                </a:lnTo>
                <a:lnTo>
                  <a:pt x="7746" y="5562"/>
                </a:lnTo>
                <a:lnTo>
                  <a:pt x="7738" y="5550"/>
                </a:lnTo>
                <a:lnTo>
                  <a:pt x="7728" y="5538"/>
                </a:lnTo>
                <a:lnTo>
                  <a:pt x="7722" y="5536"/>
                </a:lnTo>
                <a:lnTo>
                  <a:pt x="7716" y="5532"/>
                </a:lnTo>
                <a:lnTo>
                  <a:pt x="7712" y="5524"/>
                </a:lnTo>
                <a:lnTo>
                  <a:pt x="7708" y="5512"/>
                </a:lnTo>
                <a:lnTo>
                  <a:pt x="7708" y="5502"/>
                </a:lnTo>
                <a:lnTo>
                  <a:pt x="7704" y="5488"/>
                </a:lnTo>
                <a:lnTo>
                  <a:pt x="7696" y="5466"/>
                </a:lnTo>
                <a:lnTo>
                  <a:pt x="7692" y="5454"/>
                </a:lnTo>
                <a:lnTo>
                  <a:pt x="7692" y="5446"/>
                </a:lnTo>
                <a:lnTo>
                  <a:pt x="7692" y="5440"/>
                </a:lnTo>
                <a:lnTo>
                  <a:pt x="7694" y="5436"/>
                </a:lnTo>
                <a:lnTo>
                  <a:pt x="7698" y="5432"/>
                </a:lnTo>
                <a:lnTo>
                  <a:pt x="7700" y="5428"/>
                </a:lnTo>
                <a:lnTo>
                  <a:pt x="7700" y="5422"/>
                </a:lnTo>
                <a:lnTo>
                  <a:pt x="7696" y="5414"/>
                </a:lnTo>
                <a:lnTo>
                  <a:pt x="7694" y="5402"/>
                </a:lnTo>
                <a:lnTo>
                  <a:pt x="7692" y="5396"/>
                </a:lnTo>
                <a:lnTo>
                  <a:pt x="7694" y="5390"/>
                </a:lnTo>
                <a:lnTo>
                  <a:pt x="7696" y="5388"/>
                </a:lnTo>
                <a:lnTo>
                  <a:pt x="7700" y="5386"/>
                </a:lnTo>
                <a:lnTo>
                  <a:pt x="7700" y="5384"/>
                </a:lnTo>
                <a:lnTo>
                  <a:pt x="7700" y="5380"/>
                </a:lnTo>
                <a:lnTo>
                  <a:pt x="7698" y="5374"/>
                </a:lnTo>
                <a:lnTo>
                  <a:pt x="7686" y="5360"/>
                </a:lnTo>
                <a:lnTo>
                  <a:pt x="7676" y="5348"/>
                </a:lnTo>
                <a:lnTo>
                  <a:pt x="7672" y="5340"/>
                </a:lnTo>
                <a:lnTo>
                  <a:pt x="7670" y="5330"/>
                </a:lnTo>
                <a:lnTo>
                  <a:pt x="7672" y="5318"/>
                </a:lnTo>
                <a:lnTo>
                  <a:pt x="7676" y="5304"/>
                </a:lnTo>
                <a:lnTo>
                  <a:pt x="7680" y="5294"/>
                </a:lnTo>
                <a:lnTo>
                  <a:pt x="7682" y="5286"/>
                </a:lnTo>
                <a:lnTo>
                  <a:pt x="7686" y="5278"/>
                </a:lnTo>
                <a:lnTo>
                  <a:pt x="7692" y="5264"/>
                </a:lnTo>
                <a:lnTo>
                  <a:pt x="7708" y="5240"/>
                </a:lnTo>
                <a:lnTo>
                  <a:pt x="7712" y="5228"/>
                </a:lnTo>
                <a:lnTo>
                  <a:pt x="7714" y="5214"/>
                </a:lnTo>
                <a:lnTo>
                  <a:pt x="7716" y="5208"/>
                </a:lnTo>
                <a:lnTo>
                  <a:pt x="7718" y="5204"/>
                </a:lnTo>
                <a:lnTo>
                  <a:pt x="7724" y="5202"/>
                </a:lnTo>
                <a:lnTo>
                  <a:pt x="7726" y="5200"/>
                </a:lnTo>
                <a:lnTo>
                  <a:pt x="7728" y="5198"/>
                </a:lnTo>
                <a:lnTo>
                  <a:pt x="7728" y="5192"/>
                </a:lnTo>
                <a:lnTo>
                  <a:pt x="7728" y="5182"/>
                </a:lnTo>
                <a:lnTo>
                  <a:pt x="7728" y="5170"/>
                </a:lnTo>
                <a:lnTo>
                  <a:pt x="7732" y="5164"/>
                </a:lnTo>
                <a:lnTo>
                  <a:pt x="7736" y="5160"/>
                </a:lnTo>
                <a:lnTo>
                  <a:pt x="7744" y="5158"/>
                </a:lnTo>
                <a:lnTo>
                  <a:pt x="7754" y="5154"/>
                </a:lnTo>
                <a:lnTo>
                  <a:pt x="7758" y="5150"/>
                </a:lnTo>
                <a:lnTo>
                  <a:pt x="7758" y="5144"/>
                </a:lnTo>
                <a:lnTo>
                  <a:pt x="7756" y="5136"/>
                </a:lnTo>
                <a:lnTo>
                  <a:pt x="7760" y="5136"/>
                </a:lnTo>
                <a:lnTo>
                  <a:pt x="7764" y="5134"/>
                </a:lnTo>
                <a:lnTo>
                  <a:pt x="7770" y="5132"/>
                </a:lnTo>
                <a:lnTo>
                  <a:pt x="7776" y="5126"/>
                </a:lnTo>
                <a:lnTo>
                  <a:pt x="7786" y="5116"/>
                </a:lnTo>
                <a:lnTo>
                  <a:pt x="7792" y="5106"/>
                </a:lnTo>
                <a:lnTo>
                  <a:pt x="7796" y="5098"/>
                </a:lnTo>
                <a:lnTo>
                  <a:pt x="7798" y="5088"/>
                </a:lnTo>
                <a:lnTo>
                  <a:pt x="7800" y="5082"/>
                </a:lnTo>
                <a:lnTo>
                  <a:pt x="7804" y="5074"/>
                </a:lnTo>
                <a:lnTo>
                  <a:pt x="7814" y="5062"/>
                </a:lnTo>
                <a:lnTo>
                  <a:pt x="7826" y="5046"/>
                </a:lnTo>
                <a:lnTo>
                  <a:pt x="7854" y="5016"/>
                </a:lnTo>
                <a:lnTo>
                  <a:pt x="7874" y="4990"/>
                </a:lnTo>
                <a:lnTo>
                  <a:pt x="7898" y="4966"/>
                </a:lnTo>
                <a:lnTo>
                  <a:pt x="7936" y="4934"/>
                </a:lnTo>
                <a:lnTo>
                  <a:pt x="7960" y="4914"/>
                </a:lnTo>
                <a:lnTo>
                  <a:pt x="7984" y="4892"/>
                </a:lnTo>
                <a:lnTo>
                  <a:pt x="8008" y="4864"/>
                </a:lnTo>
                <a:lnTo>
                  <a:pt x="8030" y="4834"/>
                </a:lnTo>
                <a:lnTo>
                  <a:pt x="8050" y="4802"/>
                </a:lnTo>
                <a:lnTo>
                  <a:pt x="8070" y="4766"/>
                </a:lnTo>
                <a:lnTo>
                  <a:pt x="8090" y="4726"/>
                </a:lnTo>
                <a:lnTo>
                  <a:pt x="8108" y="4682"/>
                </a:lnTo>
                <a:lnTo>
                  <a:pt x="8116" y="4658"/>
                </a:lnTo>
                <a:lnTo>
                  <a:pt x="8126" y="4638"/>
                </a:lnTo>
                <a:lnTo>
                  <a:pt x="8142" y="4606"/>
                </a:lnTo>
                <a:lnTo>
                  <a:pt x="8154" y="4582"/>
                </a:lnTo>
                <a:lnTo>
                  <a:pt x="8158" y="4570"/>
                </a:lnTo>
                <a:lnTo>
                  <a:pt x="8160" y="4558"/>
                </a:lnTo>
                <a:lnTo>
                  <a:pt x="8162" y="4542"/>
                </a:lnTo>
                <a:lnTo>
                  <a:pt x="8166" y="4534"/>
                </a:lnTo>
                <a:lnTo>
                  <a:pt x="8172" y="4530"/>
                </a:lnTo>
                <a:lnTo>
                  <a:pt x="8176" y="4530"/>
                </a:lnTo>
                <a:lnTo>
                  <a:pt x="8180" y="4532"/>
                </a:lnTo>
                <a:lnTo>
                  <a:pt x="8182" y="4532"/>
                </a:lnTo>
                <a:lnTo>
                  <a:pt x="8174" y="4518"/>
                </a:lnTo>
                <a:lnTo>
                  <a:pt x="8168" y="4508"/>
                </a:lnTo>
                <a:lnTo>
                  <a:pt x="8168" y="4496"/>
                </a:lnTo>
                <a:lnTo>
                  <a:pt x="8168" y="4486"/>
                </a:lnTo>
                <a:lnTo>
                  <a:pt x="8172" y="4478"/>
                </a:lnTo>
                <a:lnTo>
                  <a:pt x="8174" y="4470"/>
                </a:lnTo>
                <a:lnTo>
                  <a:pt x="8174" y="4464"/>
                </a:lnTo>
                <a:lnTo>
                  <a:pt x="8172" y="4460"/>
                </a:lnTo>
                <a:lnTo>
                  <a:pt x="8166" y="4456"/>
                </a:lnTo>
                <a:lnTo>
                  <a:pt x="8158" y="4454"/>
                </a:lnTo>
                <a:lnTo>
                  <a:pt x="8150" y="4458"/>
                </a:lnTo>
                <a:lnTo>
                  <a:pt x="8134" y="4468"/>
                </a:lnTo>
                <a:lnTo>
                  <a:pt x="8124" y="4474"/>
                </a:lnTo>
                <a:lnTo>
                  <a:pt x="8112" y="4480"/>
                </a:lnTo>
                <a:lnTo>
                  <a:pt x="8098" y="4484"/>
                </a:lnTo>
                <a:lnTo>
                  <a:pt x="8080" y="4486"/>
                </a:lnTo>
                <a:lnTo>
                  <a:pt x="8064" y="4486"/>
                </a:lnTo>
                <a:lnTo>
                  <a:pt x="8056" y="4488"/>
                </a:lnTo>
                <a:lnTo>
                  <a:pt x="8052" y="4490"/>
                </a:lnTo>
                <a:lnTo>
                  <a:pt x="8050" y="4492"/>
                </a:lnTo>
                <a:lnTo>
                  <a:pt x="8050" y="4494"/>
                </a:lnTo>
                <a:lnTo>
                  <a:pt x="8048" y="4496"/>
                </a:lnTo>
                <a:lnTo>
                  <a:pt x="8044" y="4496"/>
                </a:lnTo>
                <a:lnTo>
                  <a:pt x="8034" y="4496"/>
                </a:lnTo>
                <a:lnTo>
                  <a:pt x="8022" y="4496"/>
                </a:lnTo>
                <a:lnTo>
                  <a:pt x="8014" y="4498"/>
                </a:lnTo>
                <a:lnTo>
                  <a:pt x="8006" y="4502"/>
                </a:lnTo>
                <a:lnTo>
                  <a:pt x="8000" y="4508"/>
                </a:lnTo>
                <a:lnTo>
                  <a:pt x="7994" y="4512"/>
                </a:lnTo>
                <a:lnTo>
                  <a:pt x="7988" y="4516"/>
                </a:lnTo>
                <a:lnTo>
                  <a:pt x="7980" y="4516"/>
                </a:lnTo>
                <a:lnTo>
                  <a:pt x="7968" y="4514"/>
                </a:lnTo>
                <a:lnTo>
                  <a:pt x="7956" y="4510"/>
                </a:lnTo>
                <a:lnTo>
                  <a:pt x="7948" y="4512"/>
                </a:lnTo>
                <a:lnTo>
                  <a:pt x="7940" y="4516"/>
                </a:lnTo>
                <a:lnTo>
                  <a:pt x="7932" y="4522"/>
                </a:lnTo>
                <a:lnTo>
                  <a:pt x="7924" y="4526"/>
                </a:lnTo>
                <a:lnTo>
                  <a:pt x="7918" y="4530"/>
                </a:lnTo>
                <a:lnTo>
                  <a:pt x="7908" y="4532"/>
                </a:lnTo>
                <a:lnTo>
                  <a:pt x="7898" y="4530"/>
                </a:lnTo>
                <a:lnTo>
                  <a:pt x="7888" y="4524"/>
                </a:lnTo>
                <a:lnTo>
                  <a:pt x="7880" y="4518"/>
                </a:lnTo>
                <a:lnTo>
                  <a:pt x="7874" y="4512"/>
                </a:lnTo>
                <a:lnTo>
                  <a:pt x="7870" y="4504"/>
                </a:lnTo>
                <a:lnTo>
                  <a:pt x="7862" y="4490"/>
                </a:lnTo>
                <a:lnTo>
                  <a:pt x="7858" y="4484"/>
                </a:lnTo>
                <a:lnTo>
                  <a:pt x="7852" y="4476"/>
                </a:lnTo>
                <a:lnTo>
                  <a:pt x="7848" y="4472"/>
                </a:lnTo>
                <a:lnTo>
                  <a:pt x="7842" y="4472"/>
                </a:lnTo>
                <a:lnTo>
                  <a:pt x="7832" y="4472"/>
                </a:lnTo>
                <a:lnTo>
                  <a:pt x="7830" y="4472"/>
                </a:lnTo>
                <a:lnTo>
                  <a:pt x="7832" y="4470"/>
                </a:lnTo>
                <a:lnTo>
                  <a:pt x="7848" y="4458"/>
                </a:lnTo>
                <a:lnTo>
                  <a:pt x="7854" y="4454"/>
                </a:lnTo>
                <a:lnTo>
                  <a:pt x="7856" y="4448"/>
                </a:lnTo>
                <a:lnTo>
                  <a:pt x="7858" y="4444"/>
                </a:lnTo>
                <a:lnTo>
                  <a:pt x="7856" y="4438"/>
                </a:lnTo>
                <a:lnTo>
                  <a:pt x="7852" y="4428"/>
                </a:lnTo>
                <a:lnTo>
                  <a:pt x="7846" y="4414"/>
                </a:lnTo>
                <a:lnTo>
                  <a:pt x="7842" y="4412"/>
                </a:lnTo>
                <a:lnTo>
                  <a:pt x="7836" y="4410"/>
                </a:lnTo>
                <a:lnTo>
                  <a:pt x="7832" y="4408"/>
                </a:lnTo>
                <a:lnTo>
                  <a:pt x="7826" y="4400"/>
                </a:lnTo>
                <a:lnTo>
                  <a:pt x="7824" y="4394"/>
                </a:lnTo>
                <a:lnTo>
                  <a:pt x="7822" y="4392"/>
                </a:lnTo>
                <a:lnTo>
                  <a:pt x="7818" y="4388"/>
                </a:lnTo>
                <a:lnTo>
                  <a:pt x="7814" y="4380"/>
                </a:lnTo>
                <a:lnTo>
                  <a:pt x="7808" y="4370"/>
                </a:lnTo>
                <a:lnTo>
                  <a:pt x="7808" y="4368"/>
                </a:lnTo>
                <a:lnTo>
                  <a:pt x="7808" y="4370"/>
                </a:lnTo>
                <a:lnTo>
                  <a:pt x="7806" y="4370"/>
                </a:lnTo>
                <a:lnTo>
                  <a:pt x="7802" y="4364"/>
                </a:lnTo>
                <a:lnTo>
                  <a:pt x="7798" y="4360"/>
                </a:lnTo>
                <a:lnTo>
                  <a:pt x="7796" y="4358"/>
                </a:lnTo>
                <a:lnTo>
                  <a:pt x="7792" y="4358"/>
                </a:lnTo>
                <a:lnTo>
                  <a:pt x="7790" y="4356"/>
                </a:lnTo>
                <a:lnTo>
                  <a:pt x="7786" y="4354"/>
                </a:lnTo>
                <a:lnTo>
                  <a:pt x="7782" y="4348"/>
                </a:lnTo>
                <a:lnTo>
                  <a:pt x="7776" y="4336"/>
                </a:lnTo>
                <a:lnTo>
                  <a:pt x="7770" y="4326"/>
                </a:lnTo>
                <a:lnTo>
                  <a:pt x="7766" y="4320"/>
                </a:lnTo>
                <a:lnTo>
                  <a:pt x="7762" y="4320"/>
                </a:lnTo>
                <a:lnTo>
                  <a:pt x="7760" y="4320"/>
                </a:lnTo>
                <a:lnTo>
                  <a:pt x="7758" y="4320"/>
                </a:lnTo>
                <a:lnTo>
                  <a:pt x="7756" y="4320"/>
                </a:lnTo>
                <a:lnTo>
                  <a:pt x="7752" y="4318"/>
                </a:lnTo>
                <a:lnTo>
                  <a:pt x="7748" y="4312"/>
                </a:lnTo>
                <a:lnTo>
                  <a:pt x="7744" y="4306"/>
                </a:lnTo>
                <a:lnTo>
                  <a:pt x="7742" y="4304"/>
                </a:lnTo>
                <a:lnTo>
                  <a:pt x="7740" y="4306"/>
                </a:lnTo>
                <a:lnTo>
                  <a:pt x="7736" y="4308"/>
                </a:lnTo>
                <a:lnTo>
                  <a:pt x="7734" y="4308"/>
                </a:lnTo>
                <a:lnTo>
                  <a:pt x="7732" y="4306"/>
                </a:lnTo>
                <a:lnTo>
                  <a:pt x="7726" y="4300"/>
                </a:lnTo>
                <a:lnTo>
                  <a:pt x="7720" y="4288"/>
                </a:lnTo>
                <a:lnTo>
                  <a:pt x="7716" y="4280"/>
                </a:lnTo>
                <a:lnTo>
                  <a:pt x="7714" y="4276"/>
                </a:lnTo>
                <a:lnTo>
                  <a:pt x="7714" y="4278"/>
                </a:lnTo>
                <a:lnTo>
                  <a:pt x="7712" y="4284"/>
                </a:lnTo>
                <a:lnTo>
                  <a:pt x="7714" y="4296"/>
                </a:lnTo>
                <a:lnTo>
                  <a:pt x="7712" y="4300"/>
                </a:lnTo>
                <a:lnTo>
                  <a:pt x="7710" y="4300"/>
                </a:lnTo>
                <a:lnTo>
                  <a:pt x="7708" y="4298"/>
                </a:lnTo>
                <a:lnTo>
                  <a:pt x="7706" y="4292"/>
                </a:lnTo>
                <a:lnTo>
                  <a:pt x="7702" y="4282"/>
                </a:lnTo>
                <a:lnTo>
                  <a:pt x="7696" y="4266"/>
                </a:lnTo>
                <a:lnTo>
                  <a:pt x="7692" y="4254"/>
                </a:lnTo>
                <a:lnTo>
                  <a:pt x="7688" y="4242"/>
                </a:lnTo>
                <a:lnTo>
                  <a:pt x="7684" y="4212"/>
                </a:lnTo>
                <a:lnTo>
                  <a:pt x="7680" y="4196"/>
                </a:lnTo>
                <a:lnTo>
                  <a:pt x="7676" y="4182"/>
                </a:lnTo>
                <a:lnTo>
                  <a:pt x="7672" y="4166"/>
                </a:lnTo>
                <a:lnTo>
                  <a:pt x="7664" y="4154"/>
                </a:lnTo>
                <a:lnTo>
                  <a:pt x="7656" y="4142"/>
                </a:lnTo>
                <a:lnTo>
                  <a:pt x="7652" y="4140"/>
                </a:lnTo>
                <a:lnTo>
                  <a:pt x="7648" y="4142"/>
                </a:lnTo>
                <a:lnTo>
                  <a:pt x="7646" y="4142"/>
                </a:lnTo>
                <a:lnTo>
                  <a:pt x="7644" y="4140"/>
                </a:lnTo>
                <a:lnTo>
                  <a:pt x="7640" y="4132"/>
                </a:lnTo>
                <a:lnTo>
                  <a:pt x="7634" y="4124"/>
                </a:lnTo>
                <a:lnTo>
                  <a:pt x="7630" y="4120"/>
                </a:lnTo>
                <a:lnTo>
                  <a:pt x="7626" y="4120"/>
                </a:lnTo>
                <a:lnTo>
                  <a:pt x="7624" y="4120"/>
                </a:lnTo>
                <a:lnTo>
                  <a:pt x="7622" y="4118"/>
                </a:lnTo>
                <a:lnTo>
                  <a:pt x="7618" y="4110"/>
                </a:lnTo>
                <a:lnTo>
                  <a:pt x="7614" y="4098"/>
                </a:lnTo>
                <a:lnTo>
                  <a:pt x="7610" y="4084"/>
                </a:lnTo>
                <a:lnTo>
                  <a:pt x="7606" y="4056"/>
                </a:lnTo>
                <a:lnTo>
                  <a:pt x="7606" y="4046"/>
                </a:lnTo>
                <a:lnTo>
                  <a:pt x="7606" y="4040"/>
                </a:lnTo>
                <a:lnTo>
                  <a:pt x="7608" y="4032"/>
                </a:lnTo>
                <a:lnTo>
                  <a:pt x="7608" y="4024"/>
                </a:lnTo>
                <a:lnTo>
                  <a:pt x="7606" y="4014"/>
                </a:lnTo>
                <a:lnTo>
                  <a:pt x="7602" y="4006"/>
                </a:lnTo>
                <a:lnTo>
                  <a:pt x="7604" y="4004"/>
                </a:lnTo>
                <a:lnTo>
                  <a:pt x="7608" y="4004"/>
                </a:lnTo>
                <a:lnTo>
                  <a:pt x="7612" y="4006"/>
                </a:lnTo>
                <a:lnTo>
                  <a:pt x="7614" y="4004"/>
                </a:lnTo>
                <a:lnTo>
                  <a:pt x="7610" y="3996"/>
                </a:lnTo>
                <a:lnTo>
                  <a:pt x="7602" y="3982"/>
                </a:lnTo>
                <a:lnTo>
                  <a:pt x="7598" y="3970"/>
                </a:lnTo>
                <a:lnTo>
                  <a:pt x="7596" y="3958"/>
                </a:lnTo>
                <a:lnTo>
                  <a:pt x="7594" y="3950"/>
                </a:lnTo>
                <a:lnTo>
                  <a:pt x="7592" y="3944"/>
                </a:lnTo>
                <a:lnTo>
                  <a:pt x="7588" y="3942"/>
                </a:lnTo>
                <a:lnTo>
                  <a:pt x="7582" y="3940"/>
                </a:lnTo>
                <a:lnTo>
                  <a:pt x="7578" y="3938"/>
                </a:lnTo>
                <a:lnTo>
                  <a:pt x="7574" y="3936"/>
                </a:lnTo>
                <a:lnTo>
                  <a:pt x="7572" y="3928"/>
                </a:lnTo>
                <a:lnTo>
                  <a:pt x="7568" y="3922"/>
                </a:lnTo>
                <a:lnTo>
                  <a:pt x="7564" y="3920"/>
                </a:lnTo>
                <a:lnTo>
                  <a:pt x="7558" y="3918"/>
                </a:lnTo>
                <a:lnTo>
                  <a:pt x="7554" y="3918"/>
                </a:lnTo>
                <a:lnTo>
                  <a:pt x="7550" y="3914"/>
                </a:lnTo>
                <a:lnTo>
                  <a:pt x="7544" y="3902"/>
                </a:lnTo>
                <a:lnTo>
                  <a:pt x="7538" y="3908"/>
                </a:lnTo>
                <a:lnTo>
                  <a:pt x="7544" y="3902"/>
                </a:lnTo>
                <a:lnTo>
                  <a:pt x="7538" y="3886"/>
                </a:lnTo>
                <a:lnTo>
                  <a:pt x="7536" y="3872"/>
                </a:lnTo>
                <a:lnTo>
                  <a:pt x="7536" y="3866"/>
                </a:lnTo>
                <a:lnTo>
                  <a:pt x="7538" y="3860"/>
                </a:lnTo>
                <a:lnTo>
                  <a:pt x="7542" y="3858"/>
                </a:lnTo>
                <a:lnTo>
                  <a:pt x="7546" y="3856"/>
                </a:lnTo>
                <a:lnTo>
                  <a:pt x="7550" y="3856"/>
                </a:lnTo>
                <a:lnTo>
                  <a:pt x="7542" y="3852"/>
                </a:lnTo>
                <a:lnTo>
                  <a:pt x="7538" y="3848"/>
                </a:lnTo>
                <a:lnTo>
                  <a:pt x="7532" y="3840"/>
                </a:lnTo>
                <a:lnTo>
                  <a:pt x="7526" y="3830"/>
                </a:lnTo>
                <a:lnTo>
                  <a:pt x="7520" y="3818"/>
                </a:lnTo>
                <a:lnTo>
                  <a:pt x="7512" y="3798"/>
                </a:lnTo>
                <a:lnTo>
                  <a:pt x="7504" y="3780"/>
                </a:lnTo>
                <a:lnTo>
                  <a:pt x="7488" y="3750"/>
                </a:lnTo>
                <a:lnTo>
                  <a:pt x="7476" y="3728"/>
                </a:lnTo>
                <a:lnTo>
                  <a:pt x="7474" y="3718"/>
                </a:lnTo>
                <a:lnTo>
                  <a:pt x="7474" y="3710"/>
                </a:lnTo>
                <a:lnTo>
                  <a:pt x="7476" y="3704"/>
                </a:lnTo>
                <a:lnTo>
                  <a:pt x="7474" y="3700"/>
                </a:lnTo>
                <a:lnTo>
                  <a:pt x="7470" y="3690"/>
                </a:lnTo>
                <a:lnTo>
                  <a:pt x="7464" y="3680"/>
                </a:lnTo>
                <a:lnTo>
                  <a:pt x="7462" y="3674"/>
                </a:lnTo>
                <a:lnTo>
                  <a:pt x="7460" y="3668"/>
                </a:lnTo>
                <a:lnTo>
                  <a:pt x="7460" y="3658"/>
                </a:lnTo>
                <a:lnTo>
                  <a:pt x="7454" y="3648"/>
                </a:lnTo>
                <a:lnTo>
                  <a:pt x="7440" y="3628"/>
                </a:lnTo>
                <a:lnTo>
                  <a:pt x="7426" y="3608"/>
                </a:lnTo>
                <a:lnTo>
                  <a:pt x="7422" y="3598"/>
                </a:lnTo>
                <a:lnTo>
                  <a:pt x="7420" y="3588"/>
                </a:lnTo>
                <a:lnTo>
                  <a:pt x="7420" y="3582"/>
                </a:lnTo>
                <a:lnTo>
                  <a:pt x="7418" y="3576"/>
                </a:lnTo>
                <a:lnTo>
                  <a:pt x="7414" y="3570"/>
                </a:lnTo>
                <a:lnTo>
                  <a:pt x="7412" y="3568"/>
                </a:lnTo>
                <a:lnTo>
                  <a:pt x="7412" y="3562"/>
                </a:lnTo>
                <a:lnTo>
                  <a:pt x="7414" y="3556"/>
                </a:lnTo>
                <a:lnTo>
                  <a:pt x="7420" y="3546"/>
                </a:lnTo>
                <a:lnTo>
                  <a:pt x="7422" y="3550"/>
                </a:lnTo>
                <a:lnTo>
                  <a:pt x="7424" y="3552"/>
                </a:lnTo>
                <a:lnTo>
                  <a:pt x="7424" y="3560"/>
                </a:lnTo>
                <a:lnTo>
                  <a:pt x="7426" y="3570"/>
                </a:lnTo>
                <a:lnTo>
                  <a:pt x="7428" y="3576"/>
                </a:lnTo>
                <a:lnTo>
                  <a:pt x="7434" y="3584"/>
                </a:lnTo>
                <a:lnTo>
                  <a:pt x="7438" y="3590"/>
                </a:lnTo>
                <a:lnTo>
                  <a:pt x="7442" y="3594"/>
                </a:lnTo>
                <a:lnTo>
                  <a:pt x="7444" y="3606"/>
                </a:lnTo>
                <a:lnTo>
                  <a:pt x="7446" y="3618"/>
                </a:lnTo>
                <a:lnTo>
                  <a:pt x="7450" y="3622"/>
                </a:lnTo>
                <a:lnTo>
                  <a:pt x="7454" y="3628"/>
                </a:lnTo>
                <a:lnTo>
                  <a:pt x="7468" y="3644"/>
                </a:lnTo>
                <a:lnTo>
                  <a:pt x="7478" y="3658"/>
                </a:lnTo>
                <a:lnTo>
                  <a:pt x="7480" y="3660"/>
                </a:lnTo>
                <a:lnTo>
                  <a:pt x="7484" y="3662"/>
                </a:lnTo>
                <a:lnTo>
                  <a:pt x="7486" y="3662"/>
                </a:lnTo>
                <a:lnTo>
                  <a:pt x="7490" y="3658"/>
                </a:lnTo>
                <a:lnTo>
                  <a:pt x="7494" y="3644"/>
                </a:lnTo>
                <a:lnTo>
                  <a:pt x="7496" y="3632"/>
                </a:lnTo>
                <a:lnTo>
                  <a:pt x="7502" y="3610"/>
                </a:lnTo>
                <a:lnTo>
                  <a:pt x="7514" y="3572"/>
                </a:lnTo>
                <a:lnTo>
                  <a:pt x="7516" y="3568"/>
                </a:lnTo>
                <a:lnTo>
                  <a:pt x="7516" y="3572"/>
                </a:lnTo>
                <a:lnTo>
                  <a:pt x="7516" y="3578"/>
                </a:lnTo>
                <a:lnTo>
                  <a:pt x="7510" y="3602"/>
                </a:lnTo>
                <a:lnTo>
                  <a:pt x="7510" y="3614"/>
                </a:lnTo>
                <a:lnTo>
                  <a:pt x="7510" y="3620"/>
                </a:lnTo>
                <a:lnTo>
                  <a:pt x="7508" y="3630"/>
                </a:lnTo>
                <a:lnTo>
                  <a:pt x="7502" y="3644"/>
                </a:lnTo>
                <a:lnTo>
                  <a:pt x="7502" y="3646"/>
                </a:lnTo>
                <a:lnTo>
                  <a:pt x="7508" y="3644"/>
                </a:lnTo>
                <a:lnTo>
                  <a:pt x="7512" y="3644"/>
                </a:lnTo>
                <a:lnTo>
                  <a:pt x="7518" y="3644"/>
                </a:lnTo>
                <a:lnTo>
                  <a:pt x="7522" y="3646"/>
                </a:lnTo>
                <a:lnTo>
                  <a:pt x="7526" y="3648"/>
                </a:lnTo>
                <a:lnTo>
                  <a:pt x="7532" y="3658"/>
                </a:lnTo>
                <a:lnTo>
                  <a:pt x="7548" y="3688"/>
                </a:lnTo>
                <a:lnTo>
                  <a:pt x="7564" y="3722"/>
                </a:lnTo>
                <a:lnTo>
                  <a:pt x="7572" y="3736"/>
                </a:lnTo>
                <a:lnTo>
                  <a:pt x="7580" y="3746"/>
                </a:lnTo>
                <a:lnTo>
                  <a:pt x="7584" y="3752"/>
                </a:lnTo>
                <a:lnTo>
                  <a:pt x="7586" y="3756"/>
                </a:lnTo>
                <a:lnTo>
                  <a:pt x="7586" y="3762"/>
                </a:lnTo>
                <a:lnTo>
                  <a:pt x="7592" y="3768"/>
                </a:lnTo>
                <a:lnTo>
                  <a:pt x="7600" y="3776"/>
                </a:lnTo>
                <a:lnTo>
                  <a:pt x="7608" y="3788"/>
                </a:lnTo>
                <a:lnTo>
                  <a:pt x="7610" y="3798"/>
                </a:lnTo>
                <a:lnTo>
                  <a:pt x="7610" y="3804"/>
                </a:lnTo>
                <a:lnTo>
                  <a:pt x="7608" y="3808"/>
                </a:lnTo>
                <a:lnTo>
                  <a:pt x="7608" y="3814"/>
                </a:lnTo>
                <a:lnTo>
                  <a:pt x="7608" y="3818"/>
                </a:lnTo>
                <a:lnTo>
                  <a:pt x="7610" y="3824"/>
                </a:lnTo>
                <a:lnTo>
                  <a:pt x="7612" y="3830"/>
                </a:lnTo>
                <a:lnTo>
                  <a:pt x="7622" y="3840"/>
                </a:lnTo>
                <a:lnTo>
                  <a:pt x="7628" y="3844"/>
                </a:lnTo>
                <a:lnTo>
                  <a:pt x="7636" y="3846"/>
                </a:lnTo>
                <a:lnTo>
                  <a:pt x="7642" y="3850"/>
                </a:lnTo>
                <a:lnTo>
                  <a:pt x="7648" y="3856"/>
                </a:lnTo>
                <a:lnTo>
                  <a:pt x="7656" y="3866"/>
                </a:lnTo>
                <a:lnTo>
                  <a:pt x="7662" y="3878"/>
                </a:lnTo>
                <a:lnTo>
                  <a:pt x="7672" y="3904"/>
                </a:lnTo>
                <a:lnTo>
                  <a:pt x="7680" y="3928"/>
                </a:lnTo>
                <a:lnTo>
                  <a:pt x="7684" y="3938"/>
                </a:lnTo>
                <a:lnTo>
                  <a:pt x="7684" y="3944"/>
                </a:lnTo>
                <a:lnTo>
                  <a:pt x="7682" y="3948"/>
                </a:lnTo>
                <a:lnTo>
                  <a:pt x="7680" y="3952"/>
                </a:lnTo>
                <a:lnTo>
                  <a:pt x="7678" y="3956"/>
                </a:lnTo>
                <a:lnTo>
                  <a:pt x="7678" y="3960"/>
                </a:lnTo>
                <a:lnTo>
                  <a:pt x="7678" y="3966"/>
                </a:lnTo>
                <a:lnTo>
                  <a:pt x="7680" y="3972"/>
                </a:lnTo>
                <a:lnTo>
                  <a:pt x="7684" y="3980"/>
                </a:lnTo>
                <a:lnTo>
                  <a:pt x="7684" y="3984"/>
                </a:lnTo>
                <a:lnTo>
                  <a:pt x="7684" y="3988"/>
                </a:lnTo>
                <a:lnTo>
                  <a:pt x="7682" y="3990"/>
                </a:lnTo>
                <a:lnTo>
                  <a:pt x="7680" y="3992"/>
                </a:lnTo>
                <a:lnTo>
                  <a:pt x="7680" y="3994"/>
                </a:lnTo>
                <a:lnTo>
                  <a:pt x="7688" y="4006"/>
                </a:lnTo>
                <a:lnTo>
                  <a:pt x="7698" y="4022"/>
                </a:lnTo>
                <a:lnTo>
                  <a:pt x="7704" y="4032"/>
                </a:lnTo>
                <a:lnTo>
                  <a:pt x="7710" y="4040"/>
                </a:lnTo>
                <a:lnTo>
                  <a:pt x="7720" y="4044"/>
                </a:lnTo>
                <a:lnTo>
                  <a:pt x="7726" y="4046"/>
                </a:lnTo>
                <a:lnTo>
                  <a:pt x="7732" y="4050"/>
                </a:lnTo>
                <a:lnTo>
                  <a:pt x="7742" y="4062"/>
                </a:lnTo>
                <a:lnTo>
                  <a:pt x="7750" y="4074"/>
                </a:lnTo>
                <a:lnTo>
                  <a:pt x="7756" y="4088"/>
                </a:lnTo>
                <a:lnTo>
                  <a:pt x="7762" y="4096"/>
                </a:lnTo>
                <a:lnTo>
                  <a:pt x="7766" y="4100"/>
                </a:lnTo>
                <a:lnTo>
                  <a:pt x="7768" y="4104"/>
                </a:lnTo>
                <a:lnTo>
                  <a:pt x="7768" y="4112"/>
                </a:lnTo>
                <a:lnTo>
                  <a:pt x="7770" y="4122"/>
                </a:lnTo>
                <a:lnTo>
                  <a:pt x="7772" y="4128"/>
                </a:lnTo>
                <a:lnTo>
                  <a:pt x="7776" y="4132"/>
                </a:lnTo>
                <a:lnTo>
                  <a:pt x="7778" y="4142"/>
                </a:lnTo>
                <a:lnTo>
                  <a:pt x="7780" y="4148"/>
                </a:lnTo>
                <a:lnTo>
                  <a:pt x="7782" y="4154"/>
                </a:lnTo>
                <a:lnTo>
                  <a:pt x="7792" y="4166"/>
                </a:lnTo>
                <a:lnTo>
                  <a:pt x="7804" y="4180"/>
                </a:lnTo>
                <a:lnTo>
                  <a:pt x="7808" y="4188"/>
                </a:lnTo>
                <a:lnTo>
                  <a:pt x="7812" y="4196"/>
                </a:lnTo>
                <a:lnTo>
                  <a:pt x="7814" y="4202"/>
                </a:lnTo>
                <a:lnTo>
                  <a:pt x="7816" y="4204"/>
                </a:lnTo>
                <a:lnTo>
                  <a:pt x="7820" y="4202"/>
                </a:lnTo>
                <a:lnTo>
                  <a:pt x="7822" y="4204"/>
                </a:lnTo>
                <a:lnTo>
                  <a:pt x="7824" y="4210"/>
                </a:lnTo>
                <a:lnTo>
                  <a:pt x="7828" y="4220"/>
                </a:lnTo>
                <a:lnTo>
                  <a:pt x="7832" y="4236"/>
                </a:lnTo>
                <a:lnTo>
                  <a:pt x="7832" y="4254"/>
                </a:lnTo>
                <a:lnTo>
                  <a:pt x="7830" y="4260"/>
                </a:lnTo>
                <a:lnTo>
                  <a:pt x="7826" y="4268"/>
                </a:lnTo>
                <a:lnTo>
                  <a:pt x="7826" y="4272"/>
                </a:lnTo>
                <a:lnTo>
                  <a:pt x="7826" y="4276"/>
                </a:lnTo>
                <a:lnTo>
                  <a:pt x="7828" y="4282"/>
                </a:lnTo>
                <a:lnTo>
                  <a:pt x="7832" y="4286"/>
                </a:lnTo>
                <a:lnTo>
                  <a:pt x="7830" y="4288"/>
                </a:lnTo>
                <a:lnTo>
                  <a:pt x="7828" y="4290"/>
                </a:lnTo>
                <a:lnTo>
                  <a:pt x="7824" y="4294"/>
                </a:lnTo>
                <a:lnTo>
                  <a:pt x="7826" y="4296"/>
                </a:lnTo>
                <a:lnTo>
                  <a:pt x="7832" y="4300"/>
                </a:lnTo>
                <a:lnTo>
                  <a:pt x="7832" y="4302"/>
                </a:lnTo>
                <a:lnTo>
                  <a:pt x="7834" y="4306"/>
                </a:lnTo>
                <a:lnTo>
                  <a:pt x="7834" y="4312"/>
                </a:lnTo>
                <a:lnTo>
                  <a:pt x="7836" y="4318"/>
                </a:lnTo>
                <a:lnTo>
                  <a:pt x="7840" y="4326"/>
                </a:lnTo>
                <a:lnTo>
                  <a:pt x="7840" y="4336"/>
                </a:lnTo>
                <a:lnTo>
                  <a:pt x="7842" y="4350"/>
                </a:lnTo>
                <a:lnTo>
                  <a:pt x="7846" y="4362"/>
                </a:lnTo>
                <a:lnTo>
                  <a:pt x="7850" y="4370"/>
                </a:lnTo>
                <a:lnTo>
                  <a:pt x="7850" y="4376"/>
                </a:lnTo>
                <a:lnTo>
                  <a:pt x="7850" y="4380"/>
                </a:lnTo>
                <a:lnTo>
                  <a:pt x="7850" y="4388"/>
                </a:lnTo>
                <a:lnTo>
                  <a:pt x="7850" y="4394"/>
                </a:lnTo>
                <a:lnTo>
                  <a:pt x="7854" y="4398"/>
                </a:lnTo>
                <a:lnTo>
                  <a:pt x="7856" y="4410"/>
                </a:lnTo>
                <a:lnTo>
                  <a:pt x="7860" y="4418"/>
                </a:lnTo>
                <a:lnTo>
                  <a:pt x="7862" y="4418"/>
                </a:lnTo>
                <a:lnTo>
                  <a:pt x="7864" y="4418"/>
                </a:lnTo>
                <a:lnTo>
                  <a:pt x="7868" y="4418"/>
                </a:lnTo>
                <a:lnTo>
                  <a:pt x="7872" y="4420"/>
                </a:lnTo>
                <a:lnTo>
                  <a:pt x="7874" y="4422"/>
                </a:lnTo>
                <a:lnTo>
                  <a:pt x="7880" y="4424"/>
                </a:lnTo>
                <a:lnTo>
                  <a:pt x="7884" y="4424"/>
                </a:lnTo>
                <a:lnTo>
                  <a:pt x="7888" y="4422"/>
                </a:lnTo>
                <a:lnTo>
                  <a:pt x="7892" y="4422"/>
                </a:lnTo>
                <a:lnTo>
                  <a:pt x="7896" y="4420"/>
                </a:lnTo>
                <a:lnTo>
                  <a:pt x="7900" y="4418"/>
                </a:lnTo>
                <a:lnTo>
                  <a:pt x="7902" y="4416"/>
                </a:lnTo>
                <a:lnTo>
                  <a:pt x="7910" y="4416"/>
                </a:lnTo>
                <a:lnTo>
                  <a:pt x="7916" y="4416"/>
                </a:lnTo>
                <a:lnTo>
                  <a:pt x="7920" y="4416"/>
                </a:lnTo>
                <a:lnTo>
                  <a:pt x="7922" y="4414"/>
                </a:lnTo>
                <a:lnTo>
                  <a:pt x="7924" y="4412"/>
                </a:lnTo>
                <a:lnTo>
                  <a:pt x="7926" y="4408"/>
                </a:lnTo>
                <a:lnTo>
                  <a:pt x="7928" y="4406"/>
                </a:lnTo>
                <a:lnTo>
                  <a:pt x="7932" y="4404"/>
                </a:lnTo>
                <a:lnTo>
                  <a:pt x="7936" y="4404"/>
                </a:lnTo>
                <a:lnTo>
                  <a:pt x="7938" y="4400"/>
                </a:lnTo>
                <a:lnTo>
                  <a:pt x="7942" y="4392"/>
                </a:lnTo>
                <a:lnTo>
                  <a:pt x="7946" y="4388"/>
                </a:lnTo>
                <a:lnTo>
                  <a:pt x="7950" y="4384"/>
                </a:lnTo>
                <a:lnTo>
                  <a:pt x="7958" y="4382"/>
                </a:lnTo>
                <a:lnTo>
                  <a:pt x="7968" y="4382"/>
                </a:lnTo>
                <a:lnTo>
                  <a:pt x="7984" y="4384"/>
                </a:lnTo>
                <a:lnTo>
                  <a:pt x="7998" y="4380"/>
                </a:lnTo>
                <a:lnTo>
                  <a:pt x="8008" y="4374"/>
                </a:lnTo>
                <a:lnTo>
                  <a:pt x="8018" y="4368"/>
                </a:lnTo>
                <a:lnTo>
                  <a:pt x="8034" y="4356"/>
                </a:lnTo>
                <a:lnTo>
                  <a:pt x="8040" y="4354"/>
                </a:lnTo>
                <a:lnTo>
                  <a:pt x="8048" y="4354"/>
                </a:lnTo>
                <a:lnTo>
                  <a:pt x="8054" y="4356"/>
                </a:lnTo>
                <a:lnTo>
                  <a:pt x="8058" y="4356"/>
                </a:lnTo>
                <a:lnTo>
                  <a:pt x="8066" y="4352"/>
                </a:lnTo>
                <a:lnTo>
                  <a:pt x="8074" y="4346"/>
                </a:lnTo>
                <a:lnTo>
                  <a:pt x="8082" y="4336"/>
                </a:lnTo>
                <a:lnTo>
                  <a:pt x="8090" y="4328"/>
                </a:lnTo>
                <a:lnTo>
                  <a:pt x="8100" y="4320"/>
                </a:lnTo>
                <a:lnTo>
                  <a:pt x="8110" y="4316"/>
                </a:lnTo>
                <a:lnTo>
                  <a:pt x="8116" y="4314"/>
                </a:lnTo>
                <a:lnTo>
                  <a:pt x="8124" y="4314"/>
                </a:lnTo>
                <a:lnTo>
                  <a:pt x="8128" y="4314"/>
                </a:lnTo>
                <a:lnTo>
                  <a:pt x="8130" y="4314"/>
                </a:lnTo>
                <a:lnTo>
                  <a:pt x="8136" y="4310"/>
                </a:lnTo>
                <a:lnTo>
                  <a:pt x="8146" y="4302"/>
                </a:lnTo>
                <a:lnTo>
                  <a:pt x="8154" y="4300"/>
                </a:lnTo>
                <a:lnTo>
                  <a:pt x="8164" y="4296"/>
                </a:lnTo>
                <a:lnTo>
                  <a:pt x="8184" y="4290"/>
                </a:lnTo>
                <a:lnTo>
                  <a:pt x="8192" y="4286"/>
                </a:lnTo>
                <a:lnTo>
                  <a:pt x="8194" y="4282"/>
                </a:lnTo>
                <a:lnTo>
                  <a:pt x="8204" y="4280"/>
                </a:lnTo>
                <a:lnTo>
                  <a:pt x="8210" y="4276"/>
                </a:lnTo>
                <a:lnTo>
                  <a:pt x="8212" y="4272"/>
                </a:lnTo>
                <a:lnTo>
                  <a:pt x="8212" y="4260"/>
                </a:lnTo>
                <a:lnTo>
                  <a:pt x="8212" y="4252"/>
                </a:lnTo>
                <a:lnTo>
                  <a:pt x="8216" y="4244"/>
                </a:lnTo>
                <a:lnTo>
                  <a:pt x="8228" y="4234"/>
                </a:lnTo>
                <a:lnTo>
                  <a:pt x="8246" y="4222"/>
                </a:lnTo>
                <a:lnTo>
                  <a:pt x="8252" y="4220"/>
                </a:lnTo>
                <a:lnTo>
                  <a:pt x="8256" y="4218"/>
                </a:lnTo>
                <a:lnTo>
                  <a:pt x="8264" y="4218"/>
                </a:lnTo>
                <a:lnTo>
                  <a:pt x="8268" y="4218"/>
                </a:lnTo>
                <a:lnTo>
                  <a:pt x="8272" y="4216"/>
                </a:lnTo>
                <a:lnTo>
                  <a:pt x="8280" y="4212"/>
                </a:lnTo>
                <a:lnTo>
                  <a:pt x="8284" y="4208"/>
                </a:lnTo>
                <a:lnTo>
                  <a:pt x="8290" y="4206"/>
                </a:lnTo>
                <a:lnTo>
                  <a:pt x="8298" y="4206"/>
                </a:lnTo>
                <a:lnTo>
                  <a:pt x="8308" y="4206"/>
                </a:lnTo>
                <a:lnTo>
                  <a:pt x="8314" y="4208"/>
                </a:lnTo>
                <a:lnTo>
                  <a:pt x="8320" y="4208"/>
                </a:lnTo>
                <a:lnTo>
                  <a:pt x="8322" y="4206"/>
                </a:lnTo>
                <a:lnTo>
                  <a:pt x="8326" y="4202"/>
                </a:lnTo>
                <a:lnTo>
                  <a:pt x="8330" y="4194"/>
                </a:lnTo>
                <a:lnTo>
                  <a:pt x="8334" y="4186"/>
                </a:lnTo>
                <a:lnTo>
                  <a:pt x="8338" y="4176"/>
                </a:lnTo>
                <a:lnTo>
                  <a:pt x="8342" y="4168"/>
                </a:lnTo>
                <a:lnTo>
                  <a:pt x="8350" y="4160"/>
                </a:lnTo>
                <a:lnTo>
                  <a:pt x="8354" y="4160"/>
                </a:lnTo>
                <a:lnTo>
                  <a:pt x="8360" y="4158"/>
                </a:lnTo>
                <a:lnTo>
                  <a:pt x="8374" y="4158"/>
                </a:lnTo>
                <a:lnTo>
                  <a:pt x="8382" y="4154"/>
                </a:lnTo>
                <a:lnTo>
                  <a:pt x="8386" y="4146"/>
                </a:lnTo>
                <a:lnTo>
                  <a:pt x="8390" y="4138"/>
                </a:lnTo>
                <a:lnTo>
                  <a:pt x="8392" y="4130"/>
                </a:lnTo>
                <a:lnTo>
                  <a:pt x="8396" y="4122"/>
                </a:lnTo>
                <a:lnTo>
                  <a:pt x="8406" y="4116"/>
                </a:lnTo>
                <a:lnTo>
                  <a:pt x="8420" y="4110"/>
                </a:lnTo>
                <a:lnTo>
                  <a:pt x="8430" y="4108"/>
                </a:lnTo>
                <a:lnTo>
                  <a:pt x="8436" y="4104"/>
                </a:lnTo>
                <a:lnTo>
                  <a:pt x="8438" y="4100"/>
                </a:lnTo>
                <a:lnTo>
                  <a:pt x="8438" y="4094"/>
                </a:lnTo>
                <a:lnTo>
                  <a:pt x="8436" y="4086"/>
                </a:lnTo>
                <a:lnTo>
                  <a:pt x="8434" y="4076"/>
                </a:lnTo>
                <a:lnTo>
                  <a:pt x="8434" y="4062"/>
                </a:lnTo>
                <a:lnTo>
                  <a:pt x="8438" y="4046"/>
                </a:lnTo>
                <a:lnTo>
                  <a:pt x="8444" y="4034"/>
                </a:lnTo>
                <a:lnTo>
                  <a:pt x="8448" y="4028"/>
                </a:lnTo>
                <a:lnTo>
                  <a:pt x="8452" y="4028"/>
                </a:lnTo>
                <a:lnTo>
                  <a:pt x="8454" y="4032"/>
                </a:lnTo>
                <a:lnTo>
                  <a:pt x="8458" y="4036"/>
                </a:lnTo>
                <a:lnTo>
                  <a:pt x="8460" y="4036"/>
                </a:lnTo>
                <a:lnTo>
                  <a:pt x="8464" y="4034"/>
                </a:lnTo>
                <a:lnTo>
                  <a:pt x="8470" y="4022"/>
                </a:lnTo>
                <a:lnTo>
                  <a:pt x="8476" y="4010"/>
                </a:lnTo>
                <a:lnTo>
                  <a:pt x="8480" y="4002"/>
                </a:lnTo>
                <a:lnTo>
                  <a:pt x="8490" y="3992"/>
                </a:lnTo>
                <a:lnTo>
                  <a:pt x="8500" y="3982"/>
                </a:lnTo>
                <a:lnTo>
                  <a:pt x="8504" y="3974"/>
                </a:lnTo>
                <a:lnTo>
                  <a:pt x="8510" y="3962"/>
                </a:lnTo>
                <a:lnTo>
                  <a:pt x="8516" y="3946"/>
                </a:lnTo>
                <a:lnTo>
                  <a:pt x="8518" y="3936"/>
                </a:lnTo>
                <a:lnTo>
                  <a:pt x="8518" y="3932"/>
                </a:lnTo>
                <a:lnTo>
                  <a:pt x="8516" y="3930"/>
                </a:lnTo>
                <a:lnTo>
                  <a:pt x="8508" y="3926"/>
                </a:lnTo>
                <a:lnTo>
                  <a:pt x="8502" y="3922"/>
                </a:lnTo>
                <a:lnTo>
                  <a:pt x="8498" y="3916"/>
                </a:lnTo>
                <a:lnTo>
                  <a:pt x="8488" y="3896"/>
                </a:lnTo>
                <a:lnTo>
                  <a:pt x="8482" y="3886"/>
                </a:lnTo>
                <a:lnTo>
                  <a:pt x="8476" y="3880"/>
                </a:lnTo>
                <a:lnTo>
                  <a:pt x="8470" y="3874"/>
                </a:lnTo>
                <a:lnTo>
                  <a:pt x="8468" y="3874"/>
                </a:lnTo>
                <a:lnTo>
                  <a:pt x="8464" y="3874"/>
                </a:lnTo>
                <a:lnTo>
                  <a:pt x="8460" y="3876"/>
                </a:lnTo>
                <a:lnTo>
                  <a:pt x="8458" y="3876"/>
                </a:lnTo>
                <a:lnTo>
                  <a:pt x="8452" y="3872"/>
                </a:lnTo>
                <a:lnTo>
                  <a:pt x="8446" y="3868"/>
                </a:lnTo>
                <a:lnTo>
                  <a:pt x="8440" y="3866"/>
                </a:lnTo>
                <a:lnTo>
                  <a:pt x="8432" y="3864"/>
                </a:lnTo>
                <a:lnTo>
                  <a:pt x="8422" y="3862"/>
                </a:lnTo>
                <a:lnTo>
                  <a:pt x="8412" y="3856"/>
                </a:lnTo>
                <a:lnTo>
                  <a:pt x="8404" y="3850"/>
                </a:lnTo>
                <a:lnTo>
                  <a:pt x="8396" y="3842"/>
                </a:lnTo>
                <a:lnTo>
                  <a:pt x="8390" y="3834"/>
                </a:lnTo>
                <a:lnTo>
                  <a:pt x="8386" y="3824"/>
                </a:lnTo>
                <a:lnTo>
                  <a:pt x="8382" y="3814"/>
                </a:lnTo>
                <a:lnTo>
                  <a:pt x="8378" y="3804"/>
                </a:lnTo>
                <a:lnTo>
                  <a:pt x="8378" y="3780"/>
                </a:lnTo>
                <a:lnTo>
                  <a:pt x="8378" y="3774"/>
                </a:lnTo>
                <a:lnTo>
                  <a:pt x="8376" y="3770"/>
                </a:lnTo>
                <a:lnTo>
                  <a:pt x="8376" y="3766"/>
                </a:lnTo>
                <a:lnTo>
                  <a:pt x="8378" y="3760"/>
                </a:lnTo>
                <a:lnTo>
                  <a:pt x="8382" y="3756"/>
                </a:lnTo>
                <a:lnTo>
                  <a:pt x="8382" y="3752"/>
                </a:lnTo>
                <a:lnTo>
                  <a:pt x="8382" y="3746"/>
                </a:lnTo>
                <a:lnTo>
                  <a:pt x="8384" y="3740"/>
                </a:lnTo>
                <a:lnTo>
                  <a:pt x="8384" y="3734"/>
                </a:lnTo>
                <a:lnTo>
                  <a:pt x="8384" y="3732"/>
                </a:lnTo>
                <a:lnTo>
                  <a:pt x="8380" y="3732"/>
                </a:lnTo>
                <a:lnTo>
                  <a:pt x="8378" y="3732"/>
                </a:lnTo>
                <a:lnTo>
                  <a:pt x="8378" y="3734"/>
                </a:lnTo>
                <a:lnTo>
                  <a:pt x="8378" y="3738"/>
                </a:lnTo>
                <a:lnTo>
                  <a:pt x="8378" y="3742"/>
                </a:lnTo>
                <a:lnTo>
                  <a:pt x="8376" y="3742"/>
                </a:lnTo>
                <a:lnTo>
                  <a:pt x="8372" y="3740"/>
                </a:lnTo>
                <a:lnTo>
                  <a:pt x="8370" y="3740"/>
                </a:lnTo>
                <a:lnTo>
                  <a:pt x="8368" y="3748"/>
                </a:lnTo>
                <a:lnTo>
                  <a:pt x="8364" y="3760"/>
                </a:lnTo>
                <a:lnTo>
                  <a:pt x="8362" y="3762"/>
                </a:lnTo>
                <a:lnTo>
                  <a:pt x="8360" y="3762"/>
                </a:lnTo>
                <a:lnTo>
                  <a:pt x="8358" y="3762"/>
                </a:lnTo>
                <a:lnTo>
                  <a:pt x="8354" y="3770"/>
                </a:lnTo>
                <a:lnTo>
                  <a:pt x="8350" y="3776"/>
                </a:lnTo>
                <a:lnTo>
                  <a:pt x="8344" y="3780"/>
                </a:lnTo>
                <a:lnTo>
                  <a:pt x="8338" y="3784"/>
                </a:lnTo>
                <a:lnTo>
                  <a:pt x="8330" y="3794"/>
                </a:lnTo>
                <a:lnTo>
                  <a:pt x="8322" y="3804"/>
                </a:lnTo>
                <a:lnTo>
                  <a:pt x="8312" y="3814"/>
                </a:lnTo>
                <a:lnTo>
                  <a:pt x="8300" y="3826"/>
                </a:lnTo>
                <a:lnTo>
                  <a:pt x="8300" y="3828"/>
                </a:lnTo>
                <a:lnTo>
                  <a:pt x="8302" y="3830"/>
                </a:lnTo>
                <a:lnTo>
                  <a:pt x="8302" y="3832"/>
                </a:lnTo>
                <a:lnTo>
                  <a:pt x="8298" y="3840"/>
                </a:lnTo>
                <a:lnTo>
                  <a:pt x="8290" y="3848"/>
                </a:lnTo>
                <a:lnTo>
                  <a:pt x="8282" y="3850"/>
                </a:lnTo>
                <a:lnTo>
                  <a:pt x="8272" y="3850"/>
                </a:lnTo>
                <a:lnTo>
                  <a:pt x="8262" y="3850"/>
                </a:lnTo>
                <a:lnTo>
                  <a:pt x="8242" y="3846"/>
                </a:lnTo>
                <a:lnTo>
                  <a:pt x="8232" y="3846"/>
                </a:lnTo>
                <a:lnTo>
                  <a:pt x="8222" y="3848"/>
                </a:lnTo>
                <a:lnTo>
                  <a:pt x="8208" y="3854"/>
                </a:lnTo>
                <a:lnTo>
                  <a:pt x="8200" y="3856"/>
                </a:lnTo>
                <a:lnTo>
                  <a:pt x="8196" y="3854"/>
                </a:lnTo>
                <a:lnTo>
                  <a:pt x="8196" y="3852"/>
                </a:lnTo>
                <a:lnTo>
                  <a:pt x="8194" y="3846"/>
                </a:lnTo>
                <a:lnTo>
                  <a:pt x="8194" y="3840"/>
                </a:lnTo>
                <a:lnTo>
                  <a:pt x="8190" y="3838"/>
                </a:lnTo>
                <a:lnTo>
                  <a:pt x="8186" y="3838"/>
                </a:lnTo>
                <a:lnTo>
                  <a:pt x="8180" y="3838"/>
                </a:lnTo>
                <a:lnTo>
                  <a:pt x="8176" y="3838"/>
                </a:lnTo>
                <a:lnTo>
                  <a:pt x="8176" y="3836"/>
                </a:lnTo>
                <a:lnTo>
                  <a:pt x="8176" y="3832"/>
                </a:lnTo>
                <a:lnTo>
                  <a:pt x="8180" y="3826"/>
                </a:lnTo>
                <a:lnTo>
                  <a:pt x="8182" y="3824"/>
                </a:lnTo>
                <a:lnTo>
                  <a:pt x="8180" y="3824"/>
                </a:lnTo>
                <a:lnTo>
                  <a:pt x="8176" y="3824"/>
                </a:lnTo>
                <a:lnTo>
                  <a:pt x="8174" y="3826"/>
                </a:lnTo>
                <a:lnTo>
                  <a:pt x="8172" y="3824"/>
                </a:lnTo>
                <a:lnTo>
                  <a:pt x="8172" y="3822"/>
                </a:lnTo>
                <a:lnTo>
                  <a:pt x="8176" y="3822"/>
                </a:lnTo>
                <a:lnTo>
                  <a:pt x="8178" y="3820"/>
                </a:lnTo>
                <a:lnTo>
                  <a:pt x="8180" y="3818"/>
                </a:lnTo>
                <a:lnTo>
                  <a:pt x="8184" y="3812"/>
                </a:lnTo>
                <a:lnTo>
                  <a:pt x="8188" y="3796"/>
                </a:lnTo>
                <a:lnTo>
                  <a:pt x="8186" y="3790"/>
                </a:lnTo>
                <a:lnTo>
                  <a:pt x="8184" y="3786"/>
                </a:lnTo>
                <a:lnTo>
                  <a:pt x="8182" y="3780"/>
                </a:lnTo>
                <a:lnTo>
                  <a:pt x="8182" y="3776"/>
                </a:lnTo>
                <a:lnTo>
                  <a:pt x="8182" y="3772"/>
                </a:lnTo>
                <a:lnTo>
                  <a:pt x="8184" y="3764"/>
                </a:lnTo>
                <a:lnTo>
                  <a:pt x="8184" y="3758"/>
                </a:lnTo>
                <a:lnTo>
                  <a:pt x="8180" y="3750"/>
                </a:lnTo>
                <a:lnTo>
                  <a:pt x="8174" y="3746"/>
                </a:lnTo>
                <a:lnTo>
                  <a:pt x="8170" y="3744"/>
                </a:lnTo>
                <a:lnTo>
                  <a:pt x="8168" y="3744"/>
                </a:lnTo>
                <a:lnTo>
                  <a:pt x="8164" y="3748"/>
                </a:lnTo>
                <a:lnTo>
                  <a:pt x="8160" y="3762"/>
                </a:lnTo>
                <a:lnTo>
                  <a:pt x="8156" y="3774"/>
                </a:lnTo>
                <a:lnTo>
                  <a:pt x="8154" y="3784"/>
                </a:lnTo>
                <a:lnTo>
                  <a:pt x="8152" y="3816"/>
                </a:lnTo>
                <a:lnTo>
                  <a:pt x="8148" y="3804"/>
                </a:lnTo>
                <a:lnTo>
                  <a:pt x="8146" y="3794"/>
                </a:lnTo>
                <a:lnTo>
                  <a:pt x="8142" y="3786"/>
                </a:lnTo>
                <a:lnTo>
                  <a:pt x="8138" y="3778"/>
                </a:lnTo>
                <a:lnTo>
                  <a:pt x="8132" y="3774"/>
                </a:lnTo>
                <a:lnTo>
                  <a:pt x="8132" y="3770"/>
                </a:lnTo>
                <a:lnTo>
                  <a:pt x="8132" y="3768"/>
                </a:lnTo>
                <a:lnTo>
                  <a:pt x="8130" y="3760"/>
                </a:lnTo>
                <a:lnTo>
                  <a:pt x="8128" y="3756"/>
                </a:lnTo>
                <a:lnTo>
                  <a:pt x="8126" y="3752"/>
                </a:lnTo>
                <a:lnTo>
                  <a:pt x="8128" y="3744"/>
                </a:lnTo>
                <a:lnTo>
                  <a:pt x="8128" y="3736"/>
                </a:lnTo>
                <a:lnTo>
                  <a:pt x="8126" y="3732"/>
                </a:lnTo>
                <a:lnTo>
                  <a:pt x="8124" y="3726"/>
                </a:lnTo>
                <a:lnTo>
                  <a:pt x="8122" y="3720"/>
                </a:lnTo>
                <a:lnTo>
                  <a:pt x="8122" y="3718"/>
                </a:lnTo>
                <a:lnTo>
                  <a:pt x="8126" y="3718"/>
                </a:lnTo>
                <a:lnTo>
                  <a:pt x="8128" y="3722"/>
                </a:lnTo>
                <a:lnTo>
                  <a:pt x="8130" y="3722"/>
                </a:lnTo>
                <a:lnTo>
                  <a:pt x="8132" y="3722"/>
                </a:lnTo>
                <a:lnTo>
                  <a:pt x="8132" y="3724"/>
                </a:lnTo>
                <a:lnTo>
                  <a:pt x="8130" y="3726"/>
                </a:lnTo>
                <a:lnTo>
                  <a:pt x="8128" y="3728"/>
                </a:lnTo>
                <a:lnTo>
                  <a:pt x="8132" y="3728"/>
                </a:lnTo>
                <a:lnTo>
                  <a:pt x="8134" y="3730"/>
                </a:lnTo>
                <a:lnTo>
                  <a:pt x="8132" y="3732"/>
                </a:lnTo>
                <a:lnTo>
                  <a:pt x="8134" y="3734"/>
                </a:lnTo>
                <a:lnTo>
                  <a:pt x="8138" y="3736"/>
                </a:lnTo>
                <a:lnTo>
                  <a:pt x="8140" y="3738"/>
                </a:lnTo>
                <a:lnTo>
                  <a:pt x="8142" y="3740"/>
                </a:lnTo>
                <a:lnTo>
                  <a:pt x="8144" y="3740"/>
                </a:lnTo>
                <a:lnTo>
                  <a:pt x="8144" y="3738"/>
                </a:lnTo>
                <a:lnTo>
                  <a:pt x="8146" y="3738"/>
                </a:lnTo>
                <a:lnTo>
                  <a:pt x="8146" y="3736"/>
                </a:lnTo>
                <a:lnTo>
                  <a:pt x="8146" y="3734"/>
                </a:lnTo>
                <a:lnTo>
                  <a:pt x="8150" y="3730"/>
                </a:lnTo>
                <a:lnTo>
                  <a:pt x="8150" y="3722"/>
                </a:lnTo>
                <a:lnTo>
                  <a:pt x="8150" y="3720"/>
                </a:lnTo>
                <a:lnTo>
                  <a:pt x="8152" y="3718"/>
                </a:lnTo>
                <a:lnTo>
                  <a:pt x="8158" y="3720"/>
                </a:lnTo>
                <a:lnTo>
                  <a:pt x="8160" y="3722"/>
                </a:lnTo>
                <a:lnTo>
                  <a:pt x="8160" y="3720"/>
                </a:lnTo>
                <a:lnTo>
                  <a:pt x="8162" y="3718"/>
                </a:lnTo>
                <a:lnTo>
                  <a:pt x="8164" y="3718"/>
                </a:lnTo>
                <a:lnTo>
                  <a:pt x="8164" y="3714"/>
                </a:lnTo>
                <a:lnTo>
                  <a:pt x="8166" y="3712"/>
                </a:lnTo>
                <a:lnTo>
                  <a:pt x="8168" y="3708"/>
                </a:lnTo>
                <a:lnTo>
                  <a:pt x="8166" y="3706"/>
                </a:lnTo>
                <a:lnTo>
                  <a:pt x="8166" y="3704"/>
                </a:lnTo>
                <a:lnTo>
                  <a:pt x="8166" y="3702"/>
                </a:lnTo>
                <a:lnTo>
                  <a:pt x="8164" y="3700"/>
                </a:lnTo>
                <a:lnTo>
                  <a:pt x="8162" y="3700"/>
                </a:lnTo>
                <a:lnTo>
                  <a:pt x="8162" y="3702"/>
                </a:lnTo>
                <a:lnTo>
                  <a:pt x="8162" y="3704"/>
                </a:lnTo>
                <a:lnTo>
                  <a:pt x="8160" y="3704"/>
                </a:lnTo>
                <a:lnTo>
                  <a:pt x="8156" y="3704"/>
                </a:lnTo>
                <a:lnTo>
                  <a:pt x="8154" y="3706"/>
                </a:lnTo>
                <a:lnTo>
                  <a:pt x="8152" y="3700"/>
                </a:lnTo>
                <a:lnTo>
                  <a:pt x="8152" y="3696"/>
                </a:lnTo>
                <a:lnTo>
                  <a:pt x="8152" y="3690"/>
                </a:lnTo>
                <a:lnTo>
                  <a:pt x="8152" y="3688"/>
                </a:lnTo>
                <a:lnTo>
                  <a:pt x="8150" y="3688"/>
                </a:lnTo>
                <a:lnTo>
                  <a:pt x="8148" y="3688"/>
                </a:lnTo>
                <a:lnTo>
                  <a:pt x="8148" y="3692"/>
                </a:lnTo>
                <a:lnTo>
                  <a:pt x="8148" y="3696"/>
                </a:lnTo>
                <a:lnTo>
                  <a:pt x="8146" y="3698"/>
                </a:lnTo>
                <a:lnTo>
                  <a:pt x="8144" y="3698"/>
                </a:lnTo>
                <a:lnTo>
                  <a:pt x="8140" y="3696"/>
                </a:lnTo>
                <a:lnTo>
                  <a:pt x="8136" y="3698"/>
                </a:lnTo>
                <a:lnTo>
                  <a:pt x="8134" y="3700"/>
                </a:lnTo>
                <a:lnTo>
                  <a:pt x="8130" y="3702"/>
                </a:lnTo>
                <a:lnTo>
                  <a:pt x="8128" y="3704"/>
                </a:lnTo>
                <a:lnTo>
                  <a:pt x="8126" y="3712"/>
                </a:lnTo>
                <a:lnTo>
                  <a:pt x="8118" y="3704"/>
                </a:lnTo>
                <a:lnTo>
                  <a:pt x="8106" y="3696"/>
                </a:lnTo>
                <a:lnTo>
                  <a:pt x="8098" y="3686"/>
                </a:lnTo>
                <a:lnTo>
                  <a:pt x="8094" y="3680"/>
                </a:lnTo>
                <a:lnTo>
                  <a:pt x="8094" y="3676"/>
                </a:lnTo>
                <a:lnTo>
                  <a:pt x="8094" y="3672"/>
                </a:lnTo>
                <a:lnTo>
                  <a:pt x="8092" y="3670"/>
                </a:lnTo>
                <a:lnTo>
                  <a:pt x="8086" y="3668"/>
                </a:lnTo>
                <a:lnTo>
                  <a:pt x="8080" y="3666"/>
                </a:lnTo>
                <a:lnTo>
                  <a:pt x="8078" y="3664"/>
                </a:lnTo>
                <a:lnTo>
                  <a:pt x="8076" y="3662"/>
                </a:lnTo>
                <a:lnTo>
                  <a:pt x="8074" y="3654"/>
                </a:lnTo>
                <a:lnTo>
                  <a:pt x="8072" y="3648"/>
                </a:lnTo>
                <a:lnTo>
                  <a:pt x="8066" y="3638"/>
                </a:lnTo>
                <a:lnTo>
                  <a:pt x="8060" y="3620"/>
                </a:lnTo>
                <a:lnTo>
                  <a:pt x="8056" y="3608"/>
                </a:lnTo>
                <a:lnTo>
                  <a:pt x="8052" y="3602"/>
                </a:lnTo>
                <a:lnTo>
                  <a:pt x="8048" y="3596"/>
                </a:lnTo>
                <a:lnTo>
                  <a:pt x="8046" y="3588"/>
                </a:lnTo>
                <a:lnTo>
                  <a:pt x="8046" y="3584"/>
                </a:lnTo>
                <a:lnTo>
                  <a:pt x="8042" y="3580"/>
                </a:lnTo>
                <a:lnTo>
                  <a:pt x="8036" y="3578"/>
                </a:lnTo>
                <a:lnTo>
                  <a:pt x="8030" y="3578"/>
                </a:lnTo>
                <a:lnTo>
                  <a:pt x="8030" y="3576"/>
                </a:lnTo>
                <a:lnTo>
                  <a:pt x="8032" y="3572"/>
                </a:lnTo>
                <a:lnTo>
                  <a:pt x="8034" y="3568"/>
                </a:lnTo>
                <a:lnTo>
                  <a:pt x="8038" y="3566"/>
                </a:lnTo>
                <a:lnTo>
                  <a:pt x="8046" y="3566"/>
                </a:lnTo>
                <a:lnTo>
                  <a:pt x="8046" y="3562"/>
                </a:lnTo>
                <a:lnTo>
                  <a:pt x="8038" y="3546"/>
                </a:lnTo>
                <a:lnTo>
                  <a:pt x="8038" y="3542"/>
                </a:lnTo>
                <a:lnTo>
                  <a:pt x="8040" y="3540"/>
                </a:lnTo>
                <a:lnTo>
                  <a:pt x="8048" y="3544"/>
                </a:lnTo>
                <a:lnTo>
                  <a:pt x="8056" y="3548"/>
                </a:lnTo>
                <a:lnTo>
                  <a:pt x="8060" y="3548"/>
                </a:lnTo>
                <a:lnTo>
                  <a:pt x="8062" y="3548"/>
                </a:lnTo>
                <a:lnTo>
                  <a:pt x="8070" y="3544"/>
                </a:lnTo>
                <a:lnTo>
                  <a:pt x="8074" y="3544"/>
                </a:lnTo>
                <a:lnTo>
                  <a:pt x="8076" y="3540"/>
                </a:lnTo>
                <a:lnTo>
                  <a:pt x="8078" y="3532"/>
                </a:lnTo>
                <a:lnTo>
                  <a:pt x="8080" y="3530"/>
                </a:lnTo>
                <a:lnTo>
                  <a:pt x="8082" y="3530"/>
                </a:lnTo>
                <a:lnTo>
                  <a:pt x="8090" y="3534"/>
                </a:lnTo>
                <a:lnTo>
                  <a:pt x="8096" y="3538"/>
                </a:lnTo>
                <a:lnTo>
                  <a:pt x="8102" y="3540"/>
                </a:lnTo>
                <a:lnTo>
                  <a:pt x="8108" y="3542"/>
                </a:lnTo>
                <a:lnTo>
                  <a:pt x="8114" y="3538"/>
                </a:lnTo>
                <a:lnTo>
                  <a:pt x="8120" y="3536"/>
                </a:lnTo>
                <a:lnTo>
                  <a:pt x="8122" y="3536"/>
                </a:lnTo>
                <a:lnTo>
                  <a:pt x="8126" y="3538"/>
                </a:lnTo>
                <a:lnTo>
                  <a:pt x="8126" y="3540"/>
                </a:lnTo>
                <a:lnTo>
                  <a:pt x="8130" y="3550"/>
                </a:lnTo>
                <a:lnTo>
                  <a:pt x="8132" y="3556"/>
                </a:lnTo>
                <a:lnTo>
                  <a:pt x="8138" y="3562"/>
                </a:lnTo>
                <a:lnTo>
                  <a:pt x="8142" y="3566"/>
                </a:lnTo>
                <a:lnTo>
                  <a:pt x="8146" y="3572"/>
                </a:lnTo>
                <a:lnTo>
                  <a:pt x="8150" y="3582"/>
                </a:lnTo>
                <a:lnTo>
                  <a:pt x="8154" y="3594"/>
                </a:lnTo>
                <a:lnTo>
                  <a:pt x="8156" y="3600"/>
                </a:lnTo>
                <a:lnTo>
                  <a:pt x="8160" y="3606"/>
                </a:lnTo>
                <a:lnTo>
                  <a:pt x="8164" y="3612"/>
                </a:lnTo>
                <a:lnTo>
                  <a:pt x="8166" y="3616"/>
                </a:lnTo>
                <a:lnTo>
                  <a:pt x="8166" y="3624"/>
                </a:lnTo>
                <a:lnTo>
                  <a:pt x="8168" y="3632"/>
                </a:lnTo>
                <a:lnTo>
                  <a:pt x="8170" y="3636"/>
                </a:lnTo>
                <a:lnTo>
                  <a:pt x="8176" y="3644"/>
                </a:lnTo>
                <a:lnTo>
                  <a:pt x="8182" y="3650"/>
                </a:lnTo>
                <a:lnTo>
                  <a:pt x="8190" y="3656"/>
                </a:lnTo>
                <a:lnTo>
                  <a:pt x="8208" y="3664"/>
                </a:lnTo>
                <a:lnTo>
                  <a:pt x="8222" y="3670"/>
                </a:lnTo>
                <a:lnTo>
                  <a:pt x="8226" y="3672"/>
                </a:lnTo>
                <a:lnTo>
                  <a:pt x="8226" y="3678"/>
                </a:lnTo>
                <a:lnTo>
                  <a:pt x="8226" y="3680"/>
                </a:lnTo>
                <a:lnTo>
                  <a:pt x="8230" y="3684"/>
                </a:lnTo>
                <a:lnTo>
                  <a:pt x="8238" y="3690"/>
                </a:lnTo>
                <a:lnTo>
                  <a:pt x="8248" y="3696"/>
                </a:lnTo>
                <a:lnTo>
                  <a:pt x="8254" y="3700"/>
                </a:lnTo>
                <a:lnTo>
                  <a:pt x="8262" y="3708"/>
                </a:lnTo>
                <a:lnTo>
                  <a:pt x="8270" y="3712"/>
                </a:lnTo>
                <a:lnTo>
                  <a:pt x="8276" y="3714"/>
                </a:lnTo>
                <a:lnTo>
                  <a:pt x="8282" y="3714"/>
                </a:lnTo>
                <a:lnTo>
                  <a:pt x="8292" y="3714"/>
                </a:lnTo>
                <a:lnTo>
                  <a:pt x="8298" y="3716"/>
                </a:lnTo>
                <a:lnTo>
                  <a:pt x="8302" y="3720"/>
                </a:lnTo>
                <a:lnTo>
                  <a:pt x="8308" y="3724"/>
                </a:lnTo>
                <a:lnTo>
                  <a:pt x="8312" y="3726"/>
                </a:lnTo>
                <a:lnTo>
                  <a:pt x="8316" y="3724"/>
                </a:lnTo>
                <a:lnTo>
                  <a:pt x="8322" y="3722"/>
                </a:lnTo>
                <a:lnTo>
                  <a:pt x="8330" y="3714"/>
                </a:lnTo>
                <a:lnTo>
                  <a:pt x="8334" y="3712"/>
                </a:lnTo>
                <a:lnTo>
                  <a:pt x="8340" y="3712"/>
                </a:lnTo>
                <a:lnTo>
                  <a:pt x="8346" y="3710"/>
                </a:lnTo>
                <a:lnTo>
                  <a:pt x="8348" y="3706"/>
                </a:lnTo>
                <a:lnTo>
                  <a:pt x="8350" y="3702"/>
                </a:lnTo>
                <a:lnTo>
                  <a:pt x="8352" y="3702"/>
                </a:lnTo>
                <a:lnTo>
                  <a:pt x="8356" y="3700"/>
                </a:lnTo>
                <a:lnTo>
                  <a:pt x="8360" y="3700"/>
                </a:lnTo>
                <a:lnTo>
                  <a:pt x="8364" y="3698"/>
                </a:lnTo>
                <a:lnTo>
                  <a:pt x="8368" y="3692"/>
                </a:lnTo>
                <a:lnTo>
                  <a:pt x="8372" y="3690"/>
                </a:lnTo>
                <a:lnTo>
                  <a:pt x="8376" y="3690"/>
                </a:lnTo>
                <a:lnTo>
                  <a:pt x="8382" y="3690"/>
                </a:lnTo>
                <a:lnTo>
                  <a:pt x="8388" y="3690"/>
                </a:lnTo>
                <a:lnTo>
                  <a:pt x="8396" y="3694"/>
                </a:lnTo>
                <a:lnTo>
                  <a:pt x="8402" y="3702"/>
                </a:lnTo>
                <a:lnTo>
                  <a:pt x="8406" y="3712"/>
                </a:lnTo>
                <a:lnTo>
                  <a:pt x="8408" y="3722"/>
                </a:lnTo>
                <a:lnTo>
                  <a:pt x="8412" y="3742"/>
                </a:lnTo>
                <a:lnTo>
                  <a:pt x="8414" y="3758"/>
                </a:lnTo>
                <a:lnTo>
                  <a:pt x="8418" y="3762"/>
                </a:lnTo>
                <a:lnTo>
                  <a:pt x="8420" y="3764"/>
                </a:lnTo>
                <a:lnTo>
                  <a:pt x="8430" y="3766"/>
                </a:lnTo>
                <a:lnTo>
                  <a:pt x="8438" y="3768"/>
                </a:lnTo>
                <a:lnTo>
                  <a:pt x="8444" y="3770"/>
                </a:lnTo>
                <a:lnTo>
                  <a:pt x="8446" y="3772"/>
                </a:lnTo>
                <a:lnTo>
                  <a:pt x="8450" y="3774"/>
                </a:lnTo>
                <a:lnTo>
                  <a:pt x="8454" y="3774"/>
                </a:lnTo>
                <a:lnTo>
                  <a:pt x="8458" y="3772"/>
                </a:lnTo>
                <a:lnTo>
                  <a:pt x="8468" y="3772"/>
                </a:lnTo>
                <a:lnTo>
                  <a:pt x="8474" y="3774"/>
                </a:lnTo>
                <a:lnTo>
                  <a:pt x="8478" y="3776"/>
                </a:lnTo>
                <a:lnTo>
                  <a:pt x="8484" y="3780"/>
                </a:lnTo>
                <a:lnTo>
                  <a:pt x="8490" y="3782"/>
                </a:lnTo>
                <a:lnTo>
                  <a:pt x="8492" y="3782"/>
                </a:lnTo>
                <a:lnTo>
                  <a:pt x="8496" y="3782"/>
                </a:lnTo>
                <a:lnTo>
                  <a:pt x="8502" y="3780"/>
                </a:lnTo>
                <a:lnTo>
                  <a:pt x="8508" y="3780"/>
                </a:lnTo>
                <a:lnTo>
                  <a:pt x="8524" y="3784"/>
                </a:lnTo>
                <a:lnTo>
                  <a:pt x="8538" y="3788"/>
                </a:lnTo>
                <a:lnTo>
                  <a:pt x="8542" y="3788"/>
                </a:lnTo>
                <a:lnTo>
                  <a:pt x="8542" y="3786"/>
                </a:lnTo>
                <a:lnTo>
                  <a:pt x="8542" y="3782"/>
                </a:lnTo>
                <a:lnTo>
                  <a:pt x="8544" y="3780"/>
                </a:lnTo>
                <a:lnTo>
                  <a:pt x="8546" y="3780"/>
                </a:lnTo>
                <a:lnTo>
                  <a:pt x="8550" y="3786"/>
                </a:lnTo>
                <a:lnTo>
                  <a:pt x="8554" y="3790"/>
                </a:lnTo>
                <a:lnTo>
                  <a:pt x="8560" y="3792"/>
                </a:lnTo>
                <a:lnTo>
                  <a:pt x="8568" y="3792"/>
                </a:lnTo>
                <a:lnTo>
                  <a:pt x="8578" y="3796"/>
                </a:lnTo>
                <a:lnTo>
                  <a:pt x="8582" y="3798"/>
                </a:lnTo>
                <a:lnTo>
                  <a:pt x="8584" y="3798"/>
                </a:lnTo>
                <a:lnTo>
                  <a:pt x="8586" y="3796"/>
                </a:lnTo>
                <a:lnTo>
                  <a:pt x="8586" y="3792"/>
                </a:lnTo>
                <a:lnTo>
                  <a:pt x="8588" y="3790"/>
                </a:lnTo>
                <a:lnTo>
                  <a:pt x="8590" y="3790"/>
                </a:lnTo>
                <a:lnTo>
                  <a:pt x="8594" y="3798"/>
                </a:lnTo>
                <a:lnTo>
                  <a:pt x="8598" y="3800"/>
                </a:lnTo>
                <a:lnTo>
                  <a:pt x="8602" y="3800"/>
                </a:lnTo>
                <a:lnTo>
                  <a:pt x="8604" y="3798"/>
                </a:lnTo>
                <a:lnTo>
                  <a:pt x="8612" y="3794"/>
                </a:lnTo>
                <a:lnTo>
                  <a:pt x="8616" y="3792"/>
                </a:lnTo>
                <a:lnTo>
                  <a:pt x="8618" y="3792"/>
                </a:lnTo>
                <a:lnTo>
                  <a:pt x="8620" y="3794"/>
                </a:lnTo>
                <a:lnTo>
                  <a:pt x="8622" y="3794"/>
                </a:lnTo>
                <a:lnTo>
                  <a:pt x="8626" y="3790"/>
                </a:lnTo>
                <a:lnTo>
                  <a:pt x="8628" y="3788"/>
                </a:lnTo>
                <a:lnTo>
                  <a:pt x="8634" y="3788"/>
                </a:lnTo>
                <a:lnTo>
                  <a:pt x="8640" y="3788"/>
                </a:lnTo>
                <a:lnTo>
                  <a:pt x="8650" y="3790"/>
                </a:lnTo>
                <a:lnTo>
                  <a:pt x="8658" y="3792"/>
                </a:lnTo>
                <a:lnTo>
                  <a:pt x="8664" y="3794"/>
                </a:lnTo>
                <a:lnTo>
                  <a:pt x="8666" y="3792"/>
                </a:lnTo>
                <a:lnTo>
                  <a:pt x="8666" y="3790"/>
                </a:lnTo>
                <a:lnTo>
                  <a:pt x="8668" y="3788"/>
                </a:lnTo>
                <a:lnTo>
                  <a:pt x="8670" y="3786"/>
                </a:lnTo>
                <a:lnTo>
                  <a:pt x="8674" y="3786"/>
                </a:lnTo>
                <a:lnTo>
                  <a:pt x="8682" y="3786"/>
                </a:lnTo>
                <a:lnTo>
                  <a:pt x="8698" y="3790"/>
                </a:lnTo>
                <a:lnTo>
                  <a:pt x="8708" y="3792"/>
                </a:lnTo>
                <a:lnTo>
                  <a:pt x="8712" y="3794"/>
                </a:lnTo>
                <a:lnTo>
                  <a:pt x="8716" y="3790"/>
                </a:lnTo>
                <a:lnTo>
                  <a:pt x="8720" y="3788"/>
                </a:lnTo>
                <a:lnTo>
                  <a:pt x="8728" y="3786"/>
                </a:lnTo>
                <a:lnTo>
                  <a:pt x="8754" y="3782"/>
                </a:lnTo>
                <a:lnTo>
                  <a:pt x="8780" y="3782"/>
                </a:lnTo>
                <a:lnTo>
                  <a:pt x="8788" y="3784"/>
                </a:lnTo>
                <a:lnTo>
                  <a:pt x="8792" y="3786"/>
                </a:lnTo>
                <a:lnTo>
                  <a:pt x="8792" y="3788"/>
                </a:lnTo>
                <a:lnTo>
                  <a:pt x="8794" y="3798"/>
                </a:lnTo>
                <a:lnTo>
                  <a:pt x="8792" y="3804"/>
                </a:lnTo>
                <a:lnTo>
                  <a:pt x="8794" y="3808"/>
                </a:lnTo>
                <a:lnTo>
                  <a:pt x="8796" y="3810"/>
                </a:lnTo>
                <a:lnTo>
                  <a:pt x="8804" y="3812"/>
                </a:lnTo>
                <a:lnTo>
                  <a:pt x="8810" y="3812"/>
                </a:lnTo>
                <a:lnTo>
                  <a:pt x="8812" y="3814"/>
                </a:lnTo>
                <a:lnTo>
                  <a:pt x="8814" y="3816"/>
                </a:lnTo>
                <a:lnTo>
                  <a:pt x="8814" y="3820"/>
                </a:lnTo>
                <a:lnTo>
                  <a:pt x="8814" y="3826"/>
                </a:lnTo>
                <a:lnTo>
                  <a:pt x="8814" y="3830"/>
                </a:lnTo>
                <a:lnTo>
                  <a:pt x="8816" y="3832"/>
                </a:lnTo>
                <a:lnTo>
                  <a:pt x="8820" y="3838"/>
                </a:lnTo>
                <a:lnTo>
                  <a:pt x="8820" y="3842"/>
                </a:lnTo>
                <a:lnTo>
                  <a:pt x="8820" y="3846"/>
                </a:lnTo>
                <a:lnTo>
                  <a:pt x="8822" y="3850"/>
                </a:lnTo>
                <a:lnTo>
                  <a:pt x="8826" y="3854"/>
                </a:lnTo>
                <a:lnTo>
                  <a:pt x="8824" y="3856"/>
                </a:lnTo>
                <a:lnTo>
                  <a:pt x="8824" y="3858"/>
                </a:lnTo>
                <a:lnTo>
                  <a:pt x="8828" y="3862"/>
                </a:lnTo>
                <a:lnTo>
                  <a:pt x="8832" y="3864"/>
                </a:lnTo>
                <a:lnTo>
                  <a:pt x="8834" y="3864"/>
                </a:lnTo>
                <a:lnTo>
                  <a:pt x="8838" y="3862"/>
                </a:lnTo>
                <a:lnTo>
                  <a:pt x="8840" y="3862"/>
                </a:lnTo>
                <a:lnTo>
                  <a:pt x="8844" y="3862"/>
                </a:lnTo>
                <a:lnTo>
                  <a:pt x="8846" y="3864"/>
                </a:lnTo>
                <a:lnTo>
                  <a:pt x="8852" y="3870"/>
                </a:lnTo>
                <a:lnTo>
                  <a:pt x="8856" y="3874"/>
                </a:lnTo>
                <a:lnTo>
                  <a:pt x="8860" y="3876"/>
                </a:lnTo>
                <a:lnTo>
                  <a:pt x="8864" y="3880"/>
                </a:lnTo>
                <a:lnTo>
                  <a:pt x="8870" y="3888"/>
                </a:lnTo>
                <a:lnTo>
                  <a:pt x="8874" y="3896"/>
                </a:lnTo>
                <a:lnTo>
                  <a:pt x="8880" y="3902"/>
                </a:lnTo>
                <a:lnTo>
                  <a:pt x="8888" y="3908"/>
                </a:lnTo>
                <a:lnTo>
                  <a:pt x="8896" y="3912"/>
                </a:lnTo>
                <a:lnTo>
                  <a:pt x="8904" y="3914"/>
                </a:lnTo>
                <a:lnTo>
                  <a:pt x="8912" y="3916"/>
                </a:lnTo>
                <a:lnTo>
                  <a:pt x="8920" y="3914"/>
                </a:lnTo>
                <a:lnTo>
                  <a:pt x="8926" y="3910"/>
                </a:lnTo>
                <a:lnTo>
                  <a:pt x="8932" y="3908"/>
                </a:lnTo>
                <a:lnTo>
                  <a:pt x="8936" y="3908"/>
                </a:lnTo>
                <a:lnTo>
                  <a:pt x="8940" y="3910"/>
                </a:lnTo>
                <a:lnTo>
                  <a:pt x="8940" y="3914"/>
                </a:lnTo>
                <a:lnTo>
                  <a:pt x="8940" y="3920"/>
                </a:lnTo>
                <a:lnTo>
                  <a:pt x="8934" y="3926"/>
                </a:lnTo>
                <a:lnTo>
                  <a:pt x="8928" y="3930"/>
                </a:lnTo>
                <a:lnTo>
                  <a:pt x="8916" y="3934"/>
                </a:lnTo>
                <a:lnTo>
                  <a:pt x="8904" y="3934"/>
                </a:lnTo>
                <a:lnTo>
                  <a:pt x="8894" y="3934"/>
                </a:lnTo>
                <a:lnTo>
                  <a:pt x="8880" y="3932"/>
                </a:lnTo>
                <a:lnTo>
                  <a:pt x="8880" y="3934"/>
                </a:lnTo>
                <a:lnTo>
                  <a:pt x="8884" y="3940"/>
                </a:lnTo>
                <a:lnTo>
                  <a:pt x="8908" y="3970"/>
                </a:lnTo>
                <a:lnTo>
                  <a:pt x="8938" y="4004"/>
                </a:lnTo>
                <a:lnTo>
                  <a:pt x="8948" y="4014"/>
                </a:lnTo>
                <a:lnTo>
                  <a:pt x="8958" y="4020"/>
                </a:lnTo>
                <a:lnTo>
                  <a:pt x="8968" y="4020"/>
                </a:lnTo>
                <a:lnTo>
                  <a:pt x="8978" y="4018"/>
                </a:lnTo>
                <a:lnTo>
                  <a:pt x="8990" y="4010"/>
                </a:lnTo>
                <a:lnTo>
                  <a:pt x="9006" y="3998"/>
                </a:lnTo>
                <a:lnTo>
                  <a:pt x="9012" y="3990"/>
                </a:lnTo>
                <a:lnTo>
                  <a:pt x="9016" y="3980"/>
                </a:lnTo>
                <a:lnTo>
                  <a:pt x="9016" y="3972"/>
                </a:lnTo>
                <a:lnTo>
                  <a:pt x="9016" y="3964"/>
                </a:lnTo>
                <a:lnTo>
                  <a:pt x="9016" y="3956"/>
                </a:lnTo>
                <a:lnTo>
                  <a:pt x="9018" y="3950"/>
                </a:lnTo>
                <a:lnTo>
                  <a:pt x="9020" y="3944"/>
                </a:lnTo>
                <a:lnTo>
                  <a:pt x="9026" y="3940"/>
                </a:lnTo>
                <a:lnTo>
                  <a:pt x="9034" y="3940"/>
                </a:lnTo>
                <a:lnTo>
                  <a:pt x="9036" y="3940"/>
                </a:lnTo>
                <a:lnTo>
                  <a:pt x="9036" y="3942"/>
                </a:lnTo>
                <a:lnTo>
                  <a:pt x="9034" y="3944"/>
                </a:lnTo>
                <a:lnTo>
                  <a:pt x="9030" y="3954"/>
                </a:lnTo>
                <a:lnTo>
                  <a:pt x="9030" y="3958"/>
                </a:lnTo>
                <a:lnTo>
                  <a:pt x="9032" y="3964"/>
                </a:lnTo>
                <a:lnTo>
                  <a:pt x="9034" y="3968"/>
                </a:lnTo>
                <a:lnTo>
                  <a:pt x="9034" y="3972"/>
                </a:lnTo>
                <a:lnTo>
                  <a:pt x="9032" y="3978"/>
                </a:lnTo>
                <a:lnTo>
                  <a:pt x="9032" y="3982"/>
                </a:lnTo>
                <a:lnTo>
                  <a:pt x="9032" y="3988"/>
                </a:lnTo>
                <a:lnTo>
                  <a:pt x="9034" y="3994"/>
                </a:lnTo>
                <a:lnTo>
                  <a:pt x="9038" y="4004"/>
                </a:lnTo>
                <a:lnTo>
                  <a:pt x="9042" y="4014"/>
                </a:lnTo>
                <a:lnTo>
                  <a:pt x="9042" y="4022"/>
                </a:lnTo>
                <a:lnTo>
                  <a:pt x="9040" y="4038"/>
                </a:lnTo>
                <a:lnTo>
                  <a:pt x="9038" y="4048"/>
                </a:lnTo>
                <a:lnTo>
                  <a:pt x="9036" y="4062"/>
                </a:lnTo>
                <a:lnTo>
                  <a:pt x="9036" y="4084"/>
                </a:lnTo>
                <a:lnTo>
                  <a:pt x="9040" y="4112"/>
                </a:lnTo>
                <a:lnTo>
                  <a:pt x="9058" y="4210"/>
                </a:lnTo>
                <a:lnTo>
                  <a:pt x="9064" y="4240"/>
                </a:lnTo>
                <a:lnTo>
                  <a:pt x="9072" y="4260"/>
                </a:lnTo>
                <a:lnTo>
                  <a:pt x="9082" y="4284"/>
                </a:lnTo>
                <a:lnTo>
                  <a:pt x="9098" y="4320"/>
                </a:lnTo>
                <a:lnTo>
                  <a:pt x="9112" y="4364"/>
                </a:lnTo>
                <a:lnTo>
                  <a:pt x="9118" y="4384"/>
                </a:lnTo>
                <a:lnTo>
                  <a:pt x="9122" y="4404"/>
                </a:lnTo>
                <a:lnTo>
                  <a:pt x="9124" y="4418"/>
                </a:lnTo>
                <a:lnTo>
                  <a:pt x="9130" y="4432"/>
                </a:lnTo>
                <a:lnTo>
                  <a:pt x="9142" y="4454"/>
                </a:lnTo>
                <a:lnTo>
                  <a:pt x="9150" y="4468"/>
                </a:lnTo>
                <a:lnTo>
                  <a:pt x="9158" y="4484"/>
                </a:lnTo>
                <a:lnTo>
                  <a:pt x="9164" y="4504"/>
                </a:lnTo>
                <a:lnTo>
                  <a:pt x="9170" y="4530"/>
                </a:lnTo>
                <a:lnTo>
                  <a:pt x="9178" y="4558"/>
                </a:lnTo>
                <a:lnTo>
                  <a:pt x="9186" y="4582"/>
                </a:lnTo>
                <a:lnTo>
                  <a:pt x="9194" y="4604"/>
                </a:lnTo>
                <a:lnTo>
                  <a:pt x="9202" y="4622"/>
                </a:lnTo>
                <a:lnTo>
                  <a:pt x="9212" y="4636"/>
                </a:lnTo>
                <a:lnTo>
                  <a:pt x="9218" y="4640"/>
                </a:lnTo>
                <a:lnTo>
                  <a:pt x="9222" y="4644"/>
                </a:lnTo>
                <a:lnTo>
                  <a:pt x="9228" y="4646"/>
                </a:lnTo>
                <a:lnTo>
                  <a:pt x="9232" y="4646"/>
                </a:lnTo>
                <a:lnTo>
                  <a:pt x="9238" y="4644"/>
                </a:lnTo>
                <a:lnTo>
                  <a:pt x="9242" y="4640"/>
                </a:lnTo>
                <a:lnTo>
                  <a:pt x="9250" y="4630"/>
                </a:lnTo>
                <a:lnTo>
                  <a:pt x="9254" y="4624"/>
                </a:lnTo>
                <a:lnTo>
                  <a:pt x="9256" y="4616"/>
                </a:lnTo>
                <a:lnTo>
                  <a:pt x="9256" y="4610"/>
                </a:lnTo>
                <a:lnTo>
                  <a:pt x="9258" y="4604"/>
                </a:lnTo>
                <a:lnTo>
                  <a:pt x="9260" y="4600"/>
                </a:lnTo>
                <a:lnTo>
                  <a:pt x="9264" y="4596"/>
                </a:lnTo>
                <a:lnTo>
                  <a:pt x="9272" y="4592"/>
                </a:lnTo>
                <a:lnTo>
                  <a:pt x="9290" y="4590"/>
                </a:lnTo>
                <a:lnTo>
                  <a:pt x="9300" y="4590"/>
                </a:lnTo>
                <a:lnTo>
                  <a:pt x="9306" y="4590"/>
                </a:lnTo>
                <a:lnTo>
                  <a:pt x="9308" y="4590"/>
                </a:lnTo>
                <a:lnTo>
                  <a:pt x="9308" y="4588"/>
                </a:lnTo>
                <a:lnTo>
                  <a:pt x="9308" y="4586"/>
                </a:lnTo>
                <a:lnTo>
                  <a:pt x="9304" y="4584"/>
                </a:lnTo>
                <a:lnTo>
                  <a:pt x="9296" y="4582"/>
                </a:lnTo>
                <a:lnTo>
                  <a:pt x="9292" y="4578"/>
                </a:lnTo>
                <a:lnTo>
                  <a:pt x="9290" y="4574"/>
                </a:lnTo>
                <a:lnTo>
                  <a:pt x="9290" y="4570"/>
                </a:lnTo>
                <a:lnTo>
                  <a:pt x="9294" y="4562"/>
                </a:lnTo>
                <a:lnTo>
                  <a:pt x="9300" y="4554"/>
                </a:lnTo>
                <a:lnTo>
                  <a:pt x="9302" y="4548"/>
                </a:lnTo>
                <a:lnTo>
                  <a:pt x="9302" y="4540"/>
                </a:lnTo>
                <a:lnTo>
                  <a:pt x="9304" y="4538"/>
                </a:lnTo>
                <a:lnTo>
                  <a:pt x="9316" y="4538"/>
                </a:lnTo>
                <a:lnTo>
                  <a:pt x="9324" y="4536"/>
                </a:lnTo>
                <a:lnTo>
                  <a:pt x="9326" y="4534"/>
                </a:lnTo>
                <a:lnTo>
                  <a:pt x="9326" y="4530"/>
                </a:lnTo>
                <a:lnTo>
                  <a:pt x="9326" y="4522"/>
                </a:lnTo>
                <a:lnTo>
                  <a:pt x="9324" y="4512"/>
                </a:lnTo>
                <a:lnTo>
                  <a:pt x="9322" y="4498"/>
                </a:lnTo>
                <a:lnTo>
                  <a:pt x="9322" y="4482"/>
                </a:lnTo>
                <a:lnTo>
                  <a:pt x="9322" y="4464"/>
                </a:lnTo>
                <a:lnTo>
                  <a:pt x="9328" y="4446"/>
                </a:lnTo>
                <a:lnTo>
                  <a:pt x="9336" y="4424"/>
                </a:lnTo>
                <a:lnTo>
                  <a:pt x="9342" y="4406"/>
                </a:lnTo>
                <a:lnTo>
                  <a:pt x="9344" y="4396"/>
                </a:lnTo>
                <a:lnTo>
                  <a:pt x="9344" y="4384"/>
                </a:lnTo>
                <a:lnTo>
                  <a:pt x="9342" y="4370"/>
                </a:lnTo>
                <a:lnTo>
                  <a:pt x="9338" y="4354"/>
                </a:lnTo>
                <a:lnTo>
                  <a:pt x="9336" y="4342"/>
                </a:lnTo>
                <a:lnTo>
                  <a:pt x="9338" y="4336"/>
                </a:lnTo>
                <a:lnTo>
                  <a:pt x="9338" y="4328"/>
                </a:lnTo>
                <a:lnTo>
                  <a:pt x="9334" y="4308"/>
                </a:lnTo>
                <a:lnTo>
                  <a:pt x="9332" y="4296"/>
                </a:lnTo>
                <a:lnTo>
                  <a:pt x="9330" y="4288"/>
                </a:lnTo>
                <a:lnTo>
                  <a:pt x="9332" y="4282"/>
                </a:lnTo>
                <a:lnTo>
                  <a:pt x="9334" y="4276"/>
                </a:lnTo>
                <a:lnTo>
                  <a:pt x="9336" y="4272"/>
                </a:lnTo>
                <a:lnTo>
                  <a:pt x="9340" y="4270"/>
                </a:lnTo>
                <a:lnTo>
                  <a:pt x="9348" y="4266"/>
                </a:lnTo>
                <a:lnTo>
                  <a:pt x="9358" y="4264"/>
                </a:lnTo>
                <a:lnTo>
                  <a:pt x="9368" y="4262"/>
                </a:lnTo>
                <a:lnTo>
                  <a:pt x="9376" y="4258"/>
                </a:lnTo>
                <a:lnTo>
                  <a:pt x="9378" y="4254"/>
                </a:lnTo>
                <a:lnTo>
                  <a:pt x="9380" y="4248"/>
                </a:lnTo>
                <a:lnTo>
                  <a:pt x="9382" y="4240"/>
                </a:lnTo>
                <a:lnTo>
                  <a:pt x="9384" y="4236"/>
                </a:lnTo>
                <a:lnTo>
                  <a:pt x="9386" y="4236"/>
                </a:lnTo>
                <a:lnTo>
                  <a:pt x="9390" y="4238"/>
                </a:lnTo>
                <a:lnTo>
                  <a:pt x="9396" y="4240"/>
                </a:lnTo>
                <a:lnTo>
                  <a:pt x="9402" y="4242"/>
                </a:lnTo>
                <a:lnTo>
                  <a:pt x="9408" y="4240"/>
                </a:lnTo>
                <a:lnTo>
                  <a:pt x="9418" y="4232"/>
                </a:lnTo>
                <a:lnTo>
                  <a:pt x="9424" y="4224"/>
                </a:lnTo>
                <a:lnTo>
                  <a:pt x="9426" y="4218"/>
                </a:lnTo>
                <a:lnTo>
                  <a:pt x="9426" y="4216"/>
                </a:lnTo>
                <a:lnTo>
                  <a:pt x="9426" y="4214"/>
                </a:lnTo>
                <a:lnTo>
                  <a:pt x="9426" y="4210"/>
                </a:lnTo>
                <a:lnTo>
                  <a:pt x="9430" y="4204"/>
                </a:lnTo>
                <a:lnTo>
                  <a:pt x="9440" y="4196"/>
                </a:lnTo>
                <a:lnTo>
                  <a:pt x="9454" y="4182"/>
                </a:lnTo>
                <a:lnTo>
                  <a:pt x="9472" y="4166"/>
                </a:lnTo>
                <a:lnTo>
                  <a:pt x="9488" y="4148"/>
                </a:lnTo>
                <a:lnTo>
                  <a:pt x="9512" y="4118"/>
                </a:lnTo>
                <a:lnTo>
                  <a:pt x="9532" y="4090"/>
                </a:lnTo>
                <a:lnTo>
                  <a:pt x="9542" y="4080"/>
                </a:lnTo>
                <a:lnTo>
                  <a:pt x="9554" y="4070"/>
                </a:lnTo>
                <a:lnTo>
                  <a:pt x="9562" y="4066"/>
                </a:lnTo>
                <a:lnTo>
                  <a:pt x="9568" y="4064"/>
                </a:lnTo>
                <a:lnTo>
                  <a:pt x="9576" y="4064"/>
                </a:lnTo>
                <a:lnTo>
                  <a:pt x="9580" y="4062"/>
                </a:lnTo>
                <a:lnTo>
                  <a:pt x="9586" y="4060"/>
                </a:lnTo>
                <a:lnTo>
                  <a:pt x="9592" y="4052"/>
                </a:lnTo>
                <a:lnTo>
                  <a:pt x="9602" y="4040"/>
                </a:lnTo>
                <a:lnTo>
                  <a:pt x="9610" y="4026"/>
                </a:lnTo>
                <a:lnTo>
                  <a:pt x="9612" y="4016"/>
                </a:lnTo>
                <a:lnTo>
                  <a:pt x="9612" y="4008"/>
                </a:lnTo>
                <a:lnTo>
                  <a:pt x="9610" y="4000"/>
                </a:lnTo>
                <a:lnTo>
                  <a:pt x="9608" y="3994"/>
                </a:lnTo>
                <a:lnTo>
                  <a:pt x="9608" y="3988"/>
                </a:lnTo>
                <a:lnTo>
                  <a:pt x="9614" y="3984"/>
                </a:lnTo>
                <a:lnTo>
                  <a:pt x="9624" y="3978"/>
                </a:lnTo>
                <a:lnTo>
                  <a:pt x="9636" y="3972"/>
                </a:lnTo>
                <a:lnTo>
                  <a:pt x="9646" y="3966"/>
                </a:lnTo>
                <a:lnTo>
                  <a:pt x="9656" y="3958"/>
                </a:lnTo>
                <a:lnTo>
                  <a:pt x="9658" y="3956"/>
                </a:lnTo>
                <a:lnTo>
                  <a:pt x="9660" y="3956"/>
                </a:lnTo>
                <a:lnTo>
                  <a:pt x="9662" y="3966"/>
                </a:lnTo>
                <a:lnTo>
                  <a:pt x="9664" y="3972"/>
                </a:lnTo>
                <a:lnTo>
                  <a:pt x="9666" y="3976"/>
                </a:lnTo>
                <a:lnTo>
                  <a:pt x="9668" y="3976"/>
                </a:lnTo>
                <a:lnTo>
                  <a:pt x="9672" y="3976"/>
                </a:lnTo>
                <a:lnTo>
                  <a:pt x="9678" y="3974"/>
                </a:lnTo>
                <a:lnTo>
                  <a:pt x="9682" y="3972"/>
                </a:lnTo>
                <a:lnTo>
                  <a:pt x="9686" y="3974"/>
                </a:lnTo>
                <a:lnTo>
                  <a:pt x="9694" y="3976"/>
                </a:lnTo>
                <a:lnTo>
                  <a:pt x="9696" y="3976"/>
                </a:lnTo>
                <a:lnTo>
                  <a:pt x="9698" y="3972"/>
                </a:lnTo>
                <a:lnTo>
                  <a:pt x="9696" y="3966"/>
                </a:lnTo>
                <a:lnTo>
                  <a:pt x="9694" y="3960"/>
                </a:lnTo>
                <a:lnTo>
                  <a:pt x="9694" y="3958"/>
                </a:lnTo>
                <a:lnTo>
                  <a:pt x="9698" y="3956"/>
                </a:lnTo>
                <a:lnTo>
                  <a:pt x="9700" y="3962"/>
                </a:lnTo>
                <a:lnTo>
                  <a:pt x="9704" y="3964"/>
                </a:lnTo>
                <a:lnTo>
                  <a:pt x="9706" y="3966"/>
                </a:lnTo>
                <a:lnTo>
                  <a:pt x="9708" y="3966"/>
                </a:lnTo>
                <a:lnTo>
                  <a:pt x="9714" y="3964"/>
                </a:lnTo>
                <a:lnTo>
                  <a:pt x="9716" y="3966"/>
                </a:lnTo>
                <a:lnTo>
                  <a:pt x="9716" y="3968"/>
                </a:lnTo>
                <a:lnTo>
                  <a:pt x="9718" y="3970"/>
                </a:lnTo>
                <a:lnTo>
                  <a:pt x="9720" y="3970"/>
                </a:lnTo>
                <a:lnTo>
                  <a:pt x="9726" y="3964"/>
                </a:lnTo>
                <a:lnTo>
                  <a:pt x="9730" y="3958"/>
                </a:lnTo>
                <a:lnTo>
                  <a:pt x="9734" y="3958"/>
                </a:lnTo>
                <a:lnTo>
                  <a:pt x="9736" y="3962"/>
                </a:lnTo>
                <a:lnTo>
                  <a:pt x="9740" y="3964"/>
                </a:lnTo>
                <a:lnTo>
                  <a:pt x="9744" y="3964"/>
                </a:lnTo>
                <a:lnTo>
                  <a:pt x="9748" y="3960"/>
                </a:lnTo>
                <a:lnTo>
                  <a:pt x="9752" y="3954"/>
                </a:lnTo>
                <a:lnTo>
                  <a:pt x="9754" y="3948"/>
                </a:lnTo>
                <a:lnTo>
                  <a:pt x="9756" y="3940"/>
                </a:lnTo>
                <a:lnTo>
                  <a:pt x="9756" y="3932"/>
                </a:lnTo>
                <a:lnTo>
                  <a:pt x="9756" y="3926"/>
                </a:lnTo>
                <a:lnTo>
                  <a:pt x="9752" y="3916"/>
                </a:lnTo>
                <a:lnTo>
                  <a:pt x="9754" y="3906"/>
                </a:lnTo>
                <a:lnTo>
                  <a:pt x="9754" y="3898"/>
                </a:lnTo>
                <a:lnTo>
                  <a:pt x="9754" y="3890"/>
                </a:lnTo>
                <a:lnTo>
                  <a:pt x="9752" y="3884"/>
                </a:lnTo>
                <a:lnTo>
                  <a:pt x="9754" y="3884"/>
                </a:lnTo>
                <a:lnTo>
                  <a:pt x="9756" y="3878"/>
                </a:lnTo>
                <a:lnTo>
                  <a:pt x="9758" y="3876"/>
                </a:lnTo>
                <a:lnTo>
                  <a:pt x="9760" y="3876"/>
                </a:lnTo>
                <a:lnTo>
                  <a:pt x="9762" y="3884"/>
                </a:lnTo>
                <a:lnTo>
                  <a:pt x="9764" y="3910"/>
                </a:lnTo>
                <a:lnTo>
                  <a:pt x="9768" y="3920"/>
                </a:lnTo>
                <a:lnTo>
                  <a:pt x="9770" y="3924"/>
                </a:lnTo>
                <a:lnTo>
                  <a:pt x="9772" y="3926"/>
                </a:lnTo>
                <a:lnTo>
                  <a:pt x="9776" y="3926"/>
                </a:lnTo>
                <a:lnTo>
                  <a:pt x="9780" y="3926"/>
                </a:lnTo>
                <a:lnTo>
                  <a:pt x="9786" y="3920"/>
                </a:lnTo>
                <a:lnTo>
                  <a:pt x="9788" y="3918"/>
                </a:lnTo>
                <a:lnTo>
                  <a:pt x="9792" y="3918"/>
                </a:lnTo>
                <a:lnTo>
                  <a:pt x="9794" y="3920"/>
                </a:lnTo>
                <a:lnTo>
                  <a:pt x="9798" y="3924"/>
                </a:lnTo>
                <a:lnTo>
                  <a:pt x="9804" y="3938"/>
                </a:lnTo>
                <a:lnTo>
                  <a:pt x="9812" y="3958"/>
                </a:lnTo>
                <a:lnTo>
                  <a:pt x="9814" y="3968"/>
                </a:lnTo>
                <a:lnTo>
                  <a:pt x="9816" y="3972"/>
                </a:lnTo>
                <a:lnTo>
                  <a:pt x="9818" y="3974"/>
                </a:lnTo>
                <a:lnTo>
                  <a:pt x="9816" y="3978"/>
                </a:lnTo>
                <a:lnTo>
                  <a:pt x="9814" y="3986"/>
                </a:lnTo>
                <a:lnTo>
                  <a:pt x="9814" y="3992"/>
                </a:lnTo>
                <a:lnTo>
                  <a:pt x="9820" y="4004"/>
                </a:lnTo>
                <a:lnTo>
                  <a:pt x="9824" y="4012"/>
                </a:lnTo>
                <a:lnTo>
                  <a:pt x="9824" y="4010"/>
                </a:lnTo>
                <a:lnTo>
                  <a:pt x="9824" y="4000"/>
                </a:lnTo>
                <a:lnTo>
                  <a:pt x="9826" y="4006"/>
                </a:lnTo>
                <a:lnTo>
                  <a:pt x="9830" y="4016"/>
                </a:lnTo>
                <a:lnTo>
                  <a:pt x="9834" y="4026"/>
                </a:lnTo>
                <a:lnTo>
                  <a:pt x="9840" y="4038"/>
                </a:lnTo>
                <a:lnTo>
                  <a:pt x="9858" y="4062"/>
                </a:lnTo>
                <a:lnTo>
                  <a:pt x="9862" y="4064"/>
                </a:lnTo>
                <a:lnTo>
                  <a:pt x="9862" y="4058"/>
                </a:lnTo>
                <a:lnTo>
                  <a:pt x="9864" y="4054"/>
                </a:lnTo>
                <a:lnTo>
                  <a:pt x="9866" y="4052"/>
                </a:lnTo>
                <a:lnTo>
                  <a:pt x="9868" y="4052"/>
                </a:lnTo>
                <a:lnTo>
                  <a:pt x="9872" y="4054"/>
                </a:lnTo>
                <a:lnTo>
                  <a:pt x="9878" y="4060"/>
                </a:lnTo>
                <a:lnTo>
                  <a:pt x="9882" y="4068"/>
                </a:lnTo>
                <a:lnTo>
                  <a:pt x="9888" y="4076"/>
                </a:lnTo>
                <a:lnTo>
                  <a:pt x="9892" y="4080"/>
                </a:lnTo>
                <a:lnTo>
                  <a:pt x="9896" y="4086"/>
                </a:lnTo>
                <a:lnTo>
                  <a:pt x="9896" y="4088"/>
                </a:lnTo>
                <a:lnTo>
                  <a:pt x="9894" y="4090"/>
                </a:lnTo>
                <a:lnTo>
                  <a:pt x="9890" y="4092"/>
                </a:lnTo>
                <a:lnTo>
                  <a:pt x="9888" y="4092"/>
                </a:lnTo>
                <a:lnTo>
                  <a:pt x="9884" y="4088"/>
                </a:lnTo>
                <a:lnTo>
                  <a:pt x="9880" y="4086"/>
                </a:lnTo>
                <a:lnTo>
                  <a:pt x="9878" y="4086"/>
                </a:lnTo>
                <a:lnTo>
                  <a:pt x="9876" y="4086"/>
                </a:lnTo>
                <a:lnTo>
                  <a:pt x="9874" y="4090"/>
                </a:lnTo>
                <a:lnTo>
                  <a:pt x="9876" y="4094"/>
                </a:lnTo>
                <a:lnTo>
                  <a:pt x="9880" y="4104"/>
                </a:lnTo>
                <a:lnTo>
                  <a:pt x="9886" y="4110"/>
                </a:lnTo>
                <a:lnTo>
                  <a:pt x="9888" y="4112"/>
                </a:lnTo>
                <a:lnTo>
                  <a:pt x="9888" y="4110"/>
                </a:lnTo>
                <a:lnTo>
                  <a:pt x="9890" y="4104"/>
                </a:lnTo>
                <a:lnTo>
                  <a:pt x="9892" y="4098"/>
                </a:lnTo>
                <a:lnTo>
                  <a:pt x="9894" y="4098"/>
                </a:lnTo>
                <a:lnTo>
                  <a:pt x="9896" y="4100"/>
                </a:lnTo>
                <a:lnTo>
                  <a:pt x="9898" y="4110"/>
                </a:lnTo>
                <a:lnTo>
                  <a:pt x="9904" y="4128"/>
                </a:lnTo>
                <a:lnTo>
                  <a:pt x="9914" y="4150"/>
                </a:lnTo>
                <a:lnTo>
                  <a:pt x="9918" y="4160"/>
                </a:lnTo>
                <a:lnTo>
                  <a:pt x="9920" y="4170"/>
                </a:lnTo>
                <a:lnTo>
                  <a:pt x="9920" y="4182"/>
                </a:lnTo>
                <a:lnTo>
                  <a:pt x="9920" y="4192"/>
                </a:lnTo>
                <a:lnTo>
                  <a:pt x="9906" y="4234"/>
                </a:lnTo>
                <a:lnTo>
                  <a:pt x="9902" y="4250"/>
                </a:lnTo>
                <a:lnTo>
                  <a:pt x="9902" y="4256"/>
                </a:lnTo>
                <a:lnTo>
                  <a:pt x="9906" y="4258"/>
                </a:lnTo>
                <a:lnTo>
                  <a:pt x="9908" y="4258"/>
                </a:lnTo>
                <a:lnTo>
                  <a:pt x="9910" y="4256"/>
                </a:lnTo>
                <a:lnTo>
                  <a:pt x="9914" y="4250"/>
                </a:lnTo>
                <a:lnTo>
                  <a:pt x="9916" y="4242"/>
                </a:lnTo>
                <a:lnTo>
                  <a:pt x="9918" y="4242"/>
                </a:lnTo>
                <a:lnTo>
                  <a:pt x="9922" y="4240"/>
                </a:lnTo>
                <a:lnTo>
                  <a:pt x="9924" y="4242"/>
                </a:lnTo>
                <a:lnTo>
                  <a:pt x="9924" y="4244"/>
                </a:lnTo>
                <a:lnTo>
                  <a:pt x="9922" y="4248"/>
                </a:lnTo>
                <a:lnTo>
                  <a:pt x="9920" y="4252"/>
                </a:lnTo>
                <a:lnTo>
                  <a:pt x="9920" y="4256"/>
                </a:lnTo>
                <a:lnTo>
                  <a:pt x="9924" y="4260"/>
                </a:lnTo>
                <a:lnTo>
                  <a:pt x="9928" y="4262"/>
                </a:lnTo>
                <a:lnTo>
                  <a:pt x="9930" y="4264"/>
                </a:lnTo>
                <a:lnTo>
                  <a:pt x="9934" y="4262"/>
                </a:lnTo>
                <a:lnTo>
                  <a:pt x="9936" y="4260"/>
                </a:lnTo>
                <a:lnTo>
                  <a:pt x="9938" y="4260"/>
                </a:lnTo>
                <a:lnTo>
                  <a:pt x="9940" y="4262"/>
                </a:lnTo>
                <a:lnTo>
                  <a:pt x="9944" y="4264"/>
                </a:lnTo>
                <a:lnTo>
                  <a:pt x="9950" y="4268"/>
                </a:lnTo>
                <a:lnTo>
                  <a:pt x="9954" y="4268"/>
                </a:lnTo>
                <a:lnTo>
                  <a:pt x="9958" y="4264"/>
                </a:lnTo>
                <a:lnTo>
                  <a:pt x="9962" y="4260"/>
                </a:lnTo>
                <a:lnTo>
                  <a:pt x="9970" y="4246"/>
                </a:lnTo>
                <a:lnTo>
                  <a:pt x="9974" y="4242"/>
                </a:lnTo>
                <a:lnTo>
                  <a:pt x="9980" y="4238"/>
                </a:lnTo>
                <a:lnTo>
                  <a:pt x="9994" y="4232"/>
                </a:lnTo>
                <a:lnTo>
                  <a:pt x="10000" y="4228"/>
                </a:lnTo>
                <a:lnTo>
                  <a:pt x="10006" y="4222"/>
                </a:lnTo>
                <a:lnTo>
                  <a:pt x="10010" y="4216"/>
                </a:lnTo>
                <a:lnTo>
                  <a:pt x="10014" y="4208"/>
                </a:lnTo>
                <a:lnTo>
                  <a:pt x="10014" y="4198"/>
                </a:lnTo>
                <a:lnTo>
                  <a:pt x="10012" y="4184"/>
                </a:lnTo>
                <a:lnTo>
                  <a:pt x="10016" y="4190"/>
                </a:lnTo>
                <a:lnTo>
                  <a:pt x="10018" y="4192"/>
                </a:lnTo>
                <a:lnTo>
                  <a:pt x="10020" y="4196"/>
                </a:lnTo>
                <a:lnTo>
                  <a:pt x="10022" y="4200"/>
                </a:lnTo>
                <a:lnTo>
                  <a:pt x="10024" y="4204"/>
                </a:lnTo>
                <a:lnTo>
                  <a:pt x="10026" y="4208"/>
                </a:lnTo>
                <a:lnTo>
                  <a:pt x="10028" y="4218"/>
                </a:lnTo>
                <a:lnTo>
                  <a:pt x="10032" y="4228"/>
                </a:lnTo>
                <a:lnTo>
                  <a:pt x="10034" y="4230"/>
                </a:lnTo>
                <a:lnTo>
                  <a:pt x="10036" y="4230"/>
                </a:lnTo>
                <a:lnTo>
                  <a:pt x="10040" y="4228"/>
                </a:lnTo>
                <a:lnTo>
                  <a:pt x="10044" y="4226"/>
                </a:lnTo>
                <a:lnTo>
                  <a:pt x="10046" y="4226"/>
                </a:lnTo>
                <a:lnTo>
                  <a:pt x="10046" y="4228"/>
                </a:lnTo>
                <a:lnTo>
                  <a:pt x="10044" y="4232"/>
                </a:lnTo>
                <a:lnTo>
                  <a:pt x="10040" y="4238"/>
                </a:lnTo>
                <a:lnTo>
                  <a:pt x="10038" y="4246"/>
                </a:lnTo>
                <a:lnTo>
                  <a:pt x="10040" y="4252"/>
                </a:lnTo>
                <a:lnTo>
                  <a:pt x="10042" y="4258"/>
                </a:lnTo>
                <a:lnTo>
                  <a:pt x="10046" y="4270"/>
                </a:lnTo>
                <a:lnTo>
                  <a:pt x="10046" y="4290"/>
                </a:lnTo>
                <a:lnTo>
                  <a:pt x="10048" y="4312"/>
                </a:lnTo>
                <a:lnTo>
                  <a:pt x="10052" y="4328"/>
                </a:lnTo>
                <a:lnTo>
                  <a:pt x="10058" y="4340"/>
                </a:lnTo>
                <a:lnTo>
                  <a:pt x="10060" y="4354"/>
                </a:lnTo>
                <a:lnTo>
                  <a:pt x="10060" y="4372"/>
                </a:lnTo>
                <a:lnTo>
                  <a:pt x="10062" y="4372"/>
                </a:lnTo>
                <a:lnTo>
                  <a:pt x="10062" y="4370"/>
                </a:lnTo>
                <a:lnTo>
                  <a:pt x="10064" y="4366"/>
                </a:lnTo>
                <a:lnTo>
                  <a:pt x="10066" y="4366"/>
                </a:lnTo>
                <a:lnTo>
                  <a:pt x="10068" y="4372"/>
                </a:lnTo>
                <a:lnTo>
                  <a:pt x="10074" y="4384"/>
                </a:lnTo>
                <a:lnTo>
                  <a:pt x="10076" y="4398"/>
                </a:lnTo>
                <a:lnTo>
                  <a:pt x="10078" y="4408"/>
                </a:lnTo>
                <a:lnTo>
                  <a:pt x="10080" y="4416"/>
                </a:lnTo>
                <a:lnTo>
                  <a:pt x="10082" y="4424"/>
                </a:lnTo>
                <a:lnTo>
                  <a:pt x="10080" y="4432"/>
                </a:lnTo>
                <a:lnTo>
                  <a:pt x="10080" y="4440"/>
                </a:lnTo>
                <a:lnTo>
                  <a:pt x="10080" y="4442"/>
                </a:lnTo>
                <a:lnTo>
                  <a:pt x="10082" y="4444"/>
                </a:lnTo>
                <a:lnTo>
                  <a:pt x="10082" y="4446"/>
                </a:lnTo>
                <a:lnTo>
                  <a:pt x="10082" y="4450"/>
                </a:lnTo>
                <a:lnTo>
                  <a:pt x="10080" y="4458"/>
                </a:lnTo>
                <a:lnTo>
                  <a:pt x="10080" y="4464"/>
                </a:lnTo>
                <a:lnTo>
                  <a:pt x="10080" y="4466"/>
                </a:lnTo>
                <a:lnTo>
                  <a:pt x="10084" y="4468"/>
                </a:lnTo>
                <a:lnTo>
                  <a:pt x="10088" y="4468"/>
                </a:lnTo>
                <a:lnTo>
                  <a:pt x="10088" y="4470"/>
                </a:lnTo>
                <a:lnTo>
                  <a:pt x="10088" y="4476"/>
                </a:lnTo>
                <a:lnTo>
                  <a:pt x="10084" y="4486"/>
                </a:lnTo>
                <a:lnTo>
                  <a:pt x="10084" y="4496"/>
                </a:lnTo>
                <a:lnTo>
                  <a:pt x="10084" y="4504"/>
                </a:lnTo>
                <a:lnTo>
                  <a:pt x="10080" y="4510"/>
                </a:lnTo>
                <a:lnTo>
                  <a:pt x="10078" y="4518"/>
                </a:lnTo>
                <a:lnTo>
                  <a:pt x="10076" y="4542"/>
                </a:lnTo>
                <a:lnTo>
                  <a:pt x="10078" y="4550"/>
                </a:lnTo>
                <a:lnTo>
                  <a:pt x="10078" y="4552"/>
                </a:lnTo>
                <a:lnTo>
                  <a:pt x="10080" y="4552"/>
                </a:lnTo>
                <a:lnTo>
                  <a:pt x="10086" y="4536"/>
                </a:lnTo>
                <a:lnTo>
                  <a:pt x="10086" y="4540"/>
                </a:lnTo>
                <a:lnTo>
                  <a:pt x="10086" y="4544"/>
                </a:lnTo>
                <a:lnTo>
                  <a:pt x="10078" y="4560"/>
                </a:lnTo>
                <a:lnTo>
                  <a:pt x="10076" y="4568"/>
                </a:lnTo>
                <a:lnTo>
                  <a:pt x="10076" y="4572"/>
                </a:lnTo>
                <a:lnTo>
                  <a:pt x="10076" y="4574"/>
                </a:lnTo>
                <a:lnTo>
                  <a:pt x="10074" y="4578"/>
                </a:lnTo>
                <a:lnTo>
                  <a:pt x="10070" y="4590"/>
                </a:lnTo>
                <a:lnTo>
                  <a:pt x="10070" y="4594"/>
                </a:lnTo>
                <a:lnTo>
                  <a:pt x="10070" y="4600"/>
                </a:lnTo>
                <a:lnTo>
                  <a:pt x="10070" y="4606"/>
                </a:lnTo>
                <a:lnTo>
                  <a:pt x="10066" y="4616"/>
                </a:lnTo>
                <a:lnTo>
                  <a:pt x="10066" y="4626"/>
                </a:lnTo>
                <a:lnTo>
                  <a:pt x="10066" y="4634"/>
                </a:lnTo>
                <a:lnTo>
                  <a:pt x="10068" y="4638"/>
                </a:lnTo>
                <a:lnTo>
                  <a:pt x="10070" y="4642"/>
                </a:lnTo>
                <a:lnTo>
                  <a:pt x="10072" y="4642"/>
                </a:lnTo>
                <a:lnTo>
                  <a:pt x="10076" y="4638"/>
                </a:lnTo>
                <a:lnTo>
                  <a:pt x="10078" y="4632"/>
                </a:lnTo>
                <a:lnTo>
                  <a:pt x="10078" y="4630"/>
                </a:lnTo>
                <a:lnTo>
                  <a:pt x="10080" y="4630"/>
                </a:lnTo>
                <a:lnTo>
                  <a:pt x="10086" y="4638"/>
                </a:lnTo>
                <a:lnTo>
                  <a:pt x="10092" y="4650"/>
                </a:lnTo>
                <a:lnTo>
                  <a:pt x="10100" y="4664"/>
                </a:lnTo>
                <a:lnTo>
                  <a:pt x="10108" y="4680"/>
                </a:lnTo>
                <a:lnTo>
                  <a:pt x="10112" y="4684"/>
                </a:lnTo>
                <a:lnTo>
                  <a:pt x="10116" y="4684"/>
                </a:lnTo>
                <a:lnTo>
                  <a:pt x="10120" y="4684"/>
                </a:lnTo>
                <a:lnTo>
                  <a:pt x="10122" y="4688"/>
                </a:lnTo>
                <a:lnTo>
                  <a:pt x="10122" y="4692"/>
                </a:lnTo>
                <a:lnTo>
                  <a:pt x="10122" y="4698"/>
                </a:lnTo>
                <a:lnTo>
                  <a:pt x="10124" y="4702"/>
                </a:lnTo>
                <a:lnTo>
                  <a:pt x="10128" y="4706"/>
                </a:lnTo>
                <a:lnTo>
                  <a:pt x="10136" y="4716"/>
                </a:lnTo>
                <a:lnTo>
                  <a:pt x="10142" y="4726"/>
                </a:lnTo>
                <a:lnTo>
                  <a:pt x="10148" y="4734"/>
                </a:lnTo>
                <a:lnTo>
                  <a:pt x="10150" y="4744"/>
                </a:lnTo>
                <a:lnTo>
                  <a:pt x="10154" y="4762"/>
                </a:lnTo>
                <a:lnTo>
                  <a:pt x="10156" y="4778"/>
                </a:lnTo>
                <a:lnTo>
                  <a:pt x="10154" y="4788"/>
                </a:lnTo>
                <a:lnTo>
                  <a:pt x="10152" y="4792"/>
                </a:lnTo>
                <a:lnTo>
                  <a:pt x="10154" y="4794"/>
                </a:lnTo>
                <a:lnTo>
                  <a:pt x="10156" y="4798"/>
                </a:lnTo>
                <a:lnTo>
                  <a:pt x="10158" y="4802"/>
                </a:lnTo>
                <a:lnTo>
                  <a:pt x="10160" y="4806"/>
                </a:lnTo>
                <a:lnTo>
                  <a:pt x="10162" y="4812"/>
                </a:lnTo>
                <a:lnTo>
                  <a:pt x="10160" y="4820"/>
                </a:lnTo>
                <a:lnTo>
                  <a:pt x="10160" y="4834"/>
                </a:lnTo>
                <a:lnTo>
                  <a:pt x="10164" y="4838"/>
                </a:lnTo>
                <a:lnTo>
                  <a:pt x="10166" y="4840"/>
                </a:lnTo>
                <a:lnTo>
                  <a:pt x="10166" y="4844"/>
                </a:lnTo>
                <a:lnTo>
                  <a:pt x="10166" y="4848"/>
                </a:lnTo>
                <a:lnTo>
                  <a:pt x="10170" y="4854"/>
                </a:lnTo>
                <a:lnTo>
                  <a:pt x="10180" y="4866"/>
                </a:lnTo>
                <a:lnTo>
                  <a:pt x="10184" y="4872"/>
                </a:lnTo>
                <a:lnTo>
                  <a:pt x="10188" y="4880"/>
                </a:lnTo>
                <a:lnTo>
                  <a:pt x="10192" y="4888"/>
                </a:lnTo>
                <a:lnTo>
                  <a:pt x="10190" y="4894"/>
                </a:lnTo>
                <a:lnTo>
                  <a:pt x="10190" y="4900"/>
                </a:lnTo>
                <a:lnTo>
                  <a:pt x="10190" y="4902"/>
                </a:lnTo>
                <a:lnTo>
                  <a:pt x="10196" y="4906"/>
                </a:lnTo>
                <a:lnTo>
                  <a:pt x="10210" y="4916"/>
                </a:lnTo>
                <a:lnTo>
                  <a:pt x="10220" y="4924"/>
                </a:lnTo>
                <a:lnTo>
                  <a:pt x="10232" y="4936"/>
                </a:lnTo>
                <a:lnTo>
                  <a:pt x="10244" y="4946"/>
                </a:lnTo>
                <a:lnTo>
                  <a:pt x="10252" y="4952"/>
                </a:lnTo>
                <a:lnTo>
                  <a:pt x="10264" y="4958"/>
                </a:lnTo>
                <a:lnTo>
                  <a:pt x="10270" y="4962"/>
                </a:lnTo>
                <a:lnTo>
                  <a:pt x="10272" y="4966"/>
                </a:lnTo>
                <a:lnTo>
                  <a:pt x="10276" y="4970"/>
                </a:lnTo>
                <a:lnTo>
                  <a:pt x="10278" y="4976"/>
                </a:lnTo>
                <a:lnTo>
                  <a:pt x="10280" y="4974"/>
                </a:lnTo>
                <a:lnTo>
                  <a:pt x="10284" y="4970"/>
                </a:lnTo>
                <a:lnTo>
                  <a:pt x="10288" y="4968"/>
                </a:lnTo>
                <a:lnTo>
                  <a:pt x="10292" y="4970"/>
                </a:lnTo>
                <a:lnTo>
                  <a:pt x="10296" y="4968"/>
                </a:lnTo>
                <a:lnTo>
                  <a:pt x="10298" y="4966"/>
                </a:lnTo>
                <a:lnTo>
                  <a:pt x="10298" y="4964"/>
                </a:lnTo>
                <a:lnTo>
                  <a:pt x="10302" y="4964"/>
                </a:lnTo>
                <a:lnTo>
                  <a:pt x="10304" y="4966"/>
                </a:lnTo>
                <a:lnTo>
                  <a:pt x="10304" y="4968"/>
                </a:lnTo>
                <a:lnTo>
                  <a:pt x="10302" y="4972"/>
                </a:lnTo>
                <a:lnTo>
                  <a:pt x="10306" y="4974"/>
                </a:lnTo>
                <a:lnTo>
                  <a:pt x="10308" y="4974"/>
                </a:lnTo>
                <a:lnTo>
                  <a:pt x="10310" y="4972"/>
                </a:lnTo>
                <a:lnTo>
                  <a:pt x="10310" y="4964"/>
                </a:lnTo>
                <a:lnTo>
                  <a:pt x="10308" y="4956"/>
                </a:lnTo>
                <a:lnTo>
                  <a:pt x="10304" y="4948"/>
                </a:lnTo>
                <a:lnTo>
                  <a:pt x="10302" y="4944"/>
                </a:lnTo>
                <a:lnTo>
                  <a:pt x="10300" y="4940"/>
                </a:lnTo>
                <a:lnTo>
                  <a:pt x="10298" y="4928"/>
                </a:lnTo>
                <a:lnTo>
                  <a:pt x="10294" y="4918"/>
                </a:lnTo>
                <a:lnTo>
                  <a:pt x="10292" y="4912"/>
                </a:lnTo>
                <a:lnTo>
                  <a:pt x="10286" y="4908"/>
                </a:lnTo>
                <a:lnTo>
                  <a:pt x="10280" y="4902"/>
                </a:lnTo>
                <a:lnTo>
                  <a:pt x="10276" y="4896"/>
                </a:lnTo>
                <a:lnTo>
                  <a:pt x="10276" y="4890"/>
                </a:lnTo>
                <a:lnTo>
                  <a:pt x="10276" y="4884"/>
                </a:lnTo>
                <a:lnTo>
                  <a:pt x="10278" y="4872"/>
                </a:lnTo>
                <a:lnTo>
                  <a:pt x="10278" y="4868"/>
                </a:lnTo>
                <a:lnTo>
                  <a:pt x="10276" y="4862"/>
                </a:lnTo>
                <a:lnTo>
                  <a:pt x="10274" y="4858"/>
                </a:lnTo>
                <a:lnTo>
                  <a:pt x="10274" y="4852"/>
                </a:lnTo>
                <a:lnTo>
                  <a:pt x="10276" y="4846"/>
                </a:lnTo>
                <a:lnTo>
                  <a:pt x="10276" y="4842"/>
                </a:lnTo>
                <a:lnTo>
                  <a:pt x="10276" y="4836"/>
                </a:lnTo>
                <a:lnTo>
                  <a:pt x="10278" y="4826"/>
                </a:lnTo>
                <a:lnTo>
                  <a:pt x="10278" y="4814"/>
                </a:lnTo>
                <a:lnTo>
                  <a:pt x="10276" y="4798"/>
                </a:lnTo>
                <a:lnTo>
                  <a:pt x="10272" y="4790"/>
                </a:lnTo>
                <a:lnTo>
                  <a:pt x="10266" y="4782"/>
                </a:lnTo>
                <a:lnTo>
                  <a:pt x="10254" y="4768"/>
                </a:lnTo>
                <a:lnTo>
                  <a:pt x="10244" y="4756"/>
                </a:lnTo>
                <a:lnTo>
                  <a:pt x="10238" y="4750"/>
                </a:lnTo>
                <a:lnTo>
                  <a:pt x="10236" y="4744"/>
                </a:lnTo>
                <a:lnTo>
                  <a:pt x="10234" y="4738"/>
                </a:lnTo>
                <a:lnTo>
                  <a:pt x="10230" y="4736"/>
                </a:lnTo>
                <a:lnTo>
                  <a:pt x="10222" y="4734"/>
                </a:lnTo>
                <a:lnTo>
                  <a:pt x="10212" y="4724"/>
                </a:lnTo>
                <a:lnTo>
                  <a:pt x="10200" y="4706"/>
                </a:lnTo>
                <a:lnTo>
                  <a:pt x="10196" y="4702"/>
                </a:lnTo>
                <a:lnTo>
                  <a:pt x="10192" y="4700"/>
                </a:lnTo>
                <a:lnTo>
                  <a:pt x="10188" y="4702"/>
                </a:lnTo>
                <a:lnTo>
                  <a:pt x="10184" y="4704"/>
                </a:lnTo>
                <a:lnTo>
                  <a:pt x="10180" y="4704"/>
                </a:lnTo>
                <a:lnTo>
                  <a:pt x="10174" y="4700"/>
                </a:lnTo>
                <a:lnTo>
                  <a:pt x="10166" y="4692"/>
                </a:lnTo>
                <a:lnTo>
                  <a:pt x="10160" y="4686"/>
                </a:lnTo>
                <a:lnTo>
                  <a:pt x="10158" y="4676"/>
                </a:lnTo>
                <a:lnTo>
                  <a:pt x="10154" y="4652"/>
                </a:lnTo>
                <a:lnTo>
                  <a:pt x="10150" y="4632"/>
                </a:lnTo>
                <a:lnTo>
                  <a:pt x="10148" y="4626"/>
                </a:lnTo>
                <a:lnTo>
                  <a:pt x="10146" y="4626"/>
                </a:lnTo>
                <a:lnTo>
                  <a:pt x="10144" y="4626"/>
                </a:lnTo>
                <a:lnTo>
                  <a:pt x="10140" y="4624"/>
                </a:lnTo>
                <a:lnTo>
                  <a:pt x="10136" y="4614"/>
                </a:lnTo>
                <a:lnTo>
                  <a:pt x="10134" y="4602"/>
                </a:lnTo>
                <a:lnTo>
                  <a:pt x="10132" y="4588"/>
                </a:lnTo>
                <a:lnTo>
                  <a:pt x="10130" y="4584"/>
                </a:lnTo>
                <a:lnTo>
                  <a:pt x="10128" y="4584"/>
                </a:lnTo>
                <a:lnTo>
                  <a:pt x="10118" y="4588"/>
                </a:lnTo>
                <a:lnTo>
                  <a:pt x="10114" y="4588"/>
                </a:lnTo>
                <a:lnTo>
                  <a:pt x="10110" y="4590"/>
                </a:lnTo>
                <a:lnTo>
                  <a:pt x="10108" y="4586"/>
                </a:lnTo>
                <a:lnTo>
                  <a:pt x="10108" y="4580"/>
                </a:lnTo>
                <a:lnTo>
                  <a:pt x="10106" y="4550"/>
                </a:lnTo>
                <a:lnTo>
                  <a:pt x="10108" y="4528"/>
                </a:lnTo>
                <a:lnTo>
                  <a:pt x="10108" y="4520"/>
                </a:lnTo>
                <a:lnTo>
                  <a:pt x="10112" y="4514"/>
                </a:lnTo>
                <a:lnTo>
                  <a:pt x="10116" y="4510"/>
                </a:lnTo>
                <a:lnTo>
                  <a:pt x="10118" y="4506"/>
                </a:lnTo>
                <a:lnTo>
                  <a:pt x="10120" y="4494"/>
                </a:lnTo>
                <a:lnTo>
                  <a:pt x="10122" y="4484"/>
                </a:lnTo>
                <a:lnTo>
                  <a:pt x="10126" y="4474"/>
                </a:lnTo>
                <a:lnTo>
                  <a:pt x="10132" y="4458"/>
                </a:lnTo>
                <a:lnTo>
                  <a:pt x="10138" y="4432"/>
                </a:lnTo>
                <a:lnTo>
                  <a:pt x="10140" y="4408"/>
                </a:lnTo>
                <a:lnTo>
                  <a:pt x="10142" y="4400"/>
                </a:lnTo>
                <a:lnTo>
                  <a:pt x="10140" y="4396"/>
                </a:lnTo>
                <a:lnTo>
                  <a:pt x="10138" y="4392"/>
                </a:lnTo>
                <a:lnTo>
                  <a:pt x="10136" y="4388"/>
                </a:lnTo>
                <a:lnTo>
                  <a:pt x="10136" y="4386"/>
                </a:lnTo>
                <a:lnTo>
                  <a:pt x="10138" y="4382"/>
                </a:lnTo>
                <a:lnTo>
                  <a:pt x="10140" y="4380"/>
                </a:lnTo>
                <a:lnTo>
                  <a:pt x="10146" y="4378"/>
                </a:lnTo>
                <a:lnTo>
                  <a:pt x="10160" y="4376"/>
                </a:lnTo>
                <a:lnTo>
                  <a:pt x="10166" y="4376"/>
                </a:lnTo>
                <a:lnTo>
                  <a:pt x="10172" y="4378"/>
                </a:lnTo>
                <a:lnTo>
                  <a:pt x="10174" y="4380"/>
                </a:lnTo>
                <a:lnTo>
                  <a:pt x="10174" y="4384"/>
                </a:lnTo>
                <a:lnTo>
                  <a:pt x="10174" y="4394"/>
                </a:lnTo>
                <a:lnTo>
                  <a:pt x="10170" y="4410"/>
                </a:lnTo>
                <a:lnTo>
                  <a:pt x="10170" y="4420"/>
                </a:lnTo>
                <a:lnTo>
                  <a:pt x="10172" y="4422"/>
                </a:lnTo>
                <a:lnTo>
                  <a:pt x="10174" y="4422"/>
                </a:lnTo>
                <a:lnTo>
                  <a:pt x="10182" y="4420"/>
                </a:lnTo>
                <a:lnTo>
                  <a:pt x="10184" y="4420"/>
                </a:lnTo>
                <a:lnTo>
                  <a:pt x="10188" y="4422"/>
                </a:lnTo>
                <a:lnTo>
                  <a:pt x="10192" y="4422"/>
                </a:lnTo>
                <a:lnTo>
                  <a:pt x="10194" y="4422"/>
                </a:lnTo>
                <a:lnTo>
                  <a:pt x="10200" y="4420"/>
                </a:lnTo>
                <a:lnTo>
                  <a:pt x="10204" y="4418"/>
                </a:lnTo>
                <a:lnTo>
                  <a:pt x="10206" y="4418"/>
                </a:lnTo>
                <a:lnTo>
                  <a:pt x="10210" y="4420"/>
                </a:lnTo>
                <a:lnTo>
                  <a:pt x="10218" y="4428"/>
                </a:lnTo>
                <a:lnTo>
                  <a:pt x="10224" y="4436"/>
                </a:lnTo>
                <a:lnTo>
                  <a:pt x="10232" y="4442"/>
                </a:lnTo>
                <a:lnTo>
                  <a:pt x="10234" y="4446"/>
                </a:lnTo>
                <a:lnTo>
                  <a:pt x="10238" y="4448"/>
                </a:lnTo>
                <a:lnTo>
                  <a:pt x="10242" y="4448"/>
                </a:lnTo>
                <a:lnTo>
                  <a:pt x="10244" y="4452"/>
                </a:lnTo>
                <a:lnTo>
                  <a:pt x="10248" y="4458"/>
                </a:lnTo>
                <a:lnTo>
                  <a:pt x="10250" y="4464"/>
                </a:lnTo>
                <a:lnTo>
                  <a:pt x="10252" y="4466"/>
                </a:lnTo>
                <a:lnTo>
                  <a:pt x="10256" y="4468"/>
                </a:lnTo>
                <a:lnTo>
                  <a:pt x="10250" y="4454"/>
                </a:lnTo>
                <a:lnTo>
                  <a:pt x="10250" y="4446"/>
                </a:lnTo>
                <a:lnTo>
                  <a:pt x="10250" y="4454"/>
                </a:lnTo>
                <a:lnTo>
                  <a:pt x="10256" y="4468"/>
                </a:lnTo>
                <a:lnTo>
                  <a:pt x="10262" y="4480"/>
                </a:lnTo>
                <a:lnTo>
                  <a:pt x="10264" y="4486"/>
                </a:lnTo>
                <a:lnTo>
                  <a:pt x="10262" y="4490"/>
                </a:lnTo>
                <a:lnTo>
                  <a:pt x="10262" y="4500"/>
                </a:lnTo>
                <a:lnTo>
                  <a:pt x="10264" y="4508"/>
                </a:lnTo>
                <a:lnTo>
                  <a:pt x="10264" y="4510"/>
                </a:lnTo>
                <a:lnTo>
                  <a:pt x="10266" y="4510"/>
                </a:lnTo>
                <a:lnTo>
                  <a:pt x="10270" y="4508"/>
                </a:lnTo>
                <a:lnTo>
                  <a:pt x="10274" y="4506"/>
                </a:lnTo>
                <a:lnTo>
                  <a:pt x="10276" y="4506"/>
                </a:lnTo>
                <a:lnTo>
                  <a:pt x="10276" y="4504"/>
                </a:lnTo>
                <a:lnTo>
                  <a:pt x="10276" y="4498"/>
                </a:lnTo>
                <a:lnTo>
                  <a:pt x="10276" y="4496"/>
                </a:lnTo>
                <a:lnTo>
                  <a:pt x="10278" y="4494"/>
                </a:lnTo>
                <a:lnTo>
                  <a:pt x="10280" y="4496"/>
                </a:lnTo>
                <a:lnTo>
                  <a:pt x="10284" y="4500"/>
                </a:lnTo>
                <a:lnTo>
                  <a:pt x="10286" y="4504"/>
                </a:lnTo>
                <a:lnTo>
                  <a:pt x="10288" y="4508"/>
                </a:lnTo>
                <a:lnTo>
                  <a:pt x="10284" y="4514"/>
                </a:lnTo>
                <a:lnTo>
                  <a:pt x="10280" y="4518"/>
                </a:lnTo>
                <a:lnTo>
                  <a:pt x="10280" y="4522"/>
                </a:lnTo>
                <a:lnTo>
                  <a:pt x="10282" y="4524"/>
                </a:lnTo>
                <a:lnTo>
                  <a:pt x="10284" y="4526"/>
                </a:lnTo>
                <a:lnTo>
                  <a:pt x="10286" y="4526"/>
                </a:lnTo>
                <a:lnTo>
                  <a:pt x="10290" y="4524"/>
                </a:lnTo>
                <a:lnTo>
                  <a:pt x="10292" y="4520"/>
                </a:lnTo>
                <a:lnTo>
                  <a:pt x="10294" y="4520"/>
                </a:lnTo>
                <a:lnTo>
                  <a:pt x="10296" y="4522"/>
                </a:lnTo>
                <a:lnTo>
                  <a:pt x="10300" y="4524"/>
                </a:lnTo>
                <a:lnTo>
                  <a:pt x="10304" y="4524"/>
                </a:lnTo>
                <a:lnTo>
                  <a:pt x="10310" y="4526"/>
                </a:lnTo>
                <a:lnTo>
                  <a:pt x="10312" y="4528"/>
                </a:lnTo>
                <a:lnTo>
                  <a:pt x="10316" y="4532"/>
                </a:lnTo>
                <a:lnTo>
                  <a:pt x="10320" y="4540"/>
                </a:lnTo>
                <a:lnTo>
                  <a:pt x="10322" y="4542"/>
                </a:lnTo>
                <a:lnTo>
                  <a:pt x="10324" y="4544"/>
                </a:lnTo>
                <a:lnTo>
                  <a:pt x="10328" y="4542"/>
                </a:lnTo>
                <a:lnTo>
                  <a:pt x="10332" y="4542"/>
                </a:lnTo>
                <a:lnTo>
                  <a:pt x="10334" y="4542"/>
                </a:lnTo>
                <a:lnTo>
                  <a:pt x="10338" y="4544"/>
                </a:lnTo>
                <a:lnTo>
                  <a:pt x="10340" y="4548"/>
                </a:lnTo>
                <a:lnTo>
                  <a:pt x="10340" y="4552"/>
                </a:lnTo>
                <a:lnTo>
                  <a:pt x="10336" y="4558"/>
                </a:lnTo>
                <a:lnTo>
                  <a:pt x="10332" y="4568"/>
                </a:lnTo>
                <a:lnTo>
                  <a:pt x="10330" y="4576"/>
                </a:lnTo>
                <a:lnTo>
                  <a:pt x="10330" y="4588"/>
                </a:lnTo>
                <a:lnTo>
                  <a:pt x="10328" y="4608"/>
                </a:lnTo>
                <a:lnTo>
                  <a:pt x="10330" y="4620"/>
                </a:lnTo>
                <a:lnTo>
                  <a:pt x="10332" y="4624"/>
                </a:lnTo>
                <a:lnTo>
                  <a:pt x="10334" y="4624"/>
                </a:lnTo>
                <a:lnTo>
                  <a:pt x="10338" y="4622"/>
                </a:lnTo>
                <a:lnTo>
                  <a:pt x="10344" y="4616"/>
                </a:lnTo>
                <a:lnTo>
                  <a:pt x="10366" y="4594"/>
                </a:lnTo>
                <a:lnTo>
                  <a:pt x="10376" y="4588"/>
                </a:lnTo>
                <a:lnTo>
                  <a:pt x="10384" y="4584"/>
                </a:lnTo>
                <a:lnTo>
                  <a:pt x="10388" y="4582"/>
                </a:lnTo>
                <a:lnTo>
                  <a:pt x="10390" y="4580"/>
                </a:lnTo>
                <a:lnTo>
                  <a:pt x="10390" y="4576"/>
                </a:lnTo>
                <a:lnTo>
                  <a:pt x="10390" y="4574"/>
                </a:lnTo>
                <a:lnTo>
                  <a:pt x="10396" y="4572"/>
                </a:lnTo>
                <a:lnTo>
                  <a:pt x="10400" y="4570"/>
                </a:lnTo>
                <a:lnTo>
                  <a:pt x="10404" y="4564"/>
                </a:lnTo>
                <a:lnTo>
                  <a:pt x="10408" y="4544"/>
                </a:lnTo>
                <a:lnTo>
                  <a:pt x="10412" y="4528"/>
                </a:lnTo>
                <a:lnTo>
                  <a:pt x="10414" y="4522"/>
                </a:lnTo>
                <a:lnTo>
                  <a:pt x="10416" y="4522"/>
                </a:lnTo>
                <a:lnTo>
                  <a:pt x="10422" y="4528"/>
                </a:lnTo>
                <a:lnTo>
                  <a:pt x="10424" y="4530"/>
                </a:lnTo>
                <a:lnTo>
                  <a:pt x="10428" y="4532"/>
                </a:lnTo>
                <a:lnTo>
                  <a:pt x="10432" y="4532"/>
                </a:lnTo>
                <a:lnTo>
                  <a:pt x="10438" y="4530"/>
                </a:lnTo>
                <a:lnTo>
                  <a:pt x="10444" y="4526"/>
                </a:lnTo>
                <a:lnTo>
                  <a:pt x="10454" y="4518"/>
                </a:lnTo>
                <a:lnTo>
                  <a:pt x="10464" y="4510"/>
                </a:lnTo>
                <a:lnTo>
                  <a:pt x="10472" y="4504"/>
                </a:lnTo>
                <a:lnTo>
                  <a:pt x="10488" y="4494"/>
                </a:lnTo>
                <a:lnTo>
                  <a:pt x="10494" y="4492"/>
                </a:lnTo>
                <a:lnTo>
                  <a:pt x="10498" y="4486"/>
                </a:lnTo>
                <a:lnTo>
                  <a:pt x="10502" y="4480"/>
                </a:lnTo>
                <a:lnTo>
                  <a:pt x="10506" y="4470"/>
                </a:lnTo>
                <a:lnTo>
                  <a:pt x="10510" y="4452"/>
                </a:lnTo>
                <a:lnTo>
                  <a:pt x="10510" y="4436"/>
                </a:lnTo>
                <a:lnTo>
                  <a:pt x="10512" y="4426"/>
                </a:lnTo>
                <a:lnTo>
                  <a:pt x="10512" y="4424"/>
                </a:lnTo>
                <a:lnTo>
                  <a:pt x="10514" y="4422"/>
                </a:lnTo>
                <a:lnTo>
                  <a:pt x="10518" y="4420"/>
                </a:lnTo>
                <a:lnTo>
                  <a:pt x="10518" y="4418"/>
                </a:lnTo>
                <a:lnTo>
                  <a:pt x="10518" y="4412"/>
                </a:lnTo>
                <a:lnTo>
                  <a:pt x="10516" y="4406"/>
                </a:lnTo>
                <a:lnTo>
                  <a:pt x="10512" y="4398"/>
                </a:lnTo>
                <a:lnTo>
                  <a:pt x="10510" y="4394"/>
                </a:lnTo>
                <a:lnTo>
                  <a:pt x="10510" y="4388"/>
                </a:lnTo>
                <a:lnTo>
                  <a:pt x="10512" y="4374"/>
                </a:lnTo>
                <a:lnTo>
                  <a:pt x="10512" y="4352"/>
                </a:lnTo>
                <a:lnTo>
                  <a:pt x="10510" y="4338"/>
                </a:lnTo>
                <a:lnTo>
                  <a:pt x="10506" y="4322"/>
                </a:lnTo>
                <a:lnTo>
                  <a:pt x="10494" y="4294"/>
                </a:lnTo>
                <a:lnTo>
                  <a:pt x="10486" y="4278"/>
                </a:lnTo>
                <a:lnTo>
                  <a:pt x="10478" y="4268"/>
                </a:lnTo>
                <a:lnTo>
                  <a:pt x="10474" y="4256"/>
                </a:lnTo>
                <a:lnTo>
                  <a:pt x="10468" y="4246"/>
                </a:lnTo>
                <a:lnTo>
                  <a:pt x="10462" y="4240"/>
                </a:lnTo>
                <a:lnTo>
                  <a:pt x="10452" y="4234"/>
                </a:lnTo>
                <a:lnTo>
                  <a:pt x="10438" y="4220"/>
                </a:lnTo>
                <a:lnTo>
                  <a:pt x="10422" y="4202"/>
                </a:lnTo>
                <a:lnTo>
                  <a:pt x="10410" y="4186"/>
                </a:lnTo>
                <a:lnTo>
                  <a:pt x="10402" y="4172"/>
                </a:lnTo>
                <a:lnTo>
                  <a:pt x="10398" y="4166"/>
                </a:lnTo>
                <a:lnTo>
                  <a:pt x="10398" y="4158"/>
                </a:lnTo>
                <a:lnTo>
                  <a:pt x="10396" y="4154"/>
                </a:lnTo>
                <a:lnTo>
                  <a:pt x="10394" y="4150"/>
                </a:lnTo>
                <a:lnTo>
                  <a:pt x="10388" y="4146"/>
                </a:lnTo>
                <a:lnTo>
                  <a:pt x="10380" y="4138"/>
                </a:lnTo>
                <a:lnTo>
                  <a:pt x="10376" y="4132"/>
                </a:lnTo>
                <a:lnTo>
                  <a:pt x="10370" y="4124"/>
                </a:lnTo>
                <a:lnTo>
                  <a:pt x="10368" y="4114"/>
                </a:lnTo>
                <a:lnTo>
                  <a:pt x="10366" y="4104"/>
                </a:lnTo>
                <a:lnTo>
                  <a:pt x="10368" y="4094"/>
                </a:lnTo>
                <a:lnTo>
                  <a:pt x="10370" y="4082"/>
                </a:lnTo>
                <a:lnTo>
                  <a:pt x="10374" y="4072"/>
                </a:lnTo>
                <a:lnTo>
                  <a:pt x="10380" y="4064"/>
                </a:lnTo>
                <a:lnTo>
                  <a:pt x="10386" y="4054"/>
                </a:lnTo>
                <a:lnTo>
                  <a:pt x="10394" y="4048"/>
                </a:lnTo>
                <a:lnTo>
                  <a:pt x="10400" y="4042"/>
                </a:lnTo>
                <a:lnTo>
                  <a:pt x="10404" y="4036"/>
                </a:lnTo>
                <a:lnTo>
                  <a:pt x="10408" y="4024"/>
                </a:lnTo>
                <a:lnTo>
                  <a:pt x="10410" y="4016"/>
                </a:lnTo>
                <a:lnTo>
                  <a:pt x="10412" y="4012"/>
                </a:lnTo>
                <a:lnTo>
                  <a:pt x="10414" y="4008"/>
                </a:lnTo>
                <a:lnTo>
                  <a:pt x="10420" y="4006"/>
                </a:lnTo>
                <a:lnTo>
                  <a:pt x="10424" y="4006"/>
                </a:lnTo>
                <a:lnTo>
                  <a:pt x="10426" y="4008"/>
                </a:lnTo>
                <a:lnTo>
                  <a:pt x="10430" y="4006"/>
                </a:lnTo>
                <a:lnTo>
                  <a:pt x="10432" y="4002"/>
                </a:lnTo>
                <a:lnTo>
                  <a:pt x="10434" y="3998"/>
                </a:lnTo>
                <a:lnTo>
                  <a:pt x="10436" y="3994"/>
                </a:lnTo>
                <a:lnTo>
                  <a:pt x="10442" y="3988"/>
                </a:lnTo>
                <a:lnTo>
                  <a:pt x="10450" y="3984"/>
                </a:lnTo>
                <a:lnTo>
                  <a:pt x="10456" y="3982"/>
                </a:lnTo>
                <a:lnTo>
                  <a:pt x="10460" y="3980"/>
                </a:lnTo>
                <a:lnTo>
                  <a:pt x="10462" y="3978"/>
                </a:lnTo>
                <a:lnTo>
                  <a:pt x="10464" y="3980"/>
                </a:lnTo>
                <a:lnTo>
                  <a:pt x="10468" y="3980"/>
                </a:lnTo>
                <a:lnTo>
                  <a:pt x="10470" y="3980"/>
                </a:lnTo>
                <a:lnTo>
                  <a:pt x="10472" y="3976"/>
                </a:lnTo>
                <a:lnTo>
                  <a:pt x="10474" y="3974"/>
                </a:lnTo>
                <a:lnTo>
                  <a:pt x="10476" y="3974"/>
                </a:lnTo>
                <a:lnTo>
                  <a:pt x="10478" y="3976"/>
                </a:lnTo>
                <a:lnTo>
                  <a:pt x="10480" y="3976"/>
                </a:lnTo>
                <a:lnTo>
                  <a:pt x="10482" y="3974"/>
                </a:lnTo>
                <a:lnTo>
                  <a:pt x="10482" y="3970"/>
                </a:lnTo>
                <a:lnTo>
                  <a:pt x="10480" y="3966"/>
                </a:lnTo>
                <a:lnTo>
                  <a:pt x="10480" y="3962"/>
                </a:lnTo>
                <a:lnTo>
                  <a:pt x="10480" y="3960"/>
                </a:lnTo>
                <a:lnTo>
                  <a:pt x="10482" y="3960"/>
                </a:lnTo>
                <a:lnTo>
                  <a:pt x="10484" y="3966"/>
                </a:lnTo>
                <a:lnTo>
                  <a:pt x="10490" y="3972"/>
                </a:lnTo>
                <a:lnTo>
                  <a:pt x="10494" y="3974"/>
                </a:lnTo>
                <a:lnTo>
                  <a:pt x="10498" y="3974"/>
                </a:lnTo>
                <a:lnTo>
                  <a:pt x="10502" y="3976"/>
                </a:lnTo>
                <a:lnTo>
                  <a:pt x="10504" y="3976"/>
                </a:lnTo>
                <a:lnTo>
                  <a:pt x="10504" y="3980"/>
                </a:lnTo>
                <a:lnTo>
                  <a:pt x="10502" y="3984"/>
                </a:lnTo>
                <a:lnTo>
                  <a:pt x="10504" y="3984"/>
                </a:lnTo>
                <a:lnTo>
                  <a:pt x="10508" y="3984"/>
                </a:lnTo>
                <a:lnTo>
                  <a:pt x="10518" y="3984"/>
                </a:lnTo>
                <a:lnTo>
                  <a:pt x="10522" y="3982"/>
                </a:lnTo>
                <a:lnTo>
                  <a:pt x="10522" y="3978"/>
                </a:lnTo>
                <a:lnTo>
                  <a:pt x="10522" y="3970"/>
                </a:lnTo>
                <a:lnTo>
                  <a:pt x="10522" y="3972"/>
                </a:lnTo>
                <a:lnTo>
                  <a:pt x="10526" y="3976"/>
                </a:lnTo>
                <a:lnTo>
                  <a:pt x="10528" y="3982"/>
                </a:lnTo>
                <a:lnTo>
                  <a:pt x="10530" y="3982"/>
                </a:lnTo>
                <a:lnTo>
                  <a:pt x="10534" y="3982"/>
                </a:lnTo>
                <a:lnTo>
                  <a:pt x="10536" y="3982"/>
                </a:lnTo>
                <a:lnTo>
                  <a:pt x="10538" y="3986"/>
                </a:lnTo>
                <a:lnTo>
                  <a:pt x="10534" y="3988"/>
                </a:lnTo>
                <a:lnTo>
                  <a:pt x="10530" y="3994"/>
                </a:lnTo>
                <a:lnTo>
                  <a:pt x="10528" y="4002"/>
                </a:lnTo>
                <a:lnTo>
                  <a:pt x="10528" y="4010"/>
                </a:lnTo>
                <a:lnTo>
                  <a:pt x="10528" y="4014"/>
                </a:lnTo>
                <a:lnTo>
                  <a:pt x="10530" y="4016"/>
                </a:lnTo>
                <a:lnTo>
                  <a:pt x="10530" y="4020"/>
                </a:lnTo>
                <a:lnTo>
                  <a:pt x="10530" y="4024"/>
                </a:lnTo>
                <a:lnTo>
                  <a:pt x="10532" y="4028"/>
                </a:lnTo>
                <a:lnTo>
                  <a:pt x="10534" y="4030"/>
                </a:lnTo>
                <a:lnTo>
                  <a:pt x="10536" y="4034"/>
                </a:lnTo>
                <a:lnTo>
                  <a:pt x="10536" y="4038"/>
                </a:lnTo>
                <a:lnTo>
                  <a:pt x="10536" y="4042"/>
                </a:lnTo>
                <a:lnTo>
                  <a:pt x="10540" y="4044"/>
                </a:lnTo>
                <a:lnTo>
                  <a:pt x="10552" y="4042"/>
                </a:lnTo>
                <a:lnTo>
                  <a:pt x="10560" y="4038"/>
                </a:lnTo>
                <a:lnTo>
                  <a:pt x="10562" y="4036"/>
                </a:lnTo>
                <a:lnTo>
                  <a:pt x="10562" y="4032"/>
                </a:lnTo>
                <a:lnTo>
                  <a:pt x="10560" y="4026"/>
                </a:lnTo>
                <a:lnTo>
                  <a:pt x="10556" y="4018"/>
                </a:lnTo>
                <a:lnTo>
                  <a:pt x="10554" y="4012"/>
                </a:lnTo>
                <a:lnTo>
                  <a:pt x="10550" y="4012"/>
                </a:lnTo>
                <a:lnTo>
                  <a:pt x="10548" y="4012"/>
                </a:lnTo>
                <a:lnTo>
                  <a:pt x="10546" y="4008"/>
                </a:lnTo>
                <a:lnTo>
                  <a:pt x="10548" y="4004"/>
                </a:lnTo>
                <a:lnTo>
                  <a:pt x="10554" y="4000"/>
                </a:lnTo>
                <a:lnTo>
                  <a:pt x="10572" y="3988"/>
                </a:lnTo>
                <a:lnTo>
                  <a:pt x="10580" y="3982"/>
                </a:lnTo>
                <a:lnTo>
                  <a:pt x="10586" y="3982"/>
                </a:lnTo>
                <a:lnTo>
                  <a:pt x="10592" y="3982"/>
                </a:lnTo>
                <a:lnTo>
                  <a:pt x="10604" y="3980"/>
                </a:lnTo>
                <a:lnTo>
                  <a:pt x="10610" y="3976"/>
                </a:lnTo>
                <a:lnTo>
                  <a:pt x="10614" y="3974"/>
                </a:lnTo>
                <a:lnTo>
                  <a:pt x="10618" y="3968"/>
                </a:lnTo>
                <a:lnTo>
                  <a:pt x="10620" y="3964"/>
                </a:lnTo>
                <a:lnTo>
                  <a:pt x="10624" y="3964"/>
                </a:lnTo>
                <a:lnTo>
                  <a:pt x="10630" y="3968"/>
                </a:lnTo>
                <a:lnTo>
                  <a:pt x="10630" y="3972"/>
                </a:lnTo>
                <a:lnTo>
                  <a:pt x="10632" y="3972"/>
                </a:lnTo>
                <a:lnTo>
                  <a:pt x="10634" y="3966"/>
                </a:lnTo>
                <a:lnTo>
                  <a:pt x="10638" y="3964"/>
                </a:lnTo>
                <a:lnTo>
                  <a:pt x="10640" y="3966"/>
                </a:lnTo>
                <a:lnTo>
                  <a:pt x="10642" y="3966"/>
                </a:lnTo>
                <a:lnTo>
                  <a:pt x="10646" y="3962"/>
                </a:lnTo>
                <a:lnTo>
                  <a:pt x="10650" y="3960"/>
                </a:lnTo>
                <a:lnTo>
                  <a:pt x="10652" y="3958"/>
                </a:lnTo>
                <a:lnTo>
                  <a:pt x="10658" y="3960"/>
                </a:lnTo>
                <a:lnTo>
                  <a:pt x="10660" y="3962"/>
                </a:lnTo>
                <a:lnTo>
                  <a:pt x="10662" y="3960"/>
                </a:lnTo>
                <a:lnTo>
                  <a:pt x="10662" y="3956"/>
                </a:lnTo>
                <a:lnTo>
                  <a:pt x="10664" y="3948"/>
                </a:lnTo>
                <a:lnTo>
                  <a:pt x="10666" y="3950"/>
                </a:lnTo>
                <a:lnTo>
                  <a:pt x="10670" y="3954"/>
                </a:lnTo>
                <a:lnTo>
                  <a:pt x="10670" y="3952"/>
                </a:lnTo>
                <a:lnTo>
                  <a:pt x="10672" y="3950"/>
                </a:lnTo>
                <a:lnTo>
                  <a:pt x="10676" y="3948"/>
                </a:lnTo>
                <a:lnTo>
                  <a:pt x="10678" y="3948"/>
                </a:lnTo>
                <a:lnTo>
                  <a:pt x="10682" y="3948"/>
                </a:lnTo>
                <a:lnTo>
                  <a:pt x="10684" y="3944"/>
                </a:lnTo>
                <a:lnTo>
                  <a:pt x="10686" y="3940"/>
                </a:lnTo>
                <a:lnTo>
                  <a:pt x="10686" y="3934"/>
                </a:lnTo>
                <a:lnTo>
                  <a:pt x="10682" y="3924"/>
                </a:lnTo>
                <a:lnTo>
                  <a:pt x="10680" y="3914"/>
                </a:lnTo>
                <a:lnTo>
                  <a:pt x="10680" y="3910"/>
                </a:lnTo>
                <a:lnTo>
                  <a:pt x="10680" y="3908"/>
                </a:lnTo>
                <a:lnTo>
                  <a:pt x="10682" y="3906"/>
                </a:lnTo>
                <a:lnTo>
                  <a:pt x="10686" y="3908"/>
                </a:lnTo>
                <a:lnTo>
                  <a:pt x="10692" y="3918"/>
                </a:lnTo>
                <a:lnTo>
                  <a:pt x="10696" y="3924"/>
                </a:lnTo>
                <a:lnTo>
                  <a:pt x="10700" y="3930"/>
                </a:lnTo>
                <a:lnTo>
                  <a:pt x="10700" y="3934"/>
                </a:lnTo>
                <a:lnTo>
                  <a:pt x="10698" y="3936"/>
                </a:lnTo>
                <a:lnTo>
                  <a:pt x="10702" y="3938"/>
                </a:lnTo>
                <a:lnTo>
                  <a:pt x="10706" y="3938"/>
                </a:lnTo>
                <a:lnTo>
                  <a:pt x="10708" y="3940"/>
                </a:lnTo>
                <a:lnTo>
                  <a:pt x="10712" y="3940"/>
                </a:lnTo>
                <a:lnTo>
                  <a:pt x="10716" y="3938"/>
                </a:lnTo>
                <a:lnTo>
                  <a:pt x="10716" y="3936"/>
                </a:lnTo>
                <a:lnTo>
                  <a:pt x="10716" y="3932"/>
                </a:lnTo>
                <a:lnTo>
                  <a:pt x="10714" y="3930"/>
                </a:lnTo>
                <a:lnTo>
                  <a:pt x="10714" y="3926"/>
                </a:lnTo>
                <a:lnTo>
                  <a:pt x="10716" y="3924"/>
                </a:lnTo>
                <a:lnTo>
                  <a:pt x="10718" y="3928"/>
                </a:lnTo>
                <a:lnTo>
                  <a:pt x="10722" y="3930"/>
                </a:lnTo>
                <a:lnTo>
                  <a:pt x="10724" y="3930"/>
                </a:lnTo>
                <a:lnTo>
                  <a:pt x="10726" y="3930"/>
                </a:lnTo>
                <a:lnTo>
                  <a:pt x="10728" y="3926"/>
                </a:lnTo>
                <a:lnTo>
                  <a:pt x="10726" y="3924"/>
                </a:lnTo>
                <a:lnTo>
                  <a:pt x="10726" y="3920"/>
                </a:lnTo>
                <a:lnTo>
                  <a:pt x="10726" y="3918"/>
                </a:lnTo>
                <a:lnTo>
                  <a:pt x="10728" y="3916"/>
                </a:lnTo>
                <a:lnTo>
                  <a:pt x="10730" y="3916"/>
                </a:lnTo>
                <a:lnTo>
                  <a:pt x="10732" y="3918"/>
                </a:lnTo>
                <a:lnTo>
                  <a:pt x="10734" y="3924"/>
                </a:lnTo>
                <a:lnTo>
                  <a:pt x="10736" y="3926"/>
                </a:lnTo>
                <a:lnTo>
                  <a:pt x="10736" y="3928"/>
                </a:lnTo>
                <a:lnTo>
                  <a:pt x="10738" y="3926"/>
                </a:lnTo>
                <a:lnTo>
                  <a:pt x="10742" y="3922"/>
                </a:lnTo>
                <a:lnTo>
                  <a:pt x="10748" y="3916"/>
                </a:lnTo>
                <a:lnTo>
                  <a:pt x="10752" y="3916"/>
                </a:lnTo>
                <a:lnTo>
                  <a:pt x="10762" y="3922"/>
                </a:lnTo>
                <a:lnTo>
                  <a:pt x="10764" y="3922"/>
                </a:lnTo>
                <a:lnTo>
                  <a:pt x="10766" y="3922"/>
                </a:lnTo>
                <a:lnTo>
                  <a:pt x="10766" y="3918"/>
                </a:lnTo>
                <a:lnTo>
                  <a:pt x="10766" y="3914"/>
                </a:lnTo>
                <a:lnTo>
                  <a:pt x="10766" y="3912"/>
                </a:lnTo>
                <a:lnTo>
                  <a:pt x="10768" y="3912"/>
                </a:lnTo>
                <a:lnTo>
                  <a:pt x="10770" y="3912"/>
                </a:lnTo>
                <a:lnTo>
                  <a:pt x="10772" y="3916"/>
                </a:lnTo>
                <a:lnTo>
                  <a:pt x="10776" y="3918"/>
                </a:lnTo>
                <a:lnTo>
                  <a:pt x="10782" y="3916"/>
                </a:lnTo>
                <a:lnTo>
                  <a:pt x="10792" y="3910"/>
                </a:lnTo>
                <a:lnTo>
                  <a:pt x="10798" y="3908"/>
                </a:lnTo>
                <a:lnTo>
                  <a:pt x="10804" y="3906"/>
                </a:lnTo>
                <a:lnTo>
                  <a:pt x="10806" y="3900"/>
                </a:lnTo>
                <a:lnTo>
                  <a:pt x="10806" y="3898"/>
                </a:lnTo>
                <a:lnTo>
                  <a:pt x="10808" y="3896"/>
                </a:lnTo>
                <a:lnTo>
                  <a:pt x="10812" y="3894"/>
                </a:lnTo>
                <a:lnTo>
                  <a:pt x="10814" y="3892"/>
                </a:lnTo>
                <a:lnTo>
                  <a:pt x="10812" y="3890"/>
                </a:lnTo>
                <a:lnTo>
                  <a:pt x="10810" y="3888"/>
                </a:lnTo>
                <a:lnTo>
                  <a:pt x="10812" y="3886"/>
                </a:lnTo>
                <a:lnTo>
                  <a:pt x="10814" y="3884"/>
                </a:lnTo>
                <a:lnTo>
                  <a:pt x="10818" y="3878"/>
                </a:lnTo>
                <a:lnTo>
                  <a:pt x="10822" y="3874"/>
                </a:lnTo>
                <a:lnTo>
                  <a:pt x="10824" y="3874"/>
                </a:lnTo>
                <a:lnTo>
                  <a:pt x="10830" y="3874"/>
                </a:lnTo>
                <a:lnTo>
                  <a:pt x="10832" y="3872"/>
                </a:lnTo>
                <a:lnTo>
                  <a:pt x="10836" y="3868"/>
                </a:lnTo>
                <a:lnTo>
                  <a:pt x="10842" y="3862"/>
                </a:lnTo>
                <a:lnTo>
                  <a:pt x="10844" y="3862"/>
                </a:lnTo>
                <a:lnTo>
                  <a:pt x="10846" y="3862"/>
                </a:lnTo>
                <a:lnTo>
                  <a:pt x="10846" y="3866"/>
                </a:lnTo>
                <a:lnTo>
                  <a:pt x="10850" y="3862"/>
                </a:lnTo>
                <a:lnTo>
                  <a:pt x="10862" y="3846"/>
                </a:lnTo>
                <a:lnTo>
                  <a:pt x="10868" y="3840"/>
                </a:lnTo>
                <a:lnTo>
                  <a:pt x="10868" y="3838"/>
                </a:lnTo>
                <a:lnTo>
                  <a:pt x="10868" y="3836"/>
                </a:lnTo>
                <a:lnTo>
                  <a:pt x="10864" y="3832"/>
                </a:lnTo>
                <a:lnTo>
                  <a:pt x="10866" y="3826"/>
                </a:lnTo>
                <a:lnTo>
                  <a:pt x="10868" y="3822"/>
                </a:lnTo>
                <a:lnTo>
                  <a:pt x="10870" y="3822"/>
                </a:lnTo>
                <a:lnTo>
                  <a:pt x="10872" y="3824"/>
                </a:lnTo>
                <a:lnTo>
                  <a:pt x="10874" y="3828"/>
                </a:lnTo>
                <a:lnTo>
                  <a:pt x="10876" y="3826"/>
                </a:lnTo>
                <a:lnTo>
                  <a:pt x="10878" y="3824"/>
                </a:lnTo>
                <a:lnTo>
                  <a:pt x="10884" y="3826"/>
                </a:lnTo>
                <a:lnTo>
                  <a:pt x="10886" y="3828"/>
                </a:lnTo>
                <a:lnTo>
                  <a:pt x="10888" y="3828"/>
                </a:lnTo>
                <a:lnTo>
                  <a:pt x="10890" y="3824"/>
                </a:lnTo>
                <a:lnTo>
                  <a:pt x="10892" y="3816"/>
                </a:lnTo>
                <a:lnTo>
                  <a:pt x="10896" y="3812"/>
                </a:lnTo>
                <a:lnTo>
                  <a:pt x="10900" y="3810"/>
                </a:lnTo>
                <a:lnTo>
                  <a:pt x="10906" y="3808"/>
                </a:lnTo>
                <a:lnTo>
                  <a:pt x="10904" y="3804"/>
                </a:lnTo>
                <a:lnTo>
                  <a:pt x="10900" y="3800"/>
                </a:lnTo>
                <a:lnTo>
                  <a:pt x="10900" y="3798"/>
                </a:lnTo>
                <a:lnTo>
                  <a:pt x="10900" y="3794"/>
                </a:lnTo>
                <a:lnTo>
                  <a:pt x="10902" y="3790"/>
                </a:lnTo>
                <a:lnTo>
                  <a:pt x="10904" y="3794"/>
                </a:lnTo>
                <a:lnTo>
                  <a:pt x="10906" y="3796"/>
                </a:lnTo>
                <a:lnTo>
                  <a:pt x="10910" y="3796"/>
                </a:lnTo>
                <a:lnTo>
                  <a:pt x="10914" y="3794"/>
                </a:lnTo>
                <a:lnTo>
                  <a:pt x="10918" y="3788"/>
                </a:lnTo>
                <a:lnTo>
                  <a:pt x="10916" y="3788"/>
                </a:lnTo>
                <a:lnTo>
                  <a:pt x="10912" y="3786"/>
                </a:lnTo>
                <a:lnTo>
                  <a:pt x="10908" y="3784"/>
                </a:lnTo>
                <a:lnTo>
                  <a:pt x="10908" y="3780"/>
                </a:lnTo>
                <a:lnTo>
                  <a:pt x="10910" y="3776"/>
                </a:lnTo>
                <a:lnTo>
                  <a:pt x="10912" y="3776"/>
                </a:lnTo>
                <a:lnTo>
                  <a:pt x="10916" y="3776"/>
                </a:lnTo>
                <a:lnTo>
                  <a:pt x="10918" y="3776"/>
                </a:lnTo>
                <a:lnTo>
                  <a:pt x="10920" y="3780"/>
                </a:lnTo>
                <a:lnTo>
                  <a:pt x="10926" y="3786"/>
                </a:lnTo>
                <a:lnTo>
                  <a:pt x="10928" y="3786"/>
                </a:lnTo>
                <a:lnTo>
                  <a:pt x="10930" y="3782"/>
                </a:lnTo>
                <a:lnTo>
                  <a:pt x="10926" y="3776"/>
                </a:lnTo>
                <a:lnTo>
                  <a:pt x="10926" y="3772"/>
                </a:lnTo>
                <a:lnTo>
                  <a:pt x="10926" y="3766"/>
                </a:lnTo>
                <a:lnTo>
                  <a:pt x="10930" y="3758"/>
                </a:lnTo>
                <a:lnTo>
                  <a:pt x="10932" y="3752"/>
                </a:lnTo>
                <a:lnTo>
                  <a:pt x="10932" y="3750"/>
                </a:lnTo>
                <a:lnTo>
                  <a:pt x="10928" y="3750"/>
                </a:lnTo>
                <a:lnTo>
                  <a:pt x="10926" y="3750"/>
                </a:lnTo>
                <a:lnTo>
                  <a:pt x="10924" y="3750"/>
                </a:lnTo>
                <a:lnTo>
                  <a:pt x="10926" y="3746"/>
                </a:lnTo>
                <a:lnTo>
                  <a:pt x="10930" y="3740"/>
                </a:lnTo>
                <a:lnTo>
                  <a:pt x="10936" y="3736"/>
                </a:lnTo>
                <a:lnTo>
                  <a:pt x="10942" y="3732"/>
                </a:lnTo>
                <a:lnTo>
                  <a:pt x="10938" y="3730"/>
                </a:lnTo>
                <a:lnTo>
                  <a:pt x="10934" y="3726"/>
                </a:lnTo>
                <a:lnTo>
                  <a:pt x="10932" y="3720"/>
                </a:lnTo>
                <a:lnTo>
                  <a:pt x="10928" y="3718"/>
                </a:lnTo>
                <a:lnTo>
                  <a:pt x="10928" y="3716"/>
                </a:lnTo>
                <a:lnTo>
                  <a:pt x="10930" y="3714"/>
                </a:lnTo>
                <a:lnTo>
                  <a:pt x="10934" y="3714"/>
                </a:lnTo>
                <a:lnTo>
                  <a:pt x="10936" y="3714"/>
                </a:lnTo>
                <a:lnTo>
                  <a:pt x="10938" y="3718"/>
                </a:lnTo>
                <a:lnTo>
                  <a:pt x="10940" y="3722"/>
                </a:lnTo>
                <a:lnTo>
                  <a:pt x="10942" y="3722"/>
                </a:lnTo>
                <a:lnTo>
                  <a:pt x="10946" y="3722"/>
                </a:lnTo>
                <a:lnTo>
                  <a:pt x="10948" y="3720"/>
                </a:lnTo>
                <a:lnTo>
                  <a:pt x="10950" y="3716"/>
                </a:lnTo>
                <a:lnTo>
                  <a:pt x="10950" y="3712"/>
                </a:lnTo>
                <a:lnTo>
                  <a:pt x="10948" y="3708"/>
                </a:lnTo>
                <a:lnTo>
                  <a:pt x="10948" y="3706"/>
                </a:lnTo>
                <a:lnTo>
                  <a:pt x="10950" y="3706"/>
                </a:lnTo>
                <a:lnTo>
                  <a:pt x="10956" y="3700"/>
                </a:lnTo>
                <a:lnTo>
                  <a:pt x="10964" y="3692"/>
                </a:lnTo>
                <a:lnTo>
                  <a:pt x="10968" y="3682"/>
                </a:lnTo>
                <a:lnTo>
                  <a:pt x="10970" y="3676"/>
                </a:lnTo>
                <a:lnTo>
                  <a:pt x="10968" y="3674"/>
                </a:lnTo>
                <a:lnTo>
                  <a:pt x="10968" y="3670"/>
                </a:lnTo>
                <a:lnTo>
                  <a:pt x="10968" y="3668"/>
                </a:lnTo>
                <a:lnTo>
                  <a:pt x="10972" y="3662"/>
                </a:lnTo>
                <a:lnTo>
                  <a:pt x="10980" y="3654"/>
                </a:lnTo>
                <a:lnTo>
                  <a:pt x="10986" y="3640"/>
                </a:lnTo>
                <a:lnTo>
                  <a:pt x="10988" y="3634"/>
                </a:lnTo>
                <a:lnTo>
                  <a:pt x="10990" y="3632"/>
                </a:lnTo>
                <a:lnTo>
                  <a:pt x="10992" y="3632"/>
                </a:lnTo>
                <a:lnTo>
                  <a:pt x="10994" y="3634"/>
                </a:lnTo>
                <a:lnTo>
                  <a:pt x="10996" y="3640"/>
                </a:lnTo>
                <a:lnTo>
                  <a:pt x="10998" y="3640"/>
                </a:lnTo>
                <a:lnTo>
                  <a:pt x="11000" y="3638"/>
                </a:lnTo>
                <a:lnTo>
                  <a:pt x="11004" y="3634"/>
                </a:lnTo>
                <a:lnTo>
                  <a:pt x="11008" y="3634"/>
                </a:lnTo>
                <a:lnTo>
                  <a:pt x="11010" y="3632"/>
                </a:lnTo>
                <a:lnTo>
                  <a:pt x="11006" y="3624"/>
                </a:lnTo>
                <a:lnTo>
                  <a:pt x="11004" y="3618"/>
                </a:lnTo>
                <a:lnTo>
                  <a:pt x="11004" y="3616"/>
                </a:lnTo>
                <a:lnTo>
                  <a:pt x="11006" y="3614"/>
                </a:lnTo>
                <a:lnTo>
                  <a:pt x="11008" y="3612"/>
                </a:lnTo>
                <a:lnTo>
                  <a:pt x="11010" y="3610"/>
                </a:lnTo>
                <a:lnTo>
                  <a:pt x="11012" y="3610"/>
                </a:lnTo>
                <a:lnTo>
                  <a:pt x="11010" y="3606"/>
                </a:lnTo>
                <a:lnTo>
                  <a:pt x="11010" y="3602"/>
                </a:lnTo>
                <a:lnTo>
                  <a:pt x="11012" y="3600"/>
                </a:lnTo>
                <a:lnTo>
                  <a:pt x="11012" y="3596"/>
                </a:lnTo>
                <a:lnTo>
                  <a:pt x="11008" y="3592"/>
                </a:lnTo>
                <a:lnTo>
                  <a:pt x="11006" y="3590"/>
                </a:lnTo>
                <a:lnTo>
                  <a:pt x="11008" y="3590"/>
                </a:lnTo>
                <a:lnTo>
                  <a:pt x="11012" y="3590"/>
                </a:lnTo>
                <a:lnTo>
                  <a:pt x="11016" y="3590"/>
                </a:lnTo>
                <a:lnTo>
                  <a:pt x="11020" y="3588"/>
                </a:lnTo>
                <a:lnTo>
                  <a:pt x="11022" y="3582"/>
                </a:lnTo>
                <a:lnTo>
                  <a:pt x="11024" y="3574"/>
                </a:lnTo>
                <a:lnTo>
                  <a:pt x="11022" y="3568"/>
                </a:lnTo>
                <a:lnTo>
                  <a:pt x="11020" y="3566"/>
                </a:lnTo>
                <a:lnTo>
                  <a:pt x="11016" y="3562"/>
                </a:lnTo>
                <a:lnTo>
                  <a:pt x="11016" y="3560"/>
                </a:lnTo>
                <a:lnTo>
                  <a:pt x="11026" y="3554"/>
                </a:lnTo>
                <a:lnTo>
                  <a:pt x="11028" y="3550"/>
                </a:lnTo>
                <a:lnTo>
                  <a:pt x="11024" y="3550"/>
                </a:lnTo>
                <a:lnTo>
                  <a:pt x="11016" y="3546"/>
                </a:lnTo>
                <a:lnTo>
                  <a:pt x="11010" y="3544"/>
                </a:lnTo>
                <a:lnTo>
                  <a:pt x="11006" y="3538"/>
                </a:lnTo>
                <a:lnTo>
                  <a:pt x="11002" y="3532"/>
                </a:lnTo>
                <a:lnTo>
                  <a:pt x="10996" y="3528"/>
                </a:lnTo>
                <a:lnTo>
                  <a:pt x="10990" y="3530"/>
                </a:lnTo>
                <a:lnTo>
                  <a:pt x="10984" y="3532"/>
                </a:lnTo>
                <a:lnTo>
                  <a:pt x="10976" y="3538"/>
                </a:lnTo>
                <a:lnTo>
                  <a:pt x="10970" y="3538"/>
                </a:lnTo>
                <a:lnTo>
                  <a:pt x="10966" y="3534"/>
                </a:lnTo>
                <a:lnTo>
                  <a:pt x="10966" y="3532"/>
                </a:lnTo>
                <a:lnTo>
                  <a:pt x="10964" y="3530"/>
                </a:lnTo>
                <a:lnTo>
                  <a:pt x="10960" y="3530"/>
                </a:lnTo>
                <a:lnTo>
                  <a:pt x="10958" y="3530"/>
                </a:lnTo>
                <a:lnTo>
                  <a:pt x="10958" y="3528"/>
                </a:lnTo>
                <a:lnTo>
                  <a:pt x="10960" y="3524"/>
                </a:lnTo>
                <a:lnTo>
                  <a:pt x="10964" y="3524"/>
                </a:lnTo>
                <a:lnTo>
                  <a:pt x="10970" y="3524"/>
                </a:lnTo>
                <a:lnTo>
                  <a:pt x="10976" y="3526"/>
                </a:lnTo>
                <a:lnTo>
                  <a:pt x="10978" y="3524"/>
                </a:lnTo>
                <a:lnTo>
                  <a:pt x="10980" y="3522"/>
                </a:lnTo>
                <a:lnTo>
                  <a:pt x="10986" y="3516"/>
                </a:lnTo>
                <a:lnTo>
                  <a:pt x="10994" y="3508"/>
                </a:lnTo>
                <a:lnTo>
                  <a:pt x="11004" y="3504"/>
                </a:lnTo>
                <a:lnTo>
                  <a:pt x="11012" y="3502"/>
                </a:lnTo>
                <a:lnTo>
                  <a:pt x="11018" y="3500"/>
                </a:lnTo>
                <a:lnTo>
                  <a:pt x="11020" y="3498"/>
                </a:lnTo>
                <a:lnTo>
                  <a:pt x="11020" y="3494"/>
                </a:lnTo>
                <a:lnTo>
                  <a:pt x="11018" y="3488"/>
                </a:lnTo>
                <a:lnTo>
                  <a:pt x="11010" y="3478"/>
                </a:lnTo>
                <a:lnTo>
                  <a:pt x="10998" y="3466"/>
                </a:lnTo>
                <a:lnTo>
                  <a:pt x="10988" y="3458"/>
                </a:lnTo>
                <a:lnTo>
                  <a:pt x="10980" y="3454"/>
                </a:lnTo>
                <a:lnTo>
                  <a:pt x="10974" y="3450"/>
                </a:lnTo>
                <a:lnTo>
                  <a:pt x="10974" y="3448"/>
                </a:lnTo>
                <a:lnTo>
                  <a:pt x="10976" y="3446"/>
                </a:lnTo>
                <a:lnTo>
                  <a:pt x="10974" y="3444"/>
                </a:lnTo>
                <a:lnTo>
                  <a:pt x="10970" y="3442"/>
                </a:lnTo>
                <a:lnTo>
                  <a:pt x="10966" y="3440"/>
                </a:lnTo>
                <a:lnTo>
                  <a:pt x="10962" y="3442"/>
                </a:lnTo>
                <a:lnTo>
                  <a:pt x="10956" y="3444"/>
                </a:lnTo>
                <a:lnTo>
                  <a:pt x="10950" y="3446"/>
                </a:lnTo>
                <a:lnTo>
                  <a:pt x="10944" y="3444"/>
                </a:lnTo>
                <a:lnTo>
                  <a:pt x="10940" y="3440"/>
                </a:lnTo>
                <a:lnTo>
                  <a:pt x="10936" y="3436"/>
                </a:lnTo>
                <a:lnTo>
                  <a:pt x="10932" y="3432"/>
                </a:lnTo>
                <a:lnTo>
                  <a:pt x="10932" y="3428"/>
                </a:lnTo>
                <a:lnTo>
                  <a:pt x="10932" y="3424"/>
                </a:lnTo>
                <a:lnTo>
                  <a:pt x="10934" y="3424"/>
                </a:lnTo>
                <a:lnTo>
                  <a:pt x="10936" y="3424"/>
                </a:lnTo>
                <a:lnTo>
                  <a:pt x="10940" y="3430"/>
                </a:lnTo>
                <a:lnTo>
                  <a:pt x="10944" y="3438"/>
                </a:lnTo>
                <a:lnTo>
                  <a:pt x="10948" y="3442"/>
                </a:lnTo>
                <a:lnTo>
                  <a:pt x="10952" y="3442"/>
                </a:lnTo>
                <a:lnTo>
                  <a:pt x="10954" y="3442"/>
                </a:lnTo>
                <a:lnTo>
                  <a:pt x="10960" y="3438"/>
                </a:lnTo>
                <a:lnTo>
                  <a:pt x="10966" y="3436"/>
                </a:lnTo>
                <a:lnTo>
                  <a:pt x="10968" y="3434"/>
                </a:lnTo>
                <a:lnTo>
                  <a:pt x="10972" y="3436"/>
                </a:lnTo>
                <a:lnTo>
                  <a:pt x="10976" y="3438"/>
                </a:lnTo>
                <a:lnTo>
                  <a:pt x="10978" y="3442"/>
                </a:lnTo>
                <a:lnTo>
                  <a:pt x="10980" y="3444"/>
                </a:lnTo>
                <a:lnTo>
                  <a:pt x="10984" y="3448"/>
                </a:lnTo>
                <a:lnTo>
                  <a:pt x="10988" y="3448"/>
                </a:lnTo>
                <a:lnTo>
                  <a:pt x="10992" y="3448"/>
                </a:lnTo>
                <a:lnTo>
                  <a:pt x="10998" y="3450"/>
                </a:lnTo>
                <a:lnTo>
                  <a:pt x="11010" y="3454"/>
                </a:lnTo>
                <a:lnTo>
                  <a:pt x="11016" y="3458"/>
                </a:lnTo>
                <a:lnTo>
                  <a:pt x="11020" y="3458"/>
                </a:lnTo>
                <a:lnTo>
                  <a:pt x="11020" y="3456"/>
                </a:lnTo>
                <a:lnTo>
                  <a:pt x="11020" y="3452"/>
                </a:lnTo>
                <a:lnTo>
                  <a:pt x="11016" y="3444"/>
                </a:lnTo>
                <a:lnTo>
                  <a:pt x="11008" y="3436"/>
                </a:lnTo>
                <a:lnTo>
                  <a:pt x="11002" y="3430"/>
                </a:lnTo>
                <a:lnTo>
                  <a:pt x="11000" y="3424"/>
                </a:lnTo>
                <a:lnTo>
                  <a:pt x="10996" y="3420"/>
                </a:lnTo>
                <a:lnTo>
                  <a:pt x="10988" y="3412"/>
                </a:lnTo>
                <a:lnTo>
                  <a:pt x="10980" y="3406"/>
                </a:lnTo>
                <a:lnTo>
                  <a:pt x="10980" y="3400"/>
                </a:lnTo>
                <a:lnTo>
                  <a:pt x="10978" y="3390"/>
                </a:lnTo>
                <a:lnTo>
                  <a:pt x="10978" y="3384"/>
                </a:lnTo>
                <a:lnTo>
                  <a:pt x="10974" y="3376"/>
                </a:lnTo>
                <a:lnTo>
                  <a:pt x="10970" y="3366"/>
                </a:lnTo>
                <a:lnTo>
                  <a:pt x="10966" y="3356"/>
                </a:lnTo>
                <a:lnTo>
                  <a:pt x="10962" y="3338"/>
                </a:lnTo>
                <a:lnTo>
                  <a:pt x="10958" y="3328"/>
                </a:lnTo>
                <a:lnTo>
                  <a:pt x="10954" y="3320"/>
                </a:lnTo>
                <a:lnTo>
                  <a:pt x="10948" y="3314"/>
                </a:lnTo>
                <a:lnTo>
                  <a:pt x="10940" y="3310"/>
                </a:lnTo>
                <a:lnTo>
                  <a:pt x="10934" y="3308"/>
                </a:lnTo>
                <a:lnTo>
                  <a:pt x="10928" y="3304"/>
                </a:lnTo>
                <a:lnTo>
                  <a:pt x="10924" y="3298"/>
                </a:lnTo>
                <a:lnTo>
                  <a:pt x="10922" y="3294"/>
                </a:lnTo>
                <a:lnTo>
                  <a:pt x="10920" y="3294"/>
                </a:lnTo>
                <a:lnTo>
                  <a:pt x="10914" y="3294"/>
                </a:lnTo>
                <a:lnTo>
                  <a:pt x="10910" y="3294"/>
                </a:lnTo>
                <a:lnTo>
                  <a:pt x="10910" y="3290"/>
                </a:lnTo>
                <a:lnTo>
                  <a:pt x="10912" y="3284"/>
                </a:lnTo>
                <a:lnTo>
                  <a:pt x="10916" y="3276"/>
                </a:lnTo>
                <a:lnTo>
                  <a:pt x="10926" y="3258"/>
                </a:lnTo>
                <a:lnTo>
                  <a:pt x="10932" y="3252"/>
                </a:lnTo>
                <a:lnTo>
                  <a:pt x="10936" y="3248"/>
                </a:lnTo>
                <a:lnTo>
                  <a:pt x="10942" y="3244"/>
                </a:lnTo>
                <a:lnTo>
                  <a:pt x="10944" y="3242"/>
                </a:lnTo>
                <a:lnTo>
                  <a:pt x="10946" y="3238"/>
                </a:lnTo>
                <a:lnTo>
                  <a:pt x="10950" y="3232"/>
                </a:lnTo>
                <a:lnTo>
                  <a:pt x="10952" y="3230"/>
                </a:lnTo>
                <a:lnTo>
                  <a:pt x="10952" y="3228"/>
                </a:lnTo>
                <a:lnTo>
                  <a:pt x="10950" y="3224"/>
                </a:lnTo>
                <a:lnTo>
                  <a:pt x="10948" y="3220"/>
                </a:lnTo>
                <a:lnTo>
                  <a:pt x="10948" y="3218"/>
                </a:lnTo>
                <a:lnTo>
                  <a:pt x="10950" y="3216"/>
                </a:lnTo>
                <a:lnTo>
                  <a:pt x="10952" y="3216"/>
                </a:lnTo>
                <a:lnTo>
                  <a:pt x="10954" y="3216"/>
                </a:lnTo>
                <a:lnTo>
                  <a:pt x="10956" y="3220"/>
                </a:lnTo>
                <a:lnTo>
                  <a:pt x="10956" y="3222"/>
                </a:lnTo>
                <a:lnTo>
                  <a:pt x="10958" y="3224"/>
                </a:lnTo>
                <a:lnTo>
                  <a:pt x="10960" y="3224"/>
                </a:lnTo>
                <a:lnTo>
                  <a:pt x="10966" y="3222"/>
                </a:lnTo>
                <a:lnTo>
                  <a:pt x="10968" y="3220"/>
                </a:lnTo>
                <a:lnTo>
                  <a:pt x="10970" y="3218"/>
                </a:lnTo>
                <a:lnTo>
                  <a:pt x="10972" y="3212"/>
                </a:lnTo>
                <a:lnTo>
                  <a:pt x="10974" y="3208"/>
                </a:lnTo>
                <a:lnTo>
                  <a:pt x="10976" y="3206"/>
                </a:lnTo>
                <a:lnTo>
                  <a:pt x="10978" y="3206"/>
                </a:lnTo>
                <a:lnTo>
                  <a:pt x="10980" y="3206"/>
                </a:lnTo>
                <a:lnTo>
                  <a:pt x="10982" y="3206"/>
                </a:lnTo>
                <a:lnTo>
                  <a:pt x="10984" y="3202"/>
                </a:lnTo>
                <a:lnTo>
                  <a:pt x="10988" y="3196"/>
                </a:lnTo>
                <a:lnTo>
                  <a:pt x="10994" y="3190"/>
                </a:lnTo>
                <a:lnTo>
                  <a:pt x="11002" y="3186"/>
                </a:lnTo>
                <a:lnTo>
                  <a:pt x="11006" y="3186"/>
                </a:lnTo>
                <a:lnTo>
                  <a:pt x="11010" y="3186"/>
                </a:lnTo>
                <a:lnTo>
                  <a:pt x="11016" y="3180"/>
                </a:lnTo>
                <a:lnTo>
                  <a:pt x="11022" y="3176"/>
                </a:lnTo>
                <a:lnTo>
                  <a:pt x="11024" y="3176"/>
                </a:lnTo>
                <a:lnTo>
                  <a:pt x="11026" y="3178"/>
                </a:lnTo>
                <a:lnTo>
                  <a:pt x="11028" y="3176"/>
                </a:lnTo>
                <a:lnTo>
                  <a:pt x="11030" y="3176"/>
                </a:lnTo>
                <a:lnTo>
                  <a:pt x="11032" y="3176"/>
                </a:lnTo>
                <a:lnTo>
                  <a:pt x="11032" y="3180"/>
                </a:lnTo>
                <a:lnTo>
                  <a:pt x="11032" y="3182"/>
                </a:lnTo>
                <a:lnTo>
                  <a:pt x="11034" y="3182"/>
                </a:lnTo>
                <a:lnTo>
                  <a:pt x="11036" y="3182"/>
                </a:lnTo>
                <a:lnTo>
                  <a:pt x="11042" y="3182"/>
                </a:lnTo>
                <a:lnTo>
                  <a:pt x="11046" y="3180"/>
                </a:lnTo>
                <a:lnTo>
                  <a:pt x="11046" y="3178"/>
                </a:lnTo>
                <a:lnTo>
                  <a:pt x="11046" y="3174"/>
                </a:lnTo>
                <a:lnTo>
                  <a:pt x="11044" y="3172"/>
                </a:lnTo>
                <a:lnTo>
                  <a:pt x="11044" y="3168"/>
                </a:lnTo>
                <a:lnTo>
                  <a:pt x="11046" y="3164"/>
                </a:lnTo>
                <a:lnTo>
                  <a:pt x="11050" y="3160"/>
                </a:lnTo>
                <a:lnTo>
                  <a:pt x="11052" y="3156"/>
                </a:lnTo>
                <a:lnTo>
                  <a:pt x="11052" y="3154"/>
                </a:lnTo>
                <a:lnTo>
                  <a:pt x="11046" y="3152"/>
                </a:lnTo>
                <a:lnTo>
                  <a:pt x="11038" y="3148"/>
                </a:lnTo>
                <a:lnTo>
                  <a:pt x="11032" y="3146"/>
                </a:lnTo>
                <a:lnTo>
                  <a:pt x="11028" y="3142"/>
                </a:lnTo>
                <a:lnTo>
                  <a:pt x="11026" y="3144"/>
                </a:lnTo>
                <a:lnTo>
                  <a:pt x="11024" y="3146"/>
                </a:lnTo>
                <a:lnTo>
                  <a:pt x="11020" y="3148"/>
                </a:lnTo>
                <a:lnTo>
                  <a:pt x="11014" y="3148"/>
                </a:lnTo>
                <a:lnTo>
                  <a:pt x="11006" y="3146"/>
                </a:lnTo>
                <a:lnTo>
                  <a:pt x="11002" y="3144"/>
                </a:lnTo>
                <a:lnTo>
                  <a:pt x="11000" y="3142"/>
                </a:lnTo>
                <a:lnTo>
                  <a:pt x="10996" y="3142"/>
                </a:lnTo>
                <a:lnTo>
                  <a:pt x="10992" y="3142"/>
                </a:lnTo>
                <a:lnTo>
                  <a:pt x="10990" y="3140"/>
                </a:lnTo>
                <a:lnTo>
                  <a:pt x="10988" y="3138"/>
                </a:lnTo>
                <a:lnTo>
                  <a:pt x="10984" y="3132"/>
                </a:lnTo>
                <a:lnTo>
                  <a:pt x="10982" y="3130"/>
                </a:lnTo>
                <a:lnTo>
                  <a:pt x="10978" y="3130"/>
                </a:lnTo>
                <a:lnTo>
                  <a:pt x="10968" y="3130"/>
                </a:lnTo>
                <a:lnTo>
                  <a:pt x="10960" y="3134"/>
                </a:lnTo>
                <a:lnTo>
                  <a:pt x="10956" y="3140"/>
                </a:lnTo>
                <a:lnTo>
                  <a:pt x="10950" y="3146"/>
                </a:lnTo>
                <a:lnTo>
                  <a:pt x="10944" y="3150"/>
                </a:lnTo>
                <a:lnTo>
                  <a:pt x="10940" y="3152"/>
                </a:lnTo>
                <a:lnTo>
                  <a:pt x="10938" y="3154"/>
                </a:lnTo>
                <a:lnTo>
                  <a:pt x="10938" y="3156"/>
                </a:lnTo>
                <a:lnTo>
                  <a:pt x="10940" y="3162"/>
                </a:lnTo>
                <a:lnTo>
                  <a:pt x="10938" y="3164"/>
                </a:lnTo>
                <a:lnTo>
                  <a:pt x="10932" y="3166"/>
                </a:lnTo>
                <a:lnTo>
                  <a:pt x="10920" y="3166"/>
                </a:lnTo>
                <a:lnTo>
                  <a:pt x="10914" y="3166"/>
                </a:lnTo>
                <a:lnTo>
                  <a:pt x="10910" y="3164"/>
                </a:lnTo>
                <a:lnTo>
                  <a:pt x="10906" y="3160"/>
                </a:lnTo>
                <a:lnTo>
                  <a:pt x="10904" y="3156"/>
                </a:lnTo>
                <a:lnTo>
                  <a:pt x="10902" y="3144"/>
                </a:lnTo>
                <a:lnTo>
                  <a:pt x="10902" y="3140"/>
                </a:lnTo>
                <a:lnTo>
                  <a:pt x="10906" y="3138"/>
                </a:lnTo>
                <a:lnTo>
                  <a:pt x="10906" y="3134"/>
                </a:lnTo>
                <a:lnTo>
                  <a:pt x="10906" y="3130"/>
                </a:lnTo>
                <a:lnTo>
                  <a:pt x="10904" y="3120"/>
                </a:lnTo>
                <a:lnTo>
                  <a:pt x="10896" y="3112"/>
                </a:lnTo>
                <a:lnTo>
                  <a:pt x="10894" y="3110"/>
                </a:lnTo>
                <a:lnTo>
                  <a:pt x="10890" y="3112"/>
                </a:lnTo>
                <a:lnTo>
                  <a:pt x="10884" y="3114"/>
                </a:lnTo>
                <a:lnTo>
                  <a:pt x="10876" y="3114"/>
                </a:lnTo>
                <a:lnTo>
                  <a:pt x="10868" y="3112"/>
                </a:lnTo>
                <a:lnTo>
                  <a:pt x="10864" y="3110"/>
                </a:lnTo>
                <a:lnTo>
                  <a:pt x="10864" y="3108"/>
                </a:lnTo>
                <a:lnTo>
                  <a:pt x="10860" y="3106"/>
                </a:lnTo>
                <a:lnTo>
                  <a:pt x="10854" y="3102"/>
                </a:lnTo>
                <a:lnTo>
                  <a:pt x="10850" y="3098"/>
                </a:lnTo>
                <a:lnTo>
                  <a:pt x="10846" y="3090"/>
                </a:lnTo>
                <a:lnTo>
                  <a:pt x="10846" y="3080"/>
                </a:lnTo>
                <a:lnTo>
                  <a:pt x="10848" y="3072"/>
                </a:lnTo>
                <a:lnTo>
                  <a:pt x="10850" y="3066"/>
                </a:lnTo>
                <a:lnTo>
                  <a:pt x="10852" y="3062"/>
                </a:lnTo>
                <a:lnTo>
                  <a:pt x="10854" y="3056"/>
                </a:lnTo>
                <a:lnTo>
                  <a:pt x="10858" y="3054"/>
                </a:lnTo>
                <a:lnTo>
                  <a:pt x="10864" y="3054"/>
                </a:lnTo>
                <a:lnTo>
                  <a:pt x="10872" y="3060"/>
                </a:lnTo>
                <a:lnTo>
                  <a:pt x="10874" y="3062"/>
                </a:lnTo>
                <a:lnTo>
                  <a:pt x="10876" y="3064"/>
                </a:lnTo>
                <a:lnTo>
                  <a:pt x="10880" y="3060"/>
                </a:lnTo>
                <a:lnTo>
                  <a:pt x="10886" y="3056"/>
                </a:lnTo>
                <a:lnTo>
                  <a:pt x="10888" y="3056"/>
                </a:lnTo>
                <a:lnTo>
                  <a:pt x="10892" y="3056"/>
                </a:lnTo>
                <a:lnTo>
                  <a:pt x="10900" y="3056"/>
                </a:lnTo>
                <a:lnTo>
                  <a:pt x="10906" y="3052"/>
                </a:lnTo>
                <a:lnTo>
                  <a:pt x="10912" y="3046"/>
                </a:lnTo>
                <a:lnTo>
                  <a:pt x="10914" y="3036"/>
                </a:lnTo>
                <a:lnTo>
                  <a:pt x="10916" y="3030"/>
                </a:lnTo>
                <a:lnTo>
                  <a:pt x="10920" y="3024"/>
                </a:lnTo>
                <a:lnTo>
                  <a:pt x="10932" y="3014"/>
                </a:lnTo>
                <a:lnTo>
                  <a:pt x="10948" y="3006"/>
                </a:lnTo>
                <a:lnTo>
                  <a:pt x="10958" y="3000"/>
                </a:lnTo>
                <a:lnTo>
                  <a:pt x="10964" y="2998"/>
                </a:lnTo>
                <a:lnTo>
                  <a:pt x="10966" y="2992"/>
                </a:lnTo>
                <a:lnTo>
                  <a:pt x="10970" y="2986"/>
                </a:lnTo>
                <a:lnTo>
                  <a:pt x="10976" y="2978"/>
                </a:lnTo>
                <a:lnTo>
                  <a:pt x="10982" y="2970"/>
                </a:lnTo>
                <a:lnTo>
                  <a:pt x="10984" y="2966"/>
                </a:lnTo>
                <a:lnTo>
                  <a:pt x="10984" y="2964"/>
                </a:lnTo>
                <a:lnTo>
                  <a:pt x="10988" y="2960"/>
                </a:lnTo>
                <a:lnTo>
                  <a:pt x="10992" y="2958"/>
                </a:lnTo>
                <a:lnTo>
                  <a:pt x="10996" y="2958"/>
                </a:lnTo>
                <a:lnTo>
                  <a:pt x="11002" y="2960"/>
                </a:lnTo>
                <a:lnTo>
                  <a:pt x="11008" y="2962"/>
                </a:lnTo>
                <a:lnTo>
                  <a:pt x="11010" y="2962"/>
                </a:lnTo>
                <a:lnTo>
                  <a:pt x="11012" y="2960"/>
                </a:lnTo>
                <a:lnTo>
                  <a:pt x="11016" y="2958"/>
                </a:lnTo>
                <a:lnTo>
                  <a:pt x="11018" y="2960"/>
                </a:lnTo>
                <a:lnTo>
                  <a:pt x="11020" y="2964"/>
                </a:lnTo>
                <a:lnTo>
                  <a:pt x="11026" y="2970"/>
                </a:lnTo>
                <a:lnTo>
                  <a:pt x="11032" y="2976"/>
                </a:lnTo>
                <a:lnTo>
                  <a:pt x="11034" y="2982"/>
                </a:lnTo>
                <a:lnTo>
                  <a:pt x="11032" y="2988"/>
                </a:lnTo>
                <a:lnTo>
                  <a:pt x="11026" y="3000"/>
                </a:lnTo>
                <a:lnTo>
                  <a:pt x="11022" y="3006"/>
                </a:lnTo>
                <a:lnTo>
                  <a:pt x="11016" y="3010"/>
                </a:lnTo>
                <a:lnTo>
                  <a:pt x="11008" y="3016"/>
                </a:lnTo>
                <a:lnTo>
                  <a:pt x="11004" y="3020"/>
                </a:lnTo>
                <a:lnTo>
                  <a:pt x="11002" y="3022"/>
                </a:lnTo>
                <a:lnTo>
                  <a:pt x="11004" y="3024"/>
                </a:lnTo>
                <a:lnTo>
                  <a:pt x="11004" y="3026"/>
                </a:lnTo>
                <a:lnTo>
                  <a:pt x="11002" y="3028"/>
                </a:lnTo>
                <a:lnTo>
                  <a:pt x="10998" y="3032"/>
                </a:lnTo>
                <a:lnTo>
                  <a:pt x="10994" y="3034"/>
                </a:lnTo>
                <a:lnTo>
                  <a:pt x="10992" y="3036"/>
                </a:lnTo>
                <a:lnTo>
                  <a:pt x="10994" y="3036"/>
                </a:lnTo>
                <a:lnTo>
                  <a:pt x="11000" y="3038"/>
                </a:lnTo>
                <a:lnTo>
                  <a:pt x="11004" y="3044"/>
                </a:lnTo>
                <a:lnTo>
                  <a:pt x="11010" y="3050"/>
                </a:lnTo>
                <a:lnTo>
                  <a:pt x="11010" y="3054"/>
                </a:lnTo>
                <a:lnTo>
                  <a:pt x="11010" y="3058"/>
                </a:lnTo>
                <a:lnTo>
                  <a:pt x="11008" y="3062"/>
                </a:lnTo>
                <a:lnTo>
                  <a:pt x="11004" y="3062"/>
                </a:lnTo>
                <a:lnTo>
                  <a:pt x="11000" y="3060"/>
                </a:lnTo>
                <a:lnTo>
                  <a:pt x="10998" y="3062"/>
                </a:lnTo>
                <a:lnTo>
                  <a:pt x="10996" y="3064"/>
                </a:lnTo>
                <a:lnTo>
                  <a:pt x="10994" y="3068"/>
                </a:lnTo>
                <a:lnTo>
                  <a:pt x="10992" y="3068"/>
                </a:lnTo>
                <a:lnTo>
                  <a:pt x="10990" y="3068"/>
                </a:lnTo>
                <a:lnTo>
                  <a:pt x="10988" y="3074"/>
                </a:lnTo>
                <a:lnTo>
                  <a:pt x="10988" y="3078"/>
                </a:lnTo>
                <a:lnTo>
                  <a:pt x="10990" y="3080"/>
                </a:lnTo>
                <a:lnTo>
                  <a:pt x="10992" y="3082"/>
                </a:lnTo>
                <a:lnTo>
                  <a:pt x="10994" y="3080"/>
                </a:lnTo>
                <a:lnTo>
                  <a:pt x="11000" y="3076"/>
                </a:lnTo>
                <a:lnTo>
                  <a:pt x="11008" y="3074"/>
                </a:lnTo>
                <a:lnTo>
                  <a:pt x="11014" y="3072"/>
                </a:lnTo>
                <a:lnTo>
                  <a:pt x="11014" y="3070"/>
                </a:lnTo>
                <a:lnTo>
                  <a:pt x="11012" y="3068"/>
                </a:lnTo>
                <a:lnTo>
                  <a:pt x="11012" y="3066"/>
                </a:lnTo>
                <a:lnTo>
                  <a:pt x="11016" y="3066"/>
                </a:lnTo>
                <a:lnTo>
                  <a:pt x="11020" y="3066"/>
                </a:lnTo>
                <a:lnTo>
                  <a:pt x="11026" y="3064"/>
                </a:lnTo>
                <a:lnTo>
                  <a:pt x="11030" y="3056"/>
                </a:lnTo>
                <a:lnTo>
                  <a:pt x="11036" y="3048"/>
                </a:lnTo>
                <a:lnTo>
                  <a:pt x="11040" y="3042"/>
                </a:lnTo>
                <a:lnTo>
                  <a:pt x="11044" y="3040"/>
                </a:lnTo>
                <a:lnTo>
                  <a:pt x="11050" y="3036"/>
                </a:lnTo>
                <a:lnTo>
                  <a:pt x="11054" y="3032"/>
                </a:lnTo>
                <a:lnTo>
                  <a:pt x="11056" y="3032"/>
                </a:lnTo>
                <a:lnTo>
                  <a:pt x="11064" y="3030"/>
                </a:lnTo>
                <a:lnTo>
                  <a:pt x="11072" y="3028"/>
                </a:lnTo>
                <a:lnTo>
                  <a:pt x="11074" y="3028"/>
                </a:lnTo>
                <a:lnTo>
                  <a:pt x="11076" y="3024"/>
                </a:lnTo>
                <a:lnTo>
                  <a:pt x="11080" y="3020"/>
                </a:lnTo>
                <a:lnTo>
                  <a:pt x="11082" y="3022"/>
                </a:lnTo>
                <a:lnTo>
                  <a:pt x="11086" y="3022"/>
                </a:lnTo>
                <a:lnTo>
                  <a:pt x="11088" y="3020"/>
                </a:lnTo>
                <a:lnTo>
                  <a:pt x="11090" y="3018"/>
                </a:lnTo>
                <a:lnTo>
                  <a:pt x="11094" y="3018"/>
                </a:lnTo>
                <a:lnTo>
                  <a:pt x="11100" y="3018"/>
                </a:lnTo>
                <a:lnTo>
                  <a:pt x="11110" y="3018"/>
                </a:lnTo>
                <a:lnTo>
                  <a:pt x="11114" y="3014"/>
                </a:lnTo>
                <a:lnTo>
                  <a:pt x="11120" y="3010"/>
                </a:lnTo>
                <a:lnTo>
                  <a:pt x="11120" y="3008"/>
                </a:lnTo>
                <a:lnTo>
                  <a:pt x="11120" y="3010"/>
                </a:lnTo>
                <a:lnTo>
                  <a:pt x="11122" y="3018"/>
                </a:lnTo>
                <a:lnTo>
                  <a:pt x="11126" y="3024"/>
                </a:lnTo>
                <a:lnTo>
                  <a:pt x="11130" y="3028"/>
                </a:lnTo>
                <a:lnTo>
                  <a:pt x="11132" y="3028"/>
                </a:lnTo>
                <a:lnTo>
                  <a:pt x="11136" y="3028"/>
                </a:lnTo>
                <a:lnTo>
                  <a:pt x="11138" y="3026"/>
                </a:lnTo>
                <a:lnTo>
                  <a:pt x="11142" y="3026"/>
                </a:lnTo>
                <a:lnTo>
                  <a:pt x="11152" y="3032"/>
                </a:lnTo>
                <a:lnTo>
                  <a:pt x="11156" y="3036"/>
                </a:lnTo>
                <a:lnTo>
                  <a:pt x="11160" y="3040"/>
                </a:lnTo>
                <a:lnTo>
                  <a:pt x="11162" y="3044"/>
                </a:lnTo>
                <a:lnTo>
                  <a:pt x="11160" y="3050"/>
                </a:lnTo>
                <a:lnTo>
                  <a:pt x="11152" y="3068"/>
                </a:lnTo>
                <a:lnTo>
                  <a:pt x="11150" y="3074"/>
                </a:lnTo>
                <a:lnTo>
                  <a:pt x="11150" y="3078"/>
                </a:lnTo>
                <a:lnTo>
                  <a:pt x="11152" y="3080"/>
                </a:lnTo>
                <a:lnTo>
                  <a:pt x="11154" y="3084"/>
                </a:lnTo>
                <a:lnTo>
                  <a:pt x="11150" y="3086"/>
                </a:lnTo>
                <a:lnTo>
                  <a:pt x="11146" y="3090"/>
                </a:lnTo>
                <a:lnTo>
                  <a:pt x="11142" y="3100"/>
                </a:lnTo>
                <a:lnTo>
                  <a:pt x="11140" y="3104"/>
                </a:lnTo>
                <a:lnTo>
                  <a:pt x="11136" y="3108"/>
                </a:lnTo>
                <a:lnTo>
                  <a:pt x="11132" y="3112"/>
                </a:lnTo>
                <a:lnTo>
                  <a:pt x="11130" y="3114"/>
                </a:lnTo>
                <a:lnTo>
                  <a:pt x="11132" y="3114"/>
                </a:lnTo>
                <a:lnTo>
                  <a:pt x="11140" y="3116"/>
                </a:lnTo>
                <a:lnTo>
                  <a:pt x="11146" y="3116"/>
                </a:lnTo>
                <a:lnTo>
                  <a:pt x="11148" y="3118"/>
                </a:lnTo>
                <a:lnTo>
                  <a:pt x="11148" y="3120"/>
                </a:lnTo>
                <a:lnTo>
                  <a:pt x="11146" y="3122"/>
                </a:lnTo>
                <a:lnTo>
                  <a:pt x="11144" y="3124"/>
                </a:lnTo>
                <a:lnTo>
                  <a:pt x="11144" y="3126"/>
                </a:lnTo>
                <a:lnTo>
                  <a:pt x="11150" y="3126"/>
                </a:lnTo>
                <a:lnTo>
                  <a:pt x="11156" y="3128"/>
                </a:lnTo>
                <a:lnTo>
                  <a:pt x="11158" y="3130"/>
                </a:lnTo>
                <a:lnTo>
                  <a:pt x="11160" y="3132"/>
                </a:lnTo>
                <a:lnTo>
                  <a:pt x="11158" y="3134"/>
                </a:lnTo>
                <a:lnTo>
                  <a:pt x="11158" y="3136"/>
                </a:lnTo>
                <a:lnTo>
                  <a:pt x="11164" y="3136"/>
                </a:lnTo>
                <a:lnTo>
                  <a:pt x="11166" y="3132"/>
                </a:lnTo>
                <a:lnTo>
                  <a:pt x="11168" y="3130"/>
                </a:lnTo>
                <a:lnTo>
                  <a:pt x="11170" y="3124"/>
                </a:lnTo>
                <a:lnTo>
                  <a:pt x="11172" y="3122"/>
                </a:lnTo>
                <a:lnTo>
                  <a:pt x="11174" y="3122"/>
                </a:lnTo>
                <a:lnTo>
                  <a:pt x="11180" y="3124"/>
                </a:lnTo>
                <a:lnTo>
                  <a:pt x="11190" y="3134"/>
                </a:lnTo>
                <a:lnTo>
                  <a:pt x="11190" y="3132"/>
                </a:lnTo>
                <a:lnTo>
                  <a:pt x="11192" y="3128"/>
                </a:lnTo>
                <a:lnTo>
                  <a:pt x="11194" y="3126"/>
                </a:lnTo>
                <a:lnTo>
                  <a:pt x="11196" y="3126"/>
                </a:lnTo>
                <a:lnTo>
                  <a:pt x="11200" y="3128"/>
                </a:lnTo>
                <a:lnTo>
                  <a:pt x="11206" y="3128"/>
                </a:lnTo>
                <a:lnTo>
                  <a:pt x="11214" y="3128"/>
                </a:lnTo>
                <a:lnTo>
                  <a:pt x="11214" y="3134"/>
                </a:lnTo>
                <a:lnTo>
                  <a:pt x="11212" y="3134"/>
                </a:lnTo>
                <a:lnTo>
                  <a:pt x="11210" y="3134"/>
                </a:lnTo>
                <a:lnTo>
                  <a:pt x="11208" y="3136"/>
                </a:lnTo>
                <a:lnTo>
                  <a:pt x="11210" y="3142"/>
                </a:lnTo>
                <a:lnTo>
                  <a:pt x="11212" y="3148"/>
                </a:lnTo>
                <a:lnTo>
                  <a:pt x="11214" y="3154"/>
                </a:lnTo>
                <a:lnTo>
                  <a:pt x="11214" y="3156"/>
                </a:lnTo>
                <a:lnTo>
                  <a:pt x="11214" y="3160"/>
                </a:lnTo>
                <a:lnTo>
                  <a:pt x="11212" y="3162"/>
                </a:lnTo>
                <a:lnTo>
                  <a:pt x="11212" y="3164"/>
                </a:lnTo>
                <a:lnTo>
                  <a:pt x="11216" y="3168"/>
                </a:lnTo>
                <a:lnTo>
                  <a:pt x="11220" y="3174"/>
                </a:lnTo>
                <a:lnTo>
                  <a:pt x="11222" y="3176"/>
                </a:lnTo>
                <a:lnTo>
                  <a:pt x="11222" y="3178"/>
                </a:lnTo>
                <a:lnTo>
                  <a:pt x="11220" y="3182"/>
                </a:lnTo>
                <a:lnTo>
                  <a:pt x="11220" y="3180"/>
                </a:lnTo>
                <a:lnTo>
                  <a:pt x="11216" y="3176"/>
                </a:lnTo>
                <a:lnTo>
                  <a:pt x="11214" y="3174"/>
                </a:lnTo>
                <a:lnTo>
                  <a:pt x="11210" y="3172"/>
                </a:lnTo>
                <a:lnTo>
                  <a:pt x="11200" y="3172"/>
                </a:lnTo>
                <a:lnTo>
                  <a:pt x="11198" y="3174"/>
                </a:lnTo>
                <a:lnTo>
                  <a:pt x="11200" y="3176"/>
                </a:lnTo>
                <a:lnTo>
                  <a:pt x="11200" y="3180"/>
                </a:lnTo>
                <a:lnTo>
                  <a:pt x="11198" y="3182"/>
                </a:lnTo>
                <a:lnTo>
                  <a:pt x="11196" y="3180"/>
                </a:lnTo>
                <a:lnTo>
                  <a:pt x="11194" y="3180"/>
                </a:lnTo>
                <a:lnTo>
                  <a:pt x="11192" y="3182"/>
                </a:lnTo>
                <a:lnTo>
                  <a:pt x="11190" y="3188"/>
                </a:lnTo>
                <a:lnTo>
                  <a:pt x="11192" y="3192"/>
                </a:lnTo>
                <a:lnTo>
                  <a:pt x="11198" y="3192"/>
                </a:lnTo>
                <a:lnTo>
                  <a:pt x="11200" y="3192"/>
                </a:lnTo>
                <a:lnTo>
                  <a:pt x="11204" y="3192"/>
                </a:lnTo>
                <a:lnTo>
                  <a:pt x="11206" y="3196"/>
                </a:lnTo>
                <a:lnTo>
                  <a:pt x="11206" y="3212"/>
                </a:lnTo>
                <a:lnTo>
                  <a:pt x="11206" y="3218"/>
                </a:lnTo>
                <a:lnTo>
                  <a:pt x="11208" y="3222"/>
                </a:lnTo>
                <a:lnTo>
                  <a:pt x="11212" y="3226"/>
                </a:lnTo>
                <a:lnTo>
                  <a:pt x="11212" y="3228"/>
                </a:lnTo>
                <a:lnTo>
                  <a:pt x="11212" y="3230"/>
                </a:lnTo>
                <a:lnTo>
                  <a:pt x="11212" y="3232"/>
                </a:lnTo>
                <a:lnTo>
                  <a:pt x="11216" y="3238"/>
                </a:lnTo>
                <a:lnTo>
                  <a:pt x="11212" y="3240"/>
                </a:lnTo>
                <a:lnTo>
                  <a:pt x="11208" y="3244"/>
                </a:lnTo>
                <a:lnTo>
                  <a:pt x="11204" y="3252"/>
                </a:lnTo>
                <a:lnTo>
                  <a:pt x="11198" y="3270"/>
                </a:lnTo>
                <a:lnTo>
                  <a:pt x="11196" y="3274"/>
                </a:lnTo>
                <a:lnTo>
                  <a:pt x="11196" y="3278"/>
                </a:lnTo>
                <a:lnTo>
                  <a:pt x="11198" y="3280"/>
                </a:lnTo>
                <a:lnTo>
                  <a:pt x="11200" y="3284"/>
                </a:lnTo>
                <a:lnTo>
                  <a:pt x="11200" y="3288"/>
                </a:lnTo>
                <a:lnTo>
                  <a:pt x="11202" y="3292"/>
                </a:lnTo>
                <a:lnTo>
                  <a:pt x="11202" y="3294"/>
                </a:lnTo>
                <a:lnTo>
                  <a:pt x="11200" y="3296"/>
                </a:lnTo>
                <a:lnTo>
                  <a:pt x="11196" y="3296"/>
                </a:lnTo>
                <a:lnTo>
                  <a:pt x="11196" y="3298"/>
                </a:lnTo>
                <a:lnTo>
                  <a:pt x="11198" y="3304"/>
                </a:lnTo>
                <a:lnTo>
                  <a:pt x="11200" y="3304"/>
                </a:lnTo>
                <a:lnTo>
                  <a:pt x="11204" y="3304"/>
                </a:lnTo>
                <a:lnTo>
                  <a:pt x="11204" y="3308"/>
                </a:lnTo>
                <a:lnTo>
                  <a:pt x="11206" y="3314"/>
                </a:lnTo>
                <a:lnTo>
                  <a:pt x="11206" y="3318"/>
                </a:lnTo>
                <a:lnTo>
                  <a:pt x="11210" y="3316"/>
                </a:lnTo>
                <a:lnTo>
                  <a:pt x="11214" y="3310"/>
                </a:lnTo>
                <a:lnTo>
                  <a:pt x="11218" y="3304"/>
                </a:lnTo>
                <a:lnTo>
                  <a:pt x="11218" y="3306"/>
                </a:lnTo>
                <a:lnTo>
                  <a:pt x="11218" y="3310"/>
                </a:lnTo>
                <a:lnTo>
                  <a:pt x="11220" y="3312"/>
                </a:lnTo>
                <a:lnTo>
                  <a:pt x="11222" y="3310"/>
                </a:lnTo>
                <a:lnTo>
                  <a:pt x="11224" y="3306"/>
                </a:lnTo>
                <a:lnTo>
                  <a:pt x="11226" y="3302"/>
                </a:lnTo>
                <a:lnTo>
                  <a:pt x="11230" y="3298"/>
                </a:lnTo>
                <a:lnTo>
                  <a:pt x="11234" y="3294"/>
                </a:lnTo>
                <a:lnTo>
                  <a:pt x="11238" y="3294"/>
                </a:lnTo>
                <a:lnTo>
                  <a:pt x="11238" y="3296"/>
                </a:lnTo>
                <a:lnTo>
                  <a:pt x="11234" y="3300"/>
                </a:lnTo>
                <a:lnTo>
                  <a:pt x="11232" y="3304"/>
                </a:lnTo>
                <a:lnTo>
                  <a:pt x="11234" y="3308"/>
                </a:lnTo>
                <a:lnTo>
                  <a:pt x="11238" y="3310"/>
                </a:lnTo>
                <a:lnTo>
                  <a:pt x="11242" y="3308"/>
                </a:lnTo>
                <a:lnTo>
                  <a:pt x="11244" y="3306"/>
                </a:lnTo>
                <a:lnTo>
                  <a:pt x="11246" y="3302"/>
                </a:lnTo>
                <a:lnTo>
                  <a:pt x="11244" y="3296"/>
                </a:lnTo>
                <a:lnTo>
                  <a:pt x="11242" y="3292"/>
                </a:lnTo>
                <a:lnTo>
                  <a:pt x="11244" y="3290"/>
                </a:lnTo>
                <a:lnTo>
                  <a:pt x="11246" y="3290"/>
                </a:lnTo>
                <a:lnTo>
                  <a:pt x="11248" y="3294"/>
                </a:lnTo>
                <a:lnTo>
                  <a:pt x="11250" y="3300"/>
                </a:lnTo>
                <a:lnTo>
                  <a:pt x="11254" y="3296"/>
                </a:lnTo>
                <a:lnTo>
                  <a:pt x="11256" y="3294"/>
                </a:lnTo>
                <a:lnTo>
                  <a:pt x="11256" y="3292"/>
                </a:lnTo>
                <a:lnTo>
                  <a:pt x="11252" y="3288"/>
                </a:lnTo>
                <a:lnTo>
                  <a:pt x="11250" y="3286"/>
                </a:lnTo>
                <a:lnTo>
                  <a:pt x="11254" y="3284"/>
                </a:lnTo>
                <a:lnTo>
                  <a:pt x="11264" y="3284"/>
                </a:lnTo>
                <a:lnTo>
                  <a:pt x="11272" y="3286"/>
                </a:lnTo>
                <a:lnTo>
                  <a:pt x="11278" y="3288"/>
                </a:lnTo>
                <a:lnTo>
                  <a:pt x="11282" y="3288"/>
                </a:lnTo>
                <a:lnTo>
                  <a:pt x="11284" y="3286"/>
                </a:lnTo>
                <a:lnTo>
                  <a:pt x="11284" y="3284"/>
                </a:lnTo>
                <a:lnTo>
                  <a:pt x="11284" y="3280"/>
                </a:lnTo>
                <a:lnTo>
                  <a:pt x="11288" y="3278"/>
                </a:lnTo>
                <a:lnTo>
                  <a:pt x="11296" y="3276"/>
                </a:lnTo>
                <a:lnTo>
                  <a:pt x="11302" y="3276"/>
                </a:lnTo>
                <a:lnTo>
                  <a:pt x="11306" y="3278"/>
                </a:lnTo>
                <a:lnTo>
                  <a:pt x="11310" y="3276"/>
                </a:lnTo>
                <a:lnTo>
                  <a:pt x="11316" y="3268"/>
                </a:lnTo>
                <a:lnTo>
                  <a:pt x="11322" y="3256"/>
                </a:lnTo>
                <a:lnTo>
                  <a:pt x="11326" y="3244"/>
                </a:lnTo>
                <a:lnTo>
                  <a:pt x="11328" y="3232"/>
                </a:lnTo>
                <a:lnTo>
                  <a:pt x="11328" y="3226"/>
                </a:lnTo>
                <a:lnTo>
                  <a:pt x="11326" y="3226"/>
                </a:lnTo>
                <a:lnTo>
                  <a:pt x="11322" y="3226"/>
                </a:lnTo>
                <a:lnTo>
                  <a:pt x="11322" y="3218"/>
                </a:lnTo>
                <a:lnTo>
                  <a:pt x="11322" y="3208"/>
                </a:lnTo>
                <a:lnTo>
                  <a:pt x="11324" y="3200"/>
                </a:lnTo>
                <a:lnTo>
                  <a:pt x="11324" y="3192"/>
                </a:lnTo>
                <a:lnTo>
                  <a:pt x="11324" y="3180"/>
                </a:lnTo>
                <a:lnTo>
                  <a:pt x="11320" y="3164"/>
                </a:lnTo>
                <a:lnTo>
                  <a:pt x="11314" y="3148"/>
                </a:lnTo>
                <a:lnTo>
                  <a:pt x="11306" y="3134"/>
                </a:lnTo>
                <a:lnTo>
                  <a:pt x="11298" y="3122"/>
                </a:lnTo>
                <a:lnTo>
                  <a:pt x="11292" y="3110"/>
                </a:lnTo>
                <a:lnTo>
                  <a:pt x="11286" y="3100"/>
                </a:lnTo>
                <a:lnTo>
                  <a:pt x="11280" y="3086"/>
                </a:lnTo>
                <a:lnTo>
                  <a:pt x="11278" y="3080"/>
                </a:lnTo>
                <a:lnTo>
                  <a:pt x="11274" y="3078"/>
                </a:lnTo>
                <a:lnTo>
                  <a:pt x="11270" y="3074"/>
                </a:lnTo>
                <a:lnTo>
                  <a:pt x="11262" y="3066"/>
                </a:lnTo>
                <a:lnTo>
                  <a:pt x="11258" y="3060"/>
                </a:lnTo>
                <a:lnTo>
                  <a:pt x="11254" y="3058"/>
                </a:lnTo>
                <a:lnTo>
                  <a:pt x="11248" y="3056"/>
                </a:lnTo>
                <a:lnTo>
                  <a:pt x="11244" y="3054"/>
                </a:lnTo>
                <a:lnTo>
                  <a:pt x="11242" y="3050"/>
                </a:lnTo>
                <a:lnTo>
                  <a:pt x="11242" y="3048"/>
                </a:lnTo>
                <a:lnTo>
                  <a:pt x="11246" y="3048"/>
                </a:lnTo>
                <a:lnTo>
                  <a:pt x="11248" y="3046"/>
                </a:lnTo>
                <a:lnTo>
                  <a:pt x="11248" y="3038"/>
                </a:lnTo>
                <a:lnTo>
                  <a:pt x="11246" y="3030"/>
                </a:lnTo>
                <a:lnTo>
                  <a:pt x="11248" y="3026"/>
                </a:lnTo>
                <a:lnTo>
                  <a:pt x="11248" y="3022"/>
                </a:lnTo>
                <a:lnTo>
                  <a:pt x="11250" y="3020"/>
                </a:lnTo>
                <a:lnTo>
                  <a:pt x="11256" y="3018"/>
                </a:lnTo>
                <a:lnTo>
                  <a:pt x="11260" y="3016"/>
                </a:lnTo>
                <a:lnTo>
                  <a:pt x="11262" y="3012"/>
                </a:lnTo>
                <a:lnTo>
                  <a:pt x="11266" y="3008"/>
                </a:lnTo>
                <a:lnTo>
                  <a:pt x="11268" y="3008"/>
                </a:lnTo>
                <a:lnTo>
                  <a:pt x="11272" y="3008"/>
                </a:lnTo>
                <a:lnTo>
                  <a:pt x="11276" y="3010"/>
                </a:lnTo>
                <a:lnTo>
                  <a:pt x="11280" y="3008"/>
                </a:lnTo>
                <a:lnTo>
                  <a:pt x="11284" y="3006"/>
                </a:lnTo>
                <a:lnTo>
                  <a:pt x="11290" y="3000"/>
                </a:lnTo>
                <a:lnTo>
                  <a:pt x="11314" y="2976"/>
                </a:lnTo>
                <a:lnTo>
                  <a:pt x="11322" y="2968"/>
                </a:lnTo>
                <a:lnTo>
                  <a:pt x="11330" y="2964"/>
                </a:lnTo>
                <a:lnTo>
                  <a:pt x="11334" y="2964"/>
                </a:lnTo>
                <a:lnTo>
                  <a:pt x="11334" y="2960"/>
                </a:lnTo>
                <a:lnTo>
                  <a:pt x="11336" y="2954"/>
                </a:lnTo>
                <a:lnTo>
                  <a:pt x="11336" y="2944"/>
                </a:lnTo>
                <a:lnTo>
                  <a:pt x="11336" y="2938"/>
                </a:lnTo>
                <a:lnTo>
                  <a:pt x="11338" y="2934"/>
                </a:lnTo>
                <a:lnTo>
                  <a:pt x="11336" y="2932"/>
                </a:lnTo>
                <a:lnTo>
                  <a:pt x="11334" y="2928"/>
                </a:lnTo>
                <a:lnTo>
                  <a:pt x="11334" y="2926"/>
                </a:lnTo>
                <a:lnTo>
                  <a:pt x="11334" y="2924"/>
                </a:lnTo>
                <a:lnTo>
                  <a:pt x="11338" y="2914"/>
                </a:lnTo>
                <a:lnTo>
                  <a:pt x="11352" y="2894"/>
                </a:lnTo>
                <a:lnTo>
                  <a:pt x="11362" y="2884"/>
                </a:lnTo>
                <a:lnTo>
                  <a:pt x="11366" y="2882"/>
                </a:lnTo>
                <a:lnTo>
                  <a:pt x="11368" y="2882"/>
                </a:lnTo>
                <a:lnTo>
                  <a:pt x="11372" y="2884"/>
                </a:lnTo>
                <a:lnTo>
                  <a:pt x="11376" y="2882"/>
                </a:lnTo>
                <a:lnTo>
                  <a:pt x="11380" y="2878"/>
                </a:lnTo>
                <a:lnTo>
                  <a:pt x="11382" y="2872"/>
                </a:lnTo>
                <a:lnTo>
                  <a:pt x="11380" y="2866"/>
                </a:lnTo>
                <a:lnTo>
                  <a:pt x="11380" y="2862"/>
                </a:lnTo>
                <a:lnTo>
                  <a:pt x="11386" y="2864"/>
                </a:lnTo>
                <a:lnTo>
                  <a:pt x="11396" y="2864"/>
                </a:lnTo>
                <a:lnTo>
                  <a:pt x="11398" y="2862"/>
                </a:lnTo>
                <a:lnTo>
                  <a:pt x="11402" y="2858"/>
                </a:lnTo>
                <a:lnTo>
                  <a:pt x="11408" y="2848"/>
                </a:lnTo>
                <a:lnTo>
                  <a:pt x="11412" y="2840"/>
                </a:lnTo>
                <a:lnTo>
                  <a:pt x="11414" y="2832"/>
                </a:lnTo>
                <a:lnTo>
                  <a:pt x="11414" y="2828"/>
                </a:lnTo>
                <a:lnTo>
                  <a:pt x="11416" y="2826"/>
                </a:lnTo>
                <a:lnTo>
                  <a:pt x="11420" y="2826"/>
                </a:lnTo>
                <a:lnTo>
                  <a:pt x="11424" y="2826"/>
                </a:lnTo>
                <a:lnTo>
                  <a:pt x="11424" y="2828"/>
                </a:lnTo>
                <a:lnTo>
                  <a:pt x="11424" y="2834"/>
                </a:lnTo>
                <a:lnTo>
                  <a:pt x="11422" y="2836"/>
                </a:lnTo>
                <a:lnTo>
                  <a:pt x="11424" y="2838"/>
                </a:lnTo>
                <a:lnTo>
                  <a:pt x="11426" y="2838"/>
                </a:lnTo>
                <a:lnTo>
                  <a:pt x="11430" y="2834"/>
                </a:lnTo>
                <a:lnTo>
                  <a:pt x="11436" y="2832"/>
                </a:lnTo>
                <a:lnTo>
                  <a:pt x="11438" y="2832"/>
                </a:lnTo>
                <a:lnTo>
                  <a:pt x="11440" y="2834"/>
                </a:lnTo>
                <a:lnTo>
                  <a:pt x="11440" y="2836"/>
                </a:lnTo>
                <a:lnTo>
                  <a:pt x="11440" y="2844"/>
                </a:lnTo>
                <a:lnTo>
                  <a:pt x="11442" y="2848"/>
                </a:lnTo>
                <a:lnTo>
                  <a:pt x="11444" y="2850"/>
                </a:lnTo>
                <a:lnTo>
                  <a:pt x="11458" y="2854"/>
                </a:lnTo>
                <a:lnTo>
                  <a:pt x="11468" y="2860"/>
                </a:lnTo>
                <a:lnTo>
                  <a:pt x="11474" y="2860"/>
                </a:lnTo>
                <a:lnTo>
                  <a:pt x="11478" y="2858"/>
                </a:lnTo>
                <a:lnTo>
                  <a:pt x="11486" y="2854"/>
                </a:lnTo>
                <a:lnTo>
                  <a:pt x="11496" y="2852"/>
                </a:lnTo>
                <a:lnTo>
                  <a:pt x="11506" y="2848"/>
                </a:lnTo>
                <a:lnTo>
                  <a:pt x="11512" y="2844"/>
                </a:lnTo>
                <a:lnTo>
                  <a:pt x="11520" y="2836"/>
                </a:lnTo>
                <a:lnTo>
                  <a:pt x="11536" y="2826"/>
                </a:lnTo>
                <a:lnTo>
                  <a:pt x="11546" y="2820"/>
                </a:lnTo>
                <a:lnTo>
                  <a:pt x="11554" y="2810"/>
                </a:lnTo>
                <a:lnTo>
                  <a:pt x="11574" y="2784"/>
                </a:lnTo>
                <a:lnTo>
                  <a:pt x="11600" y="2748"/>
                </a:lnTo>
                <a:lnTo>
                  <a:pt x="11616" y="2728"/>
                </a:lnTo>
                <a:lnTo>
                  <a:pt x="11638" y="2708"/>
                </a:lnTo>
                <a:lnTo>
                  <a:pt x="11656" y="2686"/>
                </a:lnTo>
                <a:lnTo>
                  <a:pt x="11668" y="2668"/>
                </a:lnTo>
                <a:lnTo>
                  <a:pt x="11678" y="2652"/>
                </a:lnTo>
                <a:lnTo>
                  <a:pt x="11684" y="2638"/>
                </a:lnTo>
                <a:lnTo>
                  <a:pt x="11692" y="2616"/>
                </a:lnTo>
                <a:lnTo>
                  <a:pt x="11696" y="2608"/>
                </a:lnTo>
                <a:lnTo>
                  <a:pt x="11704" y="2600"/>
                </a:lnTo>
                <a:lnTo>
                  <a:pt x="11712" y="2592"/>
                </a:lnTo>
                <a:lnTo>
                  <a:pt x="11716" y="2586"/>
                </a:lnTo>
                <a:lnTo>
                  <a:pt x="11720" y="2576"/>
                </a:lnTo>
                <a:lnTo>
                  <a:pt x="11722" y="2572"/>
                </a:lnTo>
                <a:lnTo>
                  <a:pt x="11726" y="2564"/>
                </a:lnTo>
                <a:lnTo>
                  <a:pt x="11732" y="2556"/>
                </a:lnTo>
                <a:lnTo>
                  <a:pt x="11742" y="2546"/>
                </a:lnTo>
                <a:lnTo>
                  <a:pt x="11748" y="2540"/>
                </a:lnTo>
                <a:lnTo>
                  <a:pt x="11754" y="2532"/>
                </a:lnTo>
                <a:lnTo>
                  <a:pt x="11762" y="2516"/>
                </a:lnTo>
                <a:lnTo>
                  <a:pt x="11768" y="2496"/>
                </a:lnTo>
                <a:lnTo>
                  <a:pt x="11772" y="2476"/>
                </a:lnTo>
                <a:lnTo>
                  <a:pt x="11772" y="2456"/>
                </a:lnTo>
                <a:lnTo>
                  <a:pt x="11772" y="2438"/>
                </a:lnTo>
                <a:lnTo>
                  <a:pt x="11770" y="2422"/>
                </a:lnTo>
                <a:lnTo>
                  <a:pt x="11768" y="2412"/>
                </a:lnTo>
                <a:lnTo>
                  <a:pt x="11768" y="2404"/>
                </a:lnTo>
                <a:lnTo>
                  <a:pt x="11768" y="2398"/>
                </a:lnTo>
                <a:lnTo>
                  <a:pt x="11768" y="2392"/>
                </a:lnTo>
                <a:lnTo>
                  <a:pt x="11770" y="2388"/>
                </a:lnTo>
                <a:lnTo>
                  <a:pt x="11778" y="2376"/>
                </a:lnTo>
                <a:lnTo>
                  <a:pt x="11780" y="2370"/>
                </a:lnTo>
                <a:lnTo>
                  <a:pt x="11784" y="2360"/>
                </a:lnTo>
                <a:lnTo>
                  <a:pt x="11788" y="2350"/>
                </a:lnTo>
                <a:lnTo>
                  <a:pt x="11792" y="2340"/>
                </a:lnTo>
                <a:lnTo>
                  <a:pt x="11804" y="2328"/>
                </a:lnTo>
                <a:lnTo>
                  <a:pt x="11808" y="2322"/>
                </a:lnTo>
                <a:lnTo>
                  <a:pt x="11810" y="2316"/>
                </a:lnTo>
                <a:lnTo>
                  <a:pt x="11810" y="2310"/>
                </a:lnTo>
                <a:lnTo>
                  <a:pt x="11804" y="2304"/>
                </a:lnTo>
                <a:lnTo>
                  <a:pt x="11800" y="2298"/>
                </a:lnTo>
                <a:lnTo>
                  <a:pt x="11798" y="2292"/>
                </a:lnTo>
                <a:lnTo>
                  <a:pt x="11796" y="2288"/>
                </a:lnTo>
                <a:lnTo>
                  <a:pt x="11798" y="2284"/>
                </a:lnTo>
                <a:lnTo>
                  <a:pt x="11800" y="2276"/>
                </a:lnTo>
                <a:lnTo>
                  <a:pt x="11798" y="2272"/>
                </a:lnTo>
                <a:lnTo>
                  <a:pt x="11794" y="2266"/>
                </a:lnTo>
                <a:lnTo>
                  <a:pt x="11792" y="2260"/>
                </a:lnTo>
                <a:lnTo>
                  <a:pt x="11794" y="2258"/>
                </a:lnTo>
                <a:lnTo>
                  <a:pt x="11804" y="2252"/>
                </a:lnTo>
                <a:lnTo>
                  <a:pt x="11808" y="2248"/>
                </a:lnTo>
                <a:lnTo>
                  <a:pt x="11808" y="2246"/>
                </a:lnTo>
                <a:lnTo>
                  <a:pt x="11806" y="2240"/>
                </a:lnTo>
                <a:lnTo>
                  <a:pt x="11798" y="2234"/>
                </a:lnTo>
                <a:lnTo>
                  <a:pt x="11780" y="2220"/>
                </a:lnTo>
                <a:lnTo>
                  <a:pt x="11768" y="2208"/>
                </a:lnTo>
                <a:lnTo>
                  <a:pt x="11752" y="2188"/>
                </a:lnTo>
                <a:lnTo>
                  <a:pt x="11746" y="2186"/>
                </a:lnTo>
                <a:lnTo>
                  <a:pt x="11742" y="2184"/>
                </a:lnTo>
                <a:lnTo>
                  <a:pt x="11732" y="2184"/>
                </a:lnTo>
                <a:lnTo>
                  <a:pt x="11720" y="2186"/>
                </a:lnTo>
                <a:lnTo>
                  <a:pt x="11714" y="2186"/>
                </a:lnTo>
                <a:lnTo>
                  <a:pt x="11708" y="2182"/>
                </a:lnTo>
                <a:lnTo>
                  <a:pt x="11702" y="2182"/>
                </a:lnTo>
                <a:lnTo>
                  <a:pt x="11700" y="2184"/>
                </a:lnTo>
                <a:lnTo>
                  <a:pt x="11696" y="2196"/>
                </a:lnTo>
                <a:lnTo>
                  <a:pt x="11692" y="2202"/>
                </a:lnTo>
                <a:lnTo>
                  <a:pt x="11688" y="2210"/>
                </a:lnTo>
                <a:lnTo>
                  <a:pt x="11680" y="2218"/>
                </a:lnTo>
                <a:lnTo>
                  <a:pt x="11670" y="2222"/>
                </a:lnTo>
                <a:lnTo>
                  <a:pt x="11660" y="2224"/>
                </a:lnTo>
                <a:lnTo>
                  <a:pt x="11656" y="2224"/>
                </a:lnTo>
                <a:lnTo>
                  <a:pt x="11652" y="2224"/>
                </a:lnTo>
                <a:lnTo>
                  <a:pt x="11650" y="2220"/>
                </a:lnTo>
                <a:lnTo>
                  <a:pt x="11650" y="2216"/>
                </a:lnTo>
                <a:lnTo>
                  <a:pt x="11650" y="2212"/>
                </a:lnTo>
                <a:lnTo>
                  <a:pt x="11654" y="2202"/>
                </a:lnTo>
                <a:lnTo>
                  <a:pt x="11658" y="2192"/>
                </a:lnTo>
                <a:lnTo>
                  <a:pt x="11660" y="2184"/>
                </a:lnTo>
                <a:lnTo>
                  <a:pt x="11660" y="2182"/>
                </a:lnTo>
                <a:lnTo>
                  <a:pt x="11658" y="2180"/>
                </a:lnTo>
                <a:lnTo>
                  <a:pt x="11654" y="2180"/>
                </a:lnTo>
                <a:lnTo>
                  <a:pt x="11648" y="2180"/>
                </a:lnTo>
                <a:lnTo>
                  <a:pt x="11638" y="2186"/>
                </a:lnTo>
                <a:lnTo>
                  <a:pt x="11634" y="2190"/>
                </a:lnTo>
                <a:lnTo>
                  <a:pt x="11634" y="2194"/>
                </a:lnTo>
                <a:lnTo>
                  <a:pt x="11636" y="2198"/>
                </a:lnTo>
                <a:lnTo>
                  <a:pt x="11638" y="2202"/>
                </a:lnTo>
                <a:lnTo>
                  <a:pt x="11638" y="2204"/>
                </a:lnTo>
                <a:lnTo>
                  <a:pt x="11634" y="2206"/>
                </a:lnTo>
                <a:lnTo>
                  <a:pt x="11626" y="2208"/>
                </a:lnTo>
                <a:lnTo>
                  <a:pt x="11622" y="2208"/>
                </a:lnTo>
                <a:lnTo>
                  <a:pt x="11618" y="2206"/>
                </a:lnTo>
                <a:lnTo>
                  <a:pt x="11616" y="2204"/>
                </a:lnTo>
                <a:lnTo>
                  <a:pt x="11616" y="2202"/>
                </a:lnTo>
                <a:lnTo>
                  <a:pt x="11618" y="2194"/>
                </a:lnTo>
                <a:lnTo>
                  <a:pt x="11622" y="2186"/>
                </a:lnTo>
                <a:lnTo>
                  <a:pt x="11624" y="2176"/>
                </a:lnTo>
                <a:lnTo>
                  <a:pt x="11624" y="2172"/>
                </a:lnTo>
                <a:lnTo>
                  <a:pt x="11622" y="2168"/>
                </a:lnTo>
                <a:lnTo>
                  <a:pt x="11620" y="2164"/>
                </a:lnTo>
                <a:lnTo>
                  <a:pt x="11616" y="2162"/>
                </a:lnTo>
                <a:lnTo>
                  <a:pt x="11610" y="2160"/>
                </a:lnTo>
                <a:lnTo>
                  <a:pt x="11602" y="2160"/>
                </a:lnTo>
                <a:lnTo>
                  <a:pt x="11584" y="2160"/>
                </a:lnTo>
                <a:lnTo>
                  <a:pt x="11570" y="2160"/>
                </a:lnTo>
                <a:lnTo>
                  <a:pt x="11560" y="2158"/>
                </a:lnTo>
                <a:lnTo>
                  <a:pt x="11556" y="2154"/>
                </a:lnTo>
                <a:lnTo>
                  <a:pt x="11554" y="2150"/>
                </a:lnTo>
                <a:lnTo>
                  <a:pt x="11556" y="2146"/>
                </a:lnTo>
                <a:lnTo>
                  <a:pt x="11562" y="2138"/>
                </a:lnTo>
                <a:lnTo>
                  <a:pt x="11574" y="2126"/>
                </a:lnTo>
                <a:lnTo>
                  <a:pt x="11594" y="2112"/>
                </a:lnTo>
                <a:lnTo>
                  <a:pt x="11634" y="2086"/>
                </a:lnTo>
                <a:lnTo>
                  <a:pt x="11658" y="2068"/>
                </a:lnTo>
                <a:lnTo>
                  <a:pt x="11666" y="2060"/>
                </a:lnTo>
                <a:lnTo>
                  <a:pt x="11672" y="2052"/>
                </a:lnTo>
                <a:lnTo>
                  <a:pt x="11676" y="2042"/>
                </a:lnTo>
                <a:lnTo>
                  <a:pt x="11682" y="2030"/>
                </a:lnTo>
                <a:lnTo>
                  <a:pt x="11690" y="2018"/>
                </a:lnTo>
                <a:lnTo>
                  <a:pt x="11700" y="2008"/>
                </a:lnTo>
                <a:lnTo>
                  <a:pt x="11714" y="1998"/>
                </a:lnTo>
                <a:lnTo>
                  <a:pt x="11728" y="1990"/>
                </a:lnTo>
                <a:lnTo>
                  <a:pt x="11742" y="1982"/>
                </a:lnTo>
                <a:lnTo>
                  <a:pt x="11754" y="1972"/>
                </a:lnTo>
                <a:lnTo>
                  <a:pt x="11766" y="1960"/>
                </a:lnTo>
                <a:lnTo>
                  <a:pt x="11770" y="1952"/>
                </a:lnTo>
                <a:lnTo>
                  <a:pt x="11774" y="1944"/>
                </a:lnTo>
                <a:lnTo>
                  <a:pt x="11782" y="1928"/>
                </a:lnTo>
                <a:lnTo>
                  <a:pt x="11796" y="1912"/>
                </a:lnTo>
                <a:lnTo>
                  <a:pt x="11814" y="1896"/>
                </a:lnTo>
                <a:lnTo>
                  <a:pt x="11834" y="1882"/>
                </a:lnTo>
                <a:lnTo>
                  <a:pt x="11854" y="1870"/>
                </a:lnTo>
                <a:lnTo>
                  <a:pt x="11874" y="1864"/>
                </a:lnTo>
                <a:lnTo>
                  <a:pt x="11894" y="1860"/>
                </a:lnTo>
                <a:lnTo>
                  <a:pt x="11902" y="1860"/>
                </a:lnTo>
                <a:lnTo>
                  <a:pt x="11912" y="1862"/>
                </a:lnTo>
                <a:lnTo>
                  <a:pt x="11926" y="1864"/>
                </a:lnTo>
                <a:lnTo>
                  <a:pt x="11936" y="1866"/>
                </a:lnTo>
                <a:lnTo>
                  <a:pt x="11956" y="1864"/>
                </a:lnTo>
                <a:lnTo>
                  <a:pt x="11970" y="1864"/>
                </a:lnTo>
                <a:lnTo>
                  <a:pt x="11978" y="1866"/>
                </a:lnTo>
                <a:lnTo>
                  <a:pt x="11986" y="1868"/>
                </a:lnTo>
                <a:lnTo>
                  <a:pt x="11994" y="1872"/>
                </a:lnTo>
                <a:lnTo>
                  <a:pt x="11996" y="1872"/>
                </a:lnTo>
                <a:lnTo>
                  <a:pt x="11998" y="1870"/>
                </a:lnTo>
                <a:lnTo>
                  <a:pt x="12002" y="1866"/>
                </a:lnTo>
                <a:lnTo>
                  <a:pt x="12006" y="1862"/>
                </a:lnTo>
                <a:lnTo>
                  <a:pt x="12012" y="1858"/>
                </a:lnTo>
                <a:lnTo>
                  <a:pt x="12024" y="1858"/>
                </a:lnTo>
                <a:lnTo>
                  <a:pt x="12042" y="1860"/>
                </a:lnTo>
                <a:lnTo>
                  <a:pt x="12076" y="1868"/>
                </a:lnTo>
                <a:lnTo>
                  <a:pt x="12088" y="1870"/>
                </a:lnTo>
                <a:lnTo>
                  <a:pt x="12096" y="1870"/>
                </a:lnTo>
                <a:lnTo>
                  <a:pt x="12104" y="1868"/>
                </a:lnTo>
                <a:lnTo>
                  <a:pt x="12108" y="1866"/>
                </a:lnTo>
                <a:lnTo>
                  <a:pt x="12112" y="1858"/>
                </a:lnTo>
                <a:lnTo>
                  <a:pt x="12116" y="1848"/>
                </a:lnTo>
                <a:lnTo>
                  <a:pt x="12118" y="1846"/>
                </a:lnTo>
                <a:lnTo>
                  <a:pt x="12124" y="1844"/>
                </a:lnTo>
                <a:lnTo>
                  <a:pt x="12140" y="1842"/>
                </a:lnTo>
                <a:lnTo>
                  <a:pt x="12160" y="1842"/>
                </a:lnTo>
                <a:lnTo>
                  <a:pt x="12182" y="1844"/>
                </a:lnTo>
                <a:lnTo>
                  <a:pt x="12202" y="1848"/>
                </a:lnTo>
                <a:lnTo>
                  <a:pt x="12210" y="1852"/>
                </a:lnTo>
                <a:lnTo>
                  <a:pt x="12216" y="1854"/>
                </a:lnTo>
                <a:lnTo>
                  <a:pt x="12218" y="1858"/>
                </a:lnTo>
                <a:lnTo>
                  <a:pt x="12220" y="1864"/>
                </a:lnTo>
                <a:lnTo>
                  <a:pt x="12216" y="1870"/>
                </a:lnTo>
                <a:lnTo>
                  <a:pt x="12208" y="1876"/>
                </a:lnTo>
                <a:lnTo>
                  <a:pt x="12202" y="1880"/>
                </a:lnTo>
                <a:lnTo>
                  <a:pt x="12200" y="1884"/>
                </a:lnTo>
                <a:lnTo>
                  <a:pt x="12200" y="1888"/>
                </a:lnTo>
                <a:lnTo>
                  <a:pt x="12202" y="1890"/>
                </a:lnTo>
                <a:lnTo>
                  <a:pt x="12214" y="1890"/>
                </a:lnTo>
                <a:lnTo>
                  <a:pt x="12228" y="1890"/>
                </a:lnTo>
                <a:lnTo>
                  <a:pt x="12246" y="1888"/>
                </a:lnTo>
                <a:lnTo>
                  <a:pt x="12262" y="1884"/>
                </a:lnTo>
                <a:lnTo>
                  <a:pt x="12276" y="1880"/>
                </a:lnTo>
                <a:lnTo>
                  <a:pt x="12282" y="1876"/>
                </a:lnTo>
                <a:lnTo>
                  <a:pt x="12286" y="1870"/>
                </a:lnTo>
                <a:lnTo>
                  <a:pt x="12292" y="1870"/>
                </a:lnTo>
                <a:lnTo>
                  <a:pt x="12298" y="1872"/>
                </a:lnTo>
                <a:lnTo>
                  <a:pt x="12306" y="1878"/>
                </a:lnTo>
                <a:lnTo>
                  <a:pt x="12316" y="1882"/>
                </a:lnTo>
                <a:lnTo>
                  <a:pt x="12326" y="1884"/>
                </a:lnTo>
                <a:lnTo>
                  <a:pt x="12336" y="1882"/>
                </a:lnTo>
                <a:lnTo>
                  <a:pt x="12344" y="1880"/>
                </a:lnTo>
                <a:lnTo>
                  <a:pt x="12350" y="1876"/>
                </a:lnTo>
                <a:lnTo>
                  <a:pt x="12354" y="1870"/>
                </a:lnTo>
                <a:lnTo>
                  <a:pt x="12358" y="1866"/>
                </a:lnTo>
                <a:lnTo>
                  <a:pt x="12356" y="1862"/>
                </a:lnTo>
                <a:lnTo>
                  <a:pt x="12354" y="1858"/>
                </a:lnTo>
                <a:lnTo>
                  <a:pt x="12346" y="1852"/>
                </a:lnTo>
                <a:lnTo>
                  <a:pt x="12336" y="1844"/>
                </a:lnTo>
                <a:lnTo>
                  <a:pt x="12332" y="1840"/>
                </a:lnTo>
                <a:lnTo>
                  <a:pt x="12328" y="1836"/>
                </a:lnTo>
                <a:lnTo>
                  <a:pt x="12326" y="1830"/>
                </a:lnTo>
                <a:lnTo>
                  <a:pt x="12326" y="1824"/>
                </a:lnTo>
                <a:lnTo>
                  <a:pt x="12328" y="1818"/>
                </a:lnTo>
                <a:lnTo>
                  <a:pt x="12334" y="1810"/>
                </a:lnTo>
                <a:lnTo>
                  <a:pt x="12344" y="1802"/>
                </a:lnTo>
                <a:lnTo>
                  <a:pt x="12358" y="1792"/>
                </a:lnTo>
                <a:lnTo>
                  <a:pt x="12384" y="1772"/>
                </a:lnTo>
                <a:lnTo>
                  <a:pt x="12402" y="1756"/>
                </a:lnTo>
                <a:lnTo>
                  <a:pt x="12424" y="1730"/>
                </a:lnTo>
                <a:lnTo>
                  <a:pt x="12434" y="1720"/>
                </a:lnTo>
                <a:lnTo>
                  <a:pt x="12450" y="1714"/>
                </a:lnTo>
                <a:lnTo>
                  <a:pt x="12472" y="1708"/>
                </a:lnTo>
                <a:lnTo>
                  <a:pt x="12504" y="1702"/>
                </a:lnTo>
                <a:lnTo>
                  <a:pt x="12520" y="1702"/>
                </a:lnTo>
                <a:lnTo>
                  <a:pt x="12530" y="1702"/>
                </a:lnTo>
                <a:lnTo>
                  <a:pt x="12540" y="1706"/>
                </a:lnTo>
                <a:lnTo>
                  <a:pt x="12546" y="1712"/>
                </a:lnTo>
                <a:lnTo>
                  <a:pt x="12550" y="1720"/>
                </a:lnTo>
                <a:lnTo>
                  <a:pt x="12552" y="1728"/>
                </a:lnTo>
                <a:lnTo>
                  <a:pt x="12554" y="1744"/>
                </a:lnTo>
                <a:lnTo>
                  <a:pt x="12554" y="1762"/>
                </a:lnTo>
                <a:lnTo>
                  <a:pt x="12554" y="1768"/>
                </a:lnTo>
                <a:lnTo>
                  <a:pt x="12556" y="1774"/>
                </a:lnTo>
                <a:lnTo>
                  <a:pt x="12560" y="1778"/>
                </a:lnTo>
                <a:lnTo>
                  <a:pt x="12566" y="1778"/>
                </a:lnTo>
                <a:lnTo>
                  <a:pt x="12572" y="1778"/>
                </a:lnTo>
                <a:lnTo>
                  <a:pt x="12582" y="1774"/>
                </a:lnTo>
                <a:lnTo>
                  <a:pt x="12604" y="1762"/>
                </a:lnTo>
                <a:lnTo>
                  <a:pt x="12618" y="1750"/>
                </a:lnTo>
                <a:lnTo>
                  <a:pt x="12628" y="1740"/>
                </a:lnTo>
                <a:lnTo>
                  <a:pt x="12634" y="1730"/>
                </a:lnTo>
                <a:lnTo>
                  <a:pt x="12640" y="1724"/>
                </a:lnTo>
                <a:lnTo>
                  <a:pt x="12646" y="1718"/>
                </a:lnTo>
                <a:lnTo>
                  <a:pt x="12654" y="1718"/>
                </a:lnTo>
                <a:lnTo>
                  <a:pt x="12666" y="1720"/>
                </a:lnTo>
                <a:lnTo>
                  <a:pt x="12672" y="1720"/>
                </a:lnTo>
                <a:lnTo>
                  <a:pt x="12676" y="1720"/>
                </a:lnTo>
                <a:lnTo>
                  <a:pt x="12678" y="1716"/>
                </a:lnTo>
                <a:lnTo>
                  <a:pt x="12680" y="1712"/>
                </a:lnTo>
                <a:lnTo>
                  <a:pt x="12680" y="1700"/>
                </a:lnTo>
                <a:lnTo>
                  <a:pt x="12678" y="1686"/>
                </a:lnTo>
                <a:lnTo>
                  <a:pt x="12676" y="1670"/>
                </a:lnTo>
                <a:lnTo>
                  <a:pt x="12678" y="1664"/>
                </a:lnTo>
                <a:lnTo>
                  <a:pt x="12680" y="1658"/>
                </a:lnTo>
                <a:lnTo>
                  <a:pt x="12684" y="1652"/>
                </a:lnTo>
                <a:lnTo>
                  <a:pt x="12692" y="1648"/>
                </a:lnTo>
                <a:lnTo>
                  <a:pt x="12700" y="1646"/>
                </a:lnTo>
                <a:lnTo>
                  <a:pt x="12712" y="1644"/>
                </a:lnTo>
                <a:lnTo>
                  <a:pt x="12744" y="1646"/>
                </a:lnTo>
                <a:lnTo>
                  <a:pt x="12746" y="1646"/>
                </a:lnTo>
                <a:lnTo>
                  <a:pt x="12746" y="1648"/>
                </a:lnTo>
                <a:lnTo>
                  <a:pt x="12742" y="1652"/>
                </a:lnTo>
                <a:lnTo>
                  <a:pt x="12736" y="1660"/>
                </a:lnTo>
                <a:lnTo>
                  <a:pt x="12728" y="1672"/>
                </a:lnTo>
                <a:lnTo>
                  <a:pt x="12718" y="1688"/>
                </a:lnTo>
                <a:lnTo>
                  <a:pt x="12716" y="1700"/>
                </a:lnTo>
                <a:lnTo>
                  <a:pt x="12712" y="1712"/>
                </a:lnTo>
                <a:lnTo>
                  <a:pt x="12710" y="1724"/>
                </a:lnTo>
                <a:lnTo>
                  <a:pt x="12706" y="1736"/>
                </a:lnTo>
                <a:lnTo>
                  <a:pt x="12702" y="1744"/>
                </a:lnTo>
                <a:lnTo>
                  <a:pt x="12698" y="1752"/>
                </a:lnTo>
                <a:lnTo>
                  <a:pt x="12686" y="1762"/>
                </a:lnTo>
                <a:lnTo>
                  <a:pt x="12672" y="1772"/>
                </a:lnTo>
                <a:lnTo>
                  <a:pt x="12654" y="1782"/>
                </a:lnTo>
                <a:lnTo>
                  <a:pt x="12636" y="1794"/>
                </a:lnTo>
                <a:lnTo>
                  <a:pt x="12616" y="1810"/>
                </a:lnTo>
                <a:lnTo>
                  <a:pt x="12604" y="1822"/>
                </a:lnTo>
                <a:lnTo>
                  <a:pt x="12594" y="1836"/>
                </a:lnTo>
                <a:lnTo>
                  <a:pt x="12552" y="1886"/>
                </a:lnTo>
                <a:lnTo>
                  <a:pt x="12534" y="1904"/>
                </a:lnTo>
                <a:lnTo>
                  <a:pt x="12518" y="1920"/>
                </a:lnTo>
                <a:lnTo>
                  <a:pt x="12502" y="1934"/>
                </a:lnTo>
                <a:lnTo>
                  <a:pt x="12488" y="1944"/>
                </a:lnTo>
                <a:lnTo>
                  <a:pt x="12472" y="1950"/>
                </a:lnTo>
                <a:lnTo>
                  <a:pt x="12456" y="1956"/>
                </a:lnTo>
                <a:lnTo>
                  <a:pt x="12442" y="1960"/>
                </a:lnTo>
                <a:lnTo>
                  <a:pt x="12436" y="1964"/>
                </a:lnTo>
                <a:lnTo>
                  <a:pt x="12432" y="1968"/>
                </a:lnTo>
                <a:lnTo>
                  <a:pt x="12432" y="1976"/>
                </a:lnTo>
                <a:lnTo>
                  <a:pt x="12430" y="1982"/>
                </a:lnTo>
                <a:lnTo>
                  <a:pt x="12428" y="1990"/>
                </a:lnTo>
                <a:lnTo>
                  <a:pt x="12422" y="2000"/>
                </a:lnTo>
                <a:lnTo>
                  <a:pt x="12408" y="2012"/>
                </a:lnTo>
                <a:lnTo>
                  <a:pt x="12402" y="2018"/>
                </a:lnTo>
                <a:lnTo>
                  <a:pt x="12396" y="2028"/>
                </a:lnTo>
                <a:lnTo>
                  <a:pt x="12390" y="2040"/>
                </a:lnTo>
                <a:lnTo>
                  <a:pt x="12386" y="2054"/>
                </a:lnTo>
                <a:lnTo>
                  <a:pt x="12384" y="2068"/>
                </a:lnTo>
                <a:lnTo>
                  <a:pt x="12382" y="2084"/>
                </a:lnTo>
                <a:lnTo>
                  <a:pt x="12382" y="2122"/>
                </a:lnTo>
                <a:lnTo>
                  <a:pt x="12384" y="2162"/>
                </a:lnTo>
                <a:lnTo>
                  <a:pt x="12390" y="2204"/>
                </a:lnTo>
                <a:lnTo>
                  <a:pt x="12398" y="2248"/>
                </a:lnTo>
                <a:lnTo>
                  <a:pt x="12406" y="2292"/>
                </a:lnTo>
                <a:lnTo>
                  <a:pt x="12408" y="2310"/>
                </a:lnTo>
                <a:lnTo>
                  <a:pt x="12412" y="2330"/>
                </a:lnTo>
                <a:lnTo>
                  <a:pt x="12414" y="2350"/>
                </a:lnTo>
                <a:lnTo>
                  <a:pt x="12418" y="2366"/>
                </a:lnTo>
                <a:lnTo>
                  <a:pt x="12422" y="2372"/>
                </a:lnTo>
                <a:lnTo>
                  <a:pt x="12426" y="2376"/>
                </a:lnTo>
                <a:lnTo>
                  <a:pt x="12430" y="2378"/>
                </a:lnTo>
                <a:lnTo>
                  <a:pt x="12436" y="2376"/>
                </a:lnTo>
                <a:lnTo>
                  <a:pt x="12444" y="2372"/>
                </a:lnTo>
                <a:lnTo>
                  <a:pt x="12452" y="2364"/>
                </a:lnTo>
                <a:lnTo>
                  <a:pt x="12464" y="2352"/>
                </a:lnTo>
                <a:lnTo>
                  <a:pt x="12476" y="2336"/>
                </a:lnTo>
                <a:lnTo>
                  <a:pt x="12484" y="2324"/>
                </a:lnTo>
                <a:lnTo>
                  <a:pt x="12490" y="2312"/>
                </a:lnTo>
                <a:lnTo>
                  <a:pt x="12496" y="2294"/>
                </a:lnTo>
                <a:lnTo>
                  <a:pt x="12498" y="2280"/>
                </a:lnTo>
                <a:lnTo>
                  <a:pt x="12500" y="2268"/>
                </a:lnTo>
                <a:lnTo>
                  <a:pt x="12502" y="2258"/>
                </a:lnTo>
                <a:lnTo>
                  <a:pt x="12502" y="2256"/>
                </a:lnTo>
                <a:lnTo>
                  <a:pt x="12506" y="2254"/>
                </a:lnTo>
                <a:lnTo>
                  <a:pt x="12516" y="2250"/>
                </a:lnTo>
                <a:lnTo>
                  <a:pt x="12532" y="2248"/>
                </a:lnTo>
                <a:lnTo>
                  <a:pt x="12542" y="2248"/>
                </a:lnTo>
                <a:lnTo>
                  <a:pt x="12548" y="2246"/>
                </a:lnTo>
                <a:lnTo>
                  <a:pt x="12552" y="2242"/>
                </a:lnTo>
                <a:lnTo>
                  <a:pt x="12556" y="2236"/>
                </a:lnTo>
                <a:lnTo>
                  <a:pt x="12558" y="2224"/>
                </a:lnTo>
                <a:lnTo>
                  <a:pt x="12558" y="2210"/>
                </a:lnTo>
                <a:lnTo>
                  <a:pt x="12560" y="2194"/>
                </a:lnTo>
                <a:lnTo>
                  <a:pt x="12560" y="2188"/>
                </a:lnTo>
                <a:lnTo>
                  <a:pt x="12564" y="2182"/>
                </a:lnTo>
                <a:lnTo>
                  <a:pt x="12568" y="2176"/>
                </a:lnTo>
                <a:lnTo>
                  <a:pt x="12574" y="2172"/>
                </a:lnTo>
                <a:lnTo>
                  <a:pt x="12582" y="2168"/>
                </a:lnTo>
                <a:lnTo>
                  <a:pt x="12594" y="2166"/>
                </a:lnTo>
                <a:lnTo>
                  <a:pt x="12620" y="2162"/>
                </a:lnTo>
                <a:lnTo>
                  <a:pt x="12628" y="2160"/>
                </a:lnTo>
                <a:lnTo>
                  <a:pt x="12634" y="2156"/>
                </a:lnTo>
                <a:lnTo>
                  <a:pt x="12636" y="2152"/>
                </a:lnTo>
                <a:lnTo>
                  <a:pt x="12638" y="2148"/>
                </a:lnTo>
                <a:lnTo>
                  <a:pt x="12638" y="2142"/>
                </a:lnTo>
                <a:lnTo>
                  <a:pt x="12636" y="2136"/>
                </a:lnTo>
                <a:lnTo>
                  <a:pt x="12632" y="2124"/>
                </a:lnTo>
                <a:lnTo>
                  <a:pt x="12628" y="2110"/>
                </a:lnTo>
                <a:lnTo>
                  <a:pt x="12628" y="2104"/>
                </a:lnTo>
                <a:lnTo>
                  <a:pt x="12628" y="2096"/>
                </a:lnTo>
                <a:lnTo>
                  <a:pt x="12628" y="2088"/>
                </a:lnTo>
                <a:lnTo>
                  <a:pt x="12632" y="2080"/>
                </a:lnTo>
                <a:lnTo>
                  <a:pt x="12636" y="2074"/>
                </a:lnTo>
                <a:lnTo>
                  <a:pt x="12640" y="2068"/>
                </a:lnTo>
                <a:lnTo>
                  <a:pt x="12644" y="2066"/>
                </a:lnTo>
                <a:lnTo>
                  <a:pt x="12650" y="2064"/>
                </a:lnTo>
                <a:lnTo>
                  <a:pt x="12658" y="2066"/>
                </a:lnTo>
                <a:lnTo>
                  <a:pt x="12666" y="2068"/>
                </a:lnTo>
                <a:lnTo>
                  <a:pt x="12674" y="2072"/>
                </a:lnTo>
                <a:lnTo>
                  <a:pt x="12680" y="2074"/>
                </a:lnTo>
                <a:lnTo>
                  <a:pt x="12682" y="2074"/>
                </a:lnTo>
                <a:lnTo>
                  <a:pt x="12684" y="2070"/>
                </a:lnTo>
                <a:lnTo>
                  <a:pt x="12688" y="2060"/>
                </a:lnTo>
                <a:lnTo>
                  <a:pt x="12690" y="2052"/>
                </a:lnTo>
                <a:lnTo>
                  <a:pt x="12688" y="2046"/>
                </a:lnTo>
                <a:lnTo>
                  <a:pt x="12686" y="2040"/>
                </a:lnTo>
                <a:lnTo>
                  <a:pt x="12684" y="2034"/>
                </a:lnTo>
                <a:lnTo>
                  <a:pt x="12678" y="2028"/>
                </a:lnTo>
                <a:lnTo>
                  <a:pt x="12670" y="2022"/>
                </a:lnTo>
                <a:lnTo>
                  <a:pt x="12664" y="2016"/>
                </a:lnTo>
                <a:lnTo>
                  <a:pt x="12662" y="2014"/>
                </a:lnTo>
                <a:lnTo>
                  <a:pt x="12660" y="2010"/>
                </a:lnTo>
                <a:lnTo>
                  <a:pt x="12660" y="2006"/>
                </a:lnTo>
                <a:lnTo>
                  <a:pt x="12662" y="2002"/>
                </a:lnTo>
                <a:lnTo>
                  <a:pt x="12672" y="1988"/>
                </a:lnTo>
                <a:lnTo>
                  <a:pt x="12678" y="1978"/>
                </a:lnTo>
                <a:lnTo>
                  <a:pt x="12682" y="1970"/>
                </a:lnTo>
                <a:lnTo>
                  <a:pt x="12684" y="1964"/>
                </a:lnTo>
                <a:lnTo>
                  <a:pt x="12682" y="1960"/>
                </a:lnTo>
                <a:lnTo>
                  <a:pt x="12676" y="1956"/>
                </a:lnTo>
                <a:lnTo>
                  <a:pt x="12672" y="1952"/>
                </a:lnTo>
                <a:lnTo>
                  <a:pt x="12658" y="1948"/>
                </a:lnTo>
                <a:lnTo>
                  <a:pt x="12644" y="1942"/>
                </a:lnTo>
                <a:lnTo>
                  <a:pt x="12638" y="1940"/>
                </a:lnTo>
                <a:lnTo>
                  <a:pt x="12634" y="1936"/>
                </a:lnTo>
                <a:lnTo>
                  <a:pt x="12634" y="1932"/>
                </a:lnTo>
                <a:lnTo>
                  <a:pt x="12636" y="1926"/>
                </a:lnTo>
                <a:lnTo>
                  <a:pt x="12642" y="1920"/>
                </a:lnTo>
                <a:lnTo>
                  <a:pt x="12650" y="1912"/>
                </a:lnTo>
                <a:lnTo>
                  <a:pt x="12670" y="1894"/>
                </a:lnTo>
                <a:lnTo>
                  <a:pt x="12682" y="1878"/>
                </a:lnTo>
                <a:lnTo>
                  <a:pt x="12690" y="1864"/>
                </a:lnTo>
                <a:lnTo>
                  <a:pt x="12692" y="1852"/>
                </a:lnTo>
                <a:lnTo>
                  <a:pt x="12694" y="1842"/>
                </a:lnTo>
                <a:lnTo>
                  <a:pt x="12698" y="1834"/>
                </a:lnTo>
                <a:lnTo>
                  <a:pt x="12704" y="1826"/>
                </a:lnTo>
                <a:lnTo>
                  <a:pt x="12716" y="1820"/>
                </a:lnTo>
                <a:lnTo>
                  <a:pt x="12728" y="1818"/>
                </a:lnTo>
                <a:lnTo>
                  <a:pt x="12736" y="1818"/>
                </a:lnTo>
                <a:lnTo>
                  <a:pt x="12740" y="1820"/>
                </a:lnTo>
                <a:lnTo>
                  <a:pt x="12742" y="1822"/>
                </a:lnTo>
                <a:lnTo>
                  <a:pt x="12744" y="1824"/>
                </a:lnTo>
                <a:lnTo>
                  <a:pt x="12750" y="1822"/>
                </a:lnTo>
                <a:lnTo>
                  <a:pt x="12760" y="1816"/>
                </a:lnTo>
                <a:lnTo>
                  <a:pt x="12776" y="1804"/>
                </a:lnTo>
                <a:lnTo>
                  <a:pt x="12788" y="1796"/>
                </a:lnTo>
                <a:lnTo>
                  <a:pt x="12796" y="1792"/>
                </a:lnTo>
                <a:lnTo>
                  <a:pt x="12802" y="1790"/>
                </a:lnTo>
                <a:lnTo>
                  <a:pt x="12804" y="1792"/>
                </a:lnTo>
                <a:lnTo>
                  <a:pt x="12806" y="1794"/>
                </a:lnTo>
                <a:lnTo>
                  <a:pt x="12806" y="1800"/>
                </a:lnTo>
                <a:lnTo>
                  <a:pt x="12802" y="1812"/>
                </a:lnTo>
                <a:lnTo>
                  <a:pt x="12798" y="1824"/>
                </a:lnTo>
                <a:lnTo>
                  <a:pt x="12798" y="1828"/>
                </a:lnTo>
                <a:lnTo>
                  <a:pt x="12798" y="1832"/>
                </a:lnTo>
                <a:lnTo>
                  <a:pt x="12800" y="1832"/>
                </a:lnTo>
                <a:lnTo>
                  <a:pt x="12806" y="1830"/>
                </a:lnTo>
                <a:lnTo>
                  <a:pt x="12824" y="1816"/>
                </a:lnTo>
                <a:lnTo>
                  <a:pt x="12846" y="1800"/>
                </a:lnTo>
                <a:lnTo>
                  <a:pt x="12868" y="1788"/>
                </a:lnTo>
                <a:lnTo>
                  <a:pt x="12878" y="1786"/>
                </a:lnTo>
                <a:lnTo>
                  <a:pt x="12888" y="1784"/>
                </a:lnTo>
                <a:lnTo>
                  <a:pt x="12906" y="1784"/>
                </a:lnTo>
                <a:lnTo>
                  <a:pt x="12922" y="1788"/>
                </a:lnTo>
                <a:lnTo>
                  <a:pt x="12936" y="1794"/>
                </a:lnTo>
                <a:lnTo>
                  <a:pt x="12948" y="1804"/>
                </a:lnTo>
                <a:lnTo>
                  <a:pt x="12960" y="1818"/>
                </a:lnTo>
                <a:lnTo>
                  <a:pt x="12968" y="1826"/>
                </a:lnTo>
                <a:lnTo>
                  <a:pt x="12972" y="1830"/>
                </a:lnTo>
                <a:lnTo>
                  <a:pt x="12972" y="1826"/>
                </a:lnTo>
                <a:lnTo>
                  <a:pt x="12976" y="1820"/>
                </a:lnTo>
                <a:lnTo>
                  <a:pt x="12982" y="1808"/>
                </a:lnTo>
                <a:lnTo>
                  <a:pt x="12996" y="1792"/>
                </a:lnTo>
                <a:lnTo>
                  <a:pt x="13006" y="1782"/>
                </a:lnTo>
                <a:lnTo>
                  <a:pt x="13020" y="1772"/>
                </a:lnTo>
                <a:lnTo>
                  <a:pt x="13036" y="1762"/>
                </a:lnTo>
                <a:lnTo>
                  <a:pt x="13056" y="1752"/>
                </a:lnTo>
                <a:lnTo>
                  <a:pt x="13074" y="1742"/>
                </a:lnTo>
                <a:lnTo>
                  <a:pt x="13090" y="1730"/>
                </a:lnTo>
                <a:lnTo>
                  <a:pt x="13124" y="1706"/>
                </a:lnTo>
                <a:lnTo>
                  <a:pt x="13142" y="1694"/>
                </a:lnTo>
                <a:lnTo>
                  <a:pt x="13160" y="1684"/>
                </a:lnTo>
                <a:lnTo>
                  <a:pt x="13178" y="1674"/>
                </a:lnTo>
                <a:lnTo>
                  <a:pt x="13200" y="1666"/>
                </a:lnTo>
                <a:lnTo>
                  <a:pt x="13218" y="1660"/>
                </a:lnTo>
                <a:lnTo>
                  <a:pt x="13236" y="1656"/>
                </a:lnTo>
                <a:lnTo>
                  <a:pt x="13250" y="1654"/>
                </a:lnTo>
                <a:lnTo>
                  <a:pt x="13264" y="1654"/>
                </a:lnTo>
                <a:lnTo>
                  <a:pt x="13284" y="1654"/>
                </a:lnTo>
                <a:lnTo>
                  <a:pt x="13298" y="1658"/>
                </a:lnTo>
                <a:lnTo>
                  <a:pt x="13310" y="1662"/>
                </a:lnTo>
                <a:lnTo>
                  <a:pt x="13318" y="1666"/>
                </a:lnTo>
                <a:lnTo>
                  <a:pt x="13322" y="1666"/>
                </a:lnTo>
                <a:lnTo>
                  <a:pt x="13326" y="1664"/>
                </a:lnTo>
                <a:lnTo>
                  <a:pt x="13336" y="1658"/>
                </a:lnTo>
                <a:lnTo>
                  <a:pt x="13344" y="1648"/>
                </a:lnTo>
                <a:lnTo>
                  <a:pt x="13346" y="1640"/>
                </a:lnTo>
                <a:lnTo>
                  <a:pt x="13344" y="1630"/>
                </a:lnTo>
                <a:lnTo>
                  <a:pt x="13340" y="1622"/>
                </a:lnTo>
                <a:lnTo>
                  <a:pt x="13324" y="1600"/>
                </a:lnTo>
                <a:lnTo>
                  <a:pt x="13316" y="1586"/>
                </a:lnTo>
                <a:lnTo>
                  <a:pt x="13308" y="1568"/>
                </a:lnTo>
                <a:lnTo>
                  <a:pt x="13300" y="1548"/>
                </a:lnTo>
                <a:lnTo>
                  <a:pt x="13292" y="1538"/>
                </a:lnTo>
                <a:lnTo>
                  <a:pt x="13288" y="1536"/>
                </a:lnTo>
                <a:lnTo>
                  <a:pt x="13286" y="1536"/>
                </a:lnTo>
                <a:lnTo>
                  <a:pt x="13278" y="1536"/>
                </a:lnTo>
                <a:lnTo>
                  <a:pt x="13272" y="1538"/>
                </a:lnTo>
                <a:lnTo>
                  <a:pt x="13268" y="1538"/>
                </a:lnTo>
                <a:lnTo>
                  <a:pt x="13264" y="1536"/>
                </a:lnTo>
                <a:lnTo>
                  <a:pt x="13262" y="1532"/>
                </a:lnTo>
                <a:lnTo>
                  <a:pt x="13258" y="1520"/>
                </a:lnTo>
                <a:lnTo>
                  <a:pt x="13256" y="1516"/>
                </a:lnTo>
                <a:lnTo>
                  <a:pt x="13258" y="1512"/>
                </a:lnTo>
                <a:lnTo>
                  <a:pt x="13260" y="1510"/>
                </a:lnTo>
                <a:lnTo>
                  <a:pt x="13264" y="1508"/>
                </a:lnTo>
                <a:lnTo>
                  <a:pt x="13274" y="1508"/>
                </a:lnTo>
                <a:lnTo>
                  <a:pt x="13288" y="1510"/>
                </a:lnTo>
                <a:lnTo>
                  <a:pt x="13302" y="1510"/>
                </a:lnTo>
                <a:lnTo>
                  <a:pt x="13320" y="1510"/>
                </a:lnTo>
                <a:lnTo>
                  <a:pt x="13328" y="1508"/>
                </a:lnTo>
                <a:lnTo>
                  <a:pt x="13336" y="1504"/>
                </a:lnTo>
                <a:lnTo>
                  <a:pt x="13344" y="1498"/>
                </a:lnTo>
                <a:lnTo>
                  <a:pt x="13350" y="1490"/>
                </a:lnTo>
                <a:lnTo>
                  <a:pt x="13366" y="1472"/>
                </a:lnTo>
                <a:lnTo>
                  <a:pt x="13366" y="1458"/>
                </a:lnTo>
                <a:lnTo>
                  <a:pt x="13376" y="1446"/>
                </a:lnTo>
                <a:lnTo>
                  <a:pt x="13378" y="1442"/>
                </a:lnTo>
                <a:lnTo>
                  <a:pt x="13378" y="1438"/>
                </a:lnTo>
                <a:lnTo>
                  <a:pt x="13378" y="1436"/>
                </a:lnTo>
                <a:lnTo>
                  <a:pt x="13376" y="1432"/>
                </a:lnTo>
                <a:lnTo>
                  <a:pt x="13368" y="1420"/>
                </a:lnTo>
                <a:lnTo>
                  <a:pt x="13366" y="1414"/>
                </a:lnTo>
                <a:lnTo>
                  <a:pt x="13366" y="1402"/>
                </a:lnTo>
                <a:lnTo>
                  <a:pt x="13370" y="1400"/>
                </a:lnTo>
                <a:lnTo>
                  <a:pt x="13374" y="1398"/>
                </a:lnTo>
                <a:lnTo>
                  <a:pt x="13378" y="1398"/>
                </a:lnTo>
                <a:lnTo>
                  <a:pt x="13384" y="1400"/>
                </a:lnTo>
                <a:lnTo>
                  <a:pt x="13392" y="1404"/>
                </a:lnTo>
                <a:lnTo>
                  <a:pt x="13398" y="1410"/>
                </a:lnTo>
                <a:lnTo>
                  <a:pt x="13404" y="1418"/>
                </a:lnTo>
                <a:lnTo>
                  <a:pt x="13410" y="1430"/>
                </a:lnTo>
                <a:lnTo>
                  <a:pt x="13414" y="1436"/>
                </a:lnTo>
                <a:lnTo>
                  <a:pt x="13418" y="1442"/>
                </a:lnTo>
                <a:lnTo>
                  <a:pt x="13424" y="1444"/>
                </a:lnTo>
                <a:lnTo>
                  <a:pt x="13430" y="1446"/>
                </a:lnTo>
                <a:lnTo>
                  <a:pt x="13446" y="1444"/>
                </a:lnTo>
                <a:lnTo>
                  <a:pt x="13460" y="1440"/>
                </a:lnTo>
                <a:lnTo>
                  <a:pt x="13476" y="1438"/>
                </a:lnTo>
                <a:lnTo>
                  <a:pt x="13484" y="1438"/>
                </a:lnTo>
                <a:lnTo>
                  <a:pt x="13492" y="1438"/>
                </a:lnTo>
                <a:lnTo>
                  <a:pt x="13500" y="1440"/>
                </a:lnTo>
                <a:lnTo>
                  <a:pt x="13506" y="1444"/>
                </a:lnTo>
                <a:lnTo>
                  <a:pt x="13512" y="1452"/>
                </a:lnTo>
                <a:lnTo>
                  <a:pt x="13516" y="1460"/>
                </a:lnTo>
                <a:lnTo>
                  <a:pt x="13526" y="1478"/>
                </a:lnTo>
                <a:lnTo>
                  <a:pt x="13536" y="1488"/>
                </a:lnTo>
                <a:lnTo>
                  <a:pt x="13544" y="1494"/>
                </a:lnTo>
                <a:lnTo>
                  <a:pt x="13554" y="1496"/>
                </a:lnTo>
                <a:lnTo>
                  <a:pt x="13562" y="1496"/>
                </a:lnTo>
                <a:lnTo>
                  <a:pt x="13570" y="1498"/>
                </a:lnTo>
                <a:lnTo>
                  <a:pt x="13578" y="1502"/>
                </a:lnTo>
                <a:lnTo>
                  <a:pt x="13586" y="1510"/>
                </a:lnTo>
                <a:lnTo>
                  <a:pt x="13590" y="1514"/>
                </a:lnTo>
                <a:lnTo>
                  <a:pt x="13594" y="1518"/>
                </a:lnTo>
                <a:lnTo>
                  <a:pt x="13598" y="1520"/>
                </a:lnTo>
                <a:lnTo>
                  <a:pt x="13604" y="1522"/>
                </a:lnTo>
                <a:lnTo>
                  <a:pt x="13614" y="1522"/>
                </a:lnTo>
                <a:lnTo>
                  <a:pt x="13626" y="1516"/>
                </a:lnTo>
                <a:lnTo>
                  <a:pt x="13636" y="1508"/>
                </a:lnTo>
                <a:lnTo>
                  <a:pt x="13646" y="1498"/>
                </a:lnTo>
                <a:lnTo>
                  <a:pt x="13652" y="1482"/>
                </a:lnTo>
                <a:lnTo>
                  <a:pt x="13654" y="1466"/>
                </a:lnTo>
                <a:lnTo>
                  <a:pt x="13656" y="1452"/>
                </a:lnTo>
                <a:lnTo>
                  <a:pt x="13660" y="1448"/>
                </a:lnTo>
                <a:lnTo>
                  <a:pt x="13662" y="1444"/>
                </a:lnTo>
                <a:lnTo>
                  <a:pt x="13670" y="1440"/>
                </a:lnTo>
                <a:lnTo>
                  <a:pt x="13680" y="1438"/>
                </a:lnTo>
                <a:lnTo>
                  <a:pt x="13690" y="1436"/>
                </a:lnTo>
                <a:lnTo>
                  <a:pt x="13704" y="1434"/>
                </a:lnTo>
                <a:lnTo>
                  <a:pt x="13718" y="1426"/>
                </a:lnTo>
                <a:lnTo>
                  <a:pt x="13724" y="1422"/>
                </a:lnTo>
                <a:lnTo>
                  <a:pt x="13732" y="1414"/>
                </a:lnTo>
                <a:lnTo>
                  <a:pt x="13742" y="1402"/>
                </a:lnTo>
                <a:lnTo>
                  <a:pt x="13744" y="1396"/>
                </a:lnTo>
                <a:lnTo>
                  <a:pt x="13744" y="1394"/>
                </a:lnTo>
                <a:lnTo>
                  <a:pt x="13742" y="1394"/>
                </a:lnTo>
                <a:lnTo>
                  <a:pt x="13734" y="1392"/>
                </a:lnTo>
                <a:lnTo>
                  <a:pt x="13724" y="1392"/>
                </a:lnTo>
                <a:lnTo>
                  <a:pt x="13712" y="1388"/>
                </a:lnTo>
                <a:lnTo>
                  <a:pt x="13706" y="1384"/>
                </a:lnTo>
                <a:lnTo>
                  <a:pt x="13698" y="1380"/>
                </a:lnTo>
                <a:lnTo>
                  <a:pt x="13692" y="1374"/>
                </a:lnTo>
                <a:lnTo>
                  <a:pt x="13688" y="1366"/>
                </a:lnTo>
                <a:close/>
                <a:moveTo>
                  <a:pt x="6176" y="2870"/>
                </a:moveTo>
                <a:lnTo>
                  <a:pt x="6176" y="2870"/>
                </a:lnTo>
                <a:lnTo>
                  <a:pt x="6174" y="2872"/>
                </a:lnTo>
                <a:lnTo>
                  <a:pt x="6170" y="2870"/>
                </a:lnTo>
                <a:lnTo>
                  <a:pt x="6168" y="2868"/>
                </a:lnTo>
                <a:lnTo>
                  <a:pt x="6166" y="2864"/>
                </a:lnTo>
                <a:lnTo>
                  <a:pt x="6170" y="2862"/>
                </a:lnTo>
                <a:lnTo>
                  <a:pt x="6174" y="2864"/>
                </a:lnTo>
                <a:lnTo>
                  <a:pt x="6176" y="2866"/>
                </a:lnTo>
                <a:lnTo>
                  <a:pt x="6176" y="2870"/>
                </a:lnTo>
                <a:close/>
                <a:moveTo>
                  <a:pt x="7520" y="3416"/>
                </a:moveTo>
                <a:lnTo>
                  <a:pt x="7520" y="3416"/>
                </a:lnTo>
                <a:lnTo>
                  <a:pt x="7524" y="3412"/>
                </a:lnTo>
                <a:lnTo>
                  <a:pt x="7526" y="3412"/>
                </a:lnTo>
                <a:lnTo>
                  <a:pt x="7524" y="3412"/>
                </a:lnTo>
                <a:lnTo>
                  <a:pt x="7520" y="3416"/>
                </a:lnTo>
                <a:close/>
                <a:moveTo>
                  <a:pt x="7540" y="3418"/>
                </a:moveTo>
                <a:lnTo>
                  <a:pt x="7540" y="3418"/>
                </a:lnTo>
                <a:lnTo>
                  <a:pt x="7540" y="3406"/>
                </a:lnTo>
                <a:lnTo>
                  <a:pt x="7542" y="3402"/>
                </a:lnTo>
                <a:lnTo>
                  <a:pt x="7544" y="3400"/>
                </a:lnTo>
                <a:lnTo>
                  <a:pt x="7542" y="3402"/>
                </a:lnTo>
                <a:lnTo>
                  <a:pt x="7540" y="3406"/>
                </a:lnTo>
                <a:lnTo>
                  <a:pt x="7540" y="3418"/>
                </a:lnTo>
                <a:close/>
                <a:moveTo>
                  <a:pt x="8152" y="3716"/>
                </a:moveTo>
                <a:lnTo>
                  <a:pt x="8152" y="3716"/>
                </a:lnTo>
                <a:lnTo>
                  <a:pt x="8154" y="3718"/>
                </a:lnTo>
                <a:lnTo>
                  <a:pt x="8152" y="3718"/>
                </a:lnTo>
                <a:lnTo>
                  <a:pt x="8152" y="3716"/>
                </a:lnTo>
                <a:close/>
                <a:moveTo>
                  <a:pt x="8302" y="2962"/>
                </a:moveTo>
                <a:lnTo>
                  <a:pt x="8302" y="2962"/>
                </a:lnTo>
                <a:lnTo>
                  <a:pt x="8300" y="2960"/>
                </a:lnTo>
                <a:lnTo>
                  <a:pt x="8296" y="2960"/>
                </a:lnTo>
                <a:lnTo>
                  <a:pt x="8296" y="2962"/>
                </a:lnTo>
                <a:lnTo>
                  <a:pt x="8298" y="2968"/>
                </a:lnTo>
                <a:lnTo>
                  <a:pt x="8296" y="2968"/>
                </a:lnTo>
                <a:lnTo>
                  <a:pt x="8294" y="2970"/>
                </a:lnTo>
                <a:lnTo>
                  <a:pt x="8284" y="2974"/>
                </a:lnTo>
                <a:lnTo>
                  <a:pt x="8280" y="2974"/>
                </a:lnTo>
                <a:lnTo>
                  <a:pt x="8274" y="2974"/>
                </a:lnTo>
                <a:lnTo>
                  <a:pt x="8272" y="2970"/>
                </a:lnTo>
                <a:lnTo>
                  <a:pt x="8270" y="2966"/>
                </a:lnTo>
                <a:lnTo>
                  <a:pt x="8268" y="2960"/>
                </a:lnTo>
                <a:lnTo>
                  <a:pt x="8266" y="2962"/>
                </a:lnTo>
                <a:lnTo>
                  <a:pt x="8264" y="2966"/>
                </a:lnTo>
                <a:lnTo>
                  <a:pt x="8262" y="2966"/>
                </a:lnTo>
                <a:lnTo>
                  <a:pt x="8260" y="2966"/>
                </a:lnTo>
                <a:lnTo>
                  <a:pt x="8256" y="2964"/>
                </a:lnTo>
                <a:lnTo>
                  <a:pt x="8254" y="2966"/>
                </a:lnTo>
                <a:lnTo>
                  <a:pt x="8250" y="2966"/>
                </a:lnTo>
                <a:lnTo>
                  <a:pt x="8248" y="2964"/>
                </a:lnTo>
                <a:lnTo>
                  <a:pt x="8246" y="2958"/>
                </a:lnTo>
                <a:lnTo>
                  <a:pt x="8242" y="2954"/>
                </a:lnTo>
                <a:lnTo>
                  <a:pt x="8240" y="2952"/>
                </a:lnTo>
                <a:lnTo>
                  <a:pt x="8238" y="2958"/>
                </a:lnTo>
                <a:lnTo>
                  <a:pt x="8238" y="2970"/>
                </a:lnTo>
                <a:lnTo>
                  <a:pt x="8234" y="2980"/>
                </a:lnTo>
                <a:lnTo>
                  <a:pt x="8232" y="2990"/>
                </a:lnTo>
                <a:lnTo>
                  <a:pt x="8230" y="2998"/>
                </a:lnTo>
                <a:lnTo>
                  <a:pt x="8232" y="3006"/>
                </a:lnTo>
                <a:lnTo>
                  <a:pt x="8236" y="3014"/>
                </a:lnTo>
                <a:lnTo>
                  <a:pt x="8242" y="3022"/>
                </a:lnTo>
                <a:lnTo>
                  <a:pt x="8244" y="3022"/>
                </a:lnTo>
                <a:lnTo>
                  <a:pt x="8246" y="3020"/>
                </a:lnTo>
                <a:lnTo>
                  <a:pt x="8244" y="3016"/>
                </a:lnTo>
                <a:lnTo>
                  <a:pt x="8244" y="3012"/>
                </a:lnTo>
                <a:lnTo>
                  <a:pt x="8248" y="3012"/>
                </a:lnTo>
                <a:lnTo>
                  <a:pt x="8254" y="3012"/>
                </a:lnTo>
                <a:lnTo>
                  <a:pt x="8260" y="3010"/>
                </a:lnTo>
                <a:lnTo>
                  <a:pt x="8264" y="3010"/>
                </a:lnTo>
                <a:lnTo>
                  <a:pt x="8262" y="3016"/>
                </a:lnTo>
                <a:lnTo>
                  <a:pt x="8260" y="3022"/>
                </a:lnTo>
                <a:lnTo>
                  <a:pt x="8260" y="3026"/>
                </a:lnTo>
                <a:lnTo>
                  <a:pt x="8262" y="3028"/>
                </a:lnTo>
                <a:lnTo>
                  <a:pt x="8264" y="3028"/>
                </a:lnTo>
                <a:lnTo>
                  <a:pt x="8268" y="3030"/>
                </a:lnTo>
                <a:lnTo>
                  <a:pt x="8270" y="3034"/>
                </a:lnTo>
                <a:lnTo>
                  <a:pt x="8268" y="3036"/>
                </a:lnTo>
                <a:lnTo>
                  <a:pt x="8262" y="3038"/>
                </a:lnTo>
                <a:lnTo>
                  <a:pt x="8256" y="3036"/>
                </a:lnTo>
                <a:lnTo>
                  <a:pt x="8254" y="3034"/>
                </a:lnTo>
                <a:lnTo>
                  <a:pt x="8256" y="3030"/>
                </a:lnTo>
                <a:lnTo>
                  <a:pt x="8254" y="3028"/>
                </a:lnTo>
                <a:lnTo>
                  <a:pt x="8252" y="3030"/>
                </a:lnTo>
                <a:lnTo>
                  <a:pt x="8250" y="3032"/>
                </a:lnTo>
                <a:lnTo>
                  <a:pt x="8248" y="3042"/>
                </a:lnTo>
                <a:lnTo>
                  <a:pt x="8248" y="3050"/>
                </a:lnTo>
                <a:lnTo>
                  <a:pt x="8248" y="3054"/>
                </a:lnTo>
                <a:lnTo>
                  <a:pt x="8250" y="3054"/>
                </a:lnTo>
                <a:lnTo>
                  <a:pt x="8252" y="3054"/>
                </a:lnTo>
                <a:lnTo>
                  <a:pt x="8252" y="3050"/>
                </a:lnTo>
                <a:lnTo>
                  <a:pt x="8252" y="3046"/>
                </a:lnTo>
                <a:lnTo>
                  <a:pt x="8258" y="3046"/>
                </a:lnTo>
                <a:lnTo>
                  <a:pt x="8262" y="3048"/>
                </a:lnTo>
                <a:lnTo>
                  <a:pt x="8266" y="3050"/>
                </a:lnTo>
                <a:lnTo>
                  <a:pt x="8270" y="3058"/>
                </a:lnTo>
                <a:lnTo>
                  <a:pt x="8274" y="3064"/>
                </a:lnTo>
                <a:lnTo>
                  <a:pt x="8280" y="3066"/>
                </a:lnTo>
                <a:lnTo>
                  <a:pt x="8282" y="3070"/>
                </a:lnTo>
                <a:lnTo>
                  <a:pt x="8282" y="3072"/>
                </a:lnTo>
                <a:lnTo>
                  <a:pt x="8282" y="3076"/>
                </a:lnTo>
                <a:lnTo>
                  <a:pt x="8278" y="3084"/>
                </a:lnTo>
                <a:lnTo>
                  <a:pt x="8276" y="3100"/>
                </a:lnTo>
                <a:lnTo>
                  <a:pt x="8276" y="3120"/>
                </a:lnTo>
                <a:lnTo>
                  <a:pt x="8280" y="3152"/>
                </a:lnTo>
                <a:lnTo>
                  <a:pt x="8280" y="3154"/>
                </a:lnTo>
                <a:lnTo>
                  <a:pt x="8286" y="3174"/>
                </a:lnTo>
                <a:lnTo>
                  <a:pt x="8286" y="3180"/>
                </a:lnTo>
                <a:lnTo>
                  <a:pt x="8286" y="3182"/>
                </a:lnTo>
                <a:lnTo>
                  <a:pt x="8284" y="3184"/>
                </a:lnTo>
                <a:lnTo>
                  <a:pt x="8280" y="3186"/>
                </a:lnTo>
                <a:lnTo>
                  <a:pt x="8270" y="3184"/>
                </a:lnTo>
                <a:lnTo>
                  <a:pt x="8272" y="3182"/>
                </a:lnTo>
                <a:lnTo>
                  <a:pt x="8276" y="3180"/>
                </a:lnTo>
                <a:lnTo>
                  <a:pt x="8278" y="3178"/>
                </a:lnTo>
                <a:lnTo>
                  <a:pt x="8266" y="3180"/>
                </a:lnTo>
                <a:lnTo>
                  <a:pt x="8244" y="3184"/>
                </a:lnTo>
                <a:lnTo>
                  <a:pt x="8206" y="3196"/>
                </a:lnTo>
                <a:lnTo>
                  <a:pt x="8200" y="3196"/>
                </a:lnTo>
                <a:lnTo>
                  <a:pt x="8192" y="3196"/>
                </a:lnTo>
                <a:lnTo>
                  <a:pt x="8180" y="3192"/>
                </a:lnTo>
                <a:lnTo>
                  <a:pt x="8170" y="3188"/>
                </a:lnTo>
                <a:lnTo>
                  <a:pt x="8158" y="3184"/>
                </a:lnTo>
                <a:lnTo>
                  <a:pt x="8148" y="3176"/>
                </a:lnTo>
                <a:lnTo>
                  <a:pt x="8138" y="3168"/>
                </a:lnTo>
                <a:lnTo>
                  <a:pt x="8132" y="3158"/>
                </a:lnTo>
                <a:lnTo>
                  <a:pt x="8130" y="3154"/>
                </a:lnTo>
                <a:lnTo>
                  <a:pt x="8126" y="3150"/>
                </a:lnTo>
                <a:lnTo>
                  <a:pt x="8120" y="3148"/>
                </a:lnTo>
                <a:lnTo>
                  <a:pt x="8102" y="3146"/>
                </a:lnTo>
                <a:lnTo>
                  <a:pt x="8092" y="3144"/>
                </a:lnTo>
                <a:lnTo>
                  <a:pt x="8088" y="3140"/>
                </a:lnTo>
                <a:lnTo>
                  <a:pt x="8084" y="3136"/>
                </a:lnTo>
                <a:lnTo>
                  <a:pt x="8082" y="3130"/>
                </a:lnTo>
                <a:lnTo>
                  <a:pt x="8080" y="3120"/>
                </a:lnTo>
                <a:lnTo>
                  <a:pt x="8076" y="3096"/>
                </a:lnTo>
                <a:lnTo>
                  <a:pt x="8070" y="3098"/>
                </a:lnTo>
                <a:lnTo>
                  <a:pt x="8066" y="3098"/>
                </a:lnTo>
                <a:lnTo>
                  <a:pt x="8064" y="3096"/>
                </a:lnTo>
                <a:lnTo>
                  <a:pt x="8064" y="3094"/>
                </a:lnTo>
                <a:lnTo>
                  <a:pt x="8062" y="3088"/>
                </a:lnTo>
                <a:lnTo>
                  <a:pt x="8062" y="3086"/>
                </a:lnTo>
                <a:lnTo>
                  <a:pt x="8058" y="3084"/>
                </a:lnTo>
                <a:lnTo>
                  <a:pt x="8062" y="3086"/>
                </a:lnTo>
                <a:lnTo>
                  <a:pt x="8062" y="3088"/>
                </a:lnTo>
                <a:lnTo>
                  <a:pt x="8064" y="3092"/>
                </a:lnTo>
                <a:lnTo>
                  <a:pt x="8064" y="3096"/>
                </a:lnTo>
                <a:lnTo>
                  <a:pt x="8066" y="3096"/>
                </a:lnTo>
                <a:lnTo>
                  <a:pt x="8070" y="3096"/>
                </a:lnTo>
                <a:lnTo>
                  <a:pt x="8076" y="3096"/>
                </a:lnTo>
                <a:lnTo>
                  <a:pt x="8076" y="3082"/>
                </a:lnTo>
                <a:lnTo>
                  <a:pt x="8078" y="3062"/>
                </a:lnTo>
                <a:lnTo>
                  <a:pt x="8082" y="3052"/>
                </a:lnTo>
                <a:lnTo>
                  <a:pt x="8082" y="3054"/>
                </a:lnTo>
                <a:lnTo>
                  <a:pt x="8084" y="3056"/>
                </a:lnTo>
                <a:lnTo>
                  <a:pt x="8086" y="3064"/>
                </a:lnTo>
                <a:lnTo>
                  <a:pt x="8086" y="3066"/>
                </a:lnTo>
                <a:lnTo>
                  <a:pt x="8088" y="3066"/>
                </a:lnTo>
                <a:lnTo>
                  <a:pt x="8090" y="3062"/>
                </a:lnTo>
                <a:lnTo>
                  <a:pt x="8092" y="3058"/>
                </a:lnTo>
                <a:lnTo>
                  <a:pt x="8092" y="3054"/>
                </a:lnTo>
                <a:lnTo>
                  <a:pt x="8094" y="3048"/>
                </a:lnTo>
                <a:lnTo>
                  <a:pt x="8096" y="3046"/>
                </a:lnTo>
                <a:lnTo>
                  <a:pt x="8096" y="3044"/>
                </a:lnTo>
                <a:lnTo>
                  <a:pt x="8094" y="3040"/>
                </a:lnTo>
                <a:lnTo>
                  <a:pt x="8092" y="3036"/>
                </a:lnTo>
                <a:lnTo>
                  <a:pt x="8094" y="3034"/>
                </a:lnTo>
                <a:lnTo>
                  <a:pt x="8096" y="3030"/>
                </a:lnTo>
                <a:lnTo>
                  <a:pt x="8098" y="3026"/>
                </a:lnTo>
                <a:lnTo>
                  <a:pt x="8100" y="3020"/>
                </a:lnTo>
                <a:lnTo>
                  <a:pt x="8100" y="3010"/>
                </a:lnTo>
                <a:lnTo>
                  <a:pt x="8102" y="3006"/>
                </a:lnTo>
                <a:lnTo>
                  <a:pt x="8104" y="3000"/>
                </a:lnTo>
                <a:lnTo>
                  <a:pt x="8106" y="2996"/>
                </a:lnTo>
                <a:lnTo>
                  <a:pt x="8114" y="2992"/>
                </a:lnTo>
                <a:lnTo>
                  <a:pt x="8122" y="2990"/>
                </a:lnTo>
                <a:lnTo>
                  <a:pt x="8128" y="2990"/>
                </a:lnTo>
                <a:lnTo>
                  <a:pt x="8132" y="2992"/>
                </a:lnTo>
                <a:lnTo>
                  <a:pt x="8134" y="2994"/>
                </a:lnTo>
                <a:lnTo>
                  <a:pt x="8138" y="2996"/>
                </a:lnTo>
                <a:lnTo>
                  <a:pt x="8138" y="2990"/>
                </a:lnTo>
                <a:lnTo>
                  <a:pt x="8134" y="2984"/>
                </a:lnTo>
                <a:lnTo>
                  <a:pt x="8130" y="2982"/>
                </a:lnTo>
                <a:lnTo>
                  <a:pt x="8118" y="2980"/>
                </a:lnTo>
                <a:lnTo>
                  <a:pt x="8108" y="2978"/>
                </a:lnTo>
                <a:lnTo>
                  <a:pt x="8104" y="2976"/>
                </a:lnTo>
                <a:lnTo>
                  <a:pt x="8104" y="2970"/>
                </a:lnTo>
                <a:lnTo>
                  <a:pt x="8104" y="2968"/>
                </a:lnTo>
                <a:lnTo>
                  <a:pt x="8102" y="2964"/>
                </a:lnTo>
                <a:lnTo>
                  <a:pt x="8098" y="2958"/>
                </a:lnTo>
                <a:lnTo>
                  <a:pt x="8094" y="2954"/>
                </a:lnTo>
                <a:lnTo>
                  <a:pt x="8090" y="2948"/>
                </a:lnTo>
                <a:lnTo>
                  <a:pt x="8088" y="2940"/>
                </a:lnTo>
                <a:lnTo>
                  <a:pt x="8082" y="2928"/>
                </a:lnTo>
                <a:lnTo>
                  <a:pt x="8072" y="2916"/>
                </a:lnTo>
                <a:lnTo>
                  <a:pt x="8066" y="2908"/>
                </a:lnTo>
                <a:lnTo>
                  <a:pt x="8056" y="2892"/>
                </a:lnTo>
                <a:lnTo>
                  <a:pt x="8046" y="2882"/>
                </a:lnTo>
                <a:lnTo>
                  <a:pt x="8032" y="2864"/>
                </a:lnTo>
                <a:lnTo>
                  <a:pt x="8028" y="2856"/>
                </a:lnTo>
                <a:lnTo>
                  <a:pt x="8024" y="2846"/>
                </a:lnTo>
                <a:lnTo>
                  <a:pt x="8024" y="2832"/>
                </a:lnTo>
                <a:lnTo>
                  <a:pt x="8026" y="2816"/>
                </a:lnTo>
                <a:lnTo>
                  <a:pt x="8028" y="2794"/>
                </a:lnTo>
                <a:lnTo>
                  <a:pt x="8028" y="2792"/>
                </a:lnTo>
                <a:lnTo>
                  <a:pt x="8026" y="2794"/>
                </a:lnTo>
                <a:lnTo>
                  <a:pt x="8024" y="2798"/>
                </a:lnTo>
                <a:lnTo>
                  <a:pt x="8020" y="2800"/>
                </a:lnTo>
                <a:lnTo>
                  <a:pt x="8018" y="2798"/>
                </a:lnTo>
                <a:lnTo>
                  <a:pt x="8016" y="2790"/>
                </a:lnTo>
                <a:lnTo>
                  <a:pt x="8014" y="2778"/>
                </a:lnTo>
                <a:lnTo>
                  <a:pt x="8008" y="2772"/>
                </a:lnTo>
                <a:lnTo>
                  <a:pt x="8002" y="2766"/>
                </a:lnTo>
                <a:lnTo>
                  <a:pt x="7996" y="2762"/>
                </a:lnTo>
                <a:lnTo>
                  <a:pt x="7990" y="2760"/>
                </a:lnTo>
                <a:lnTo>
                  <a:pt x="7986" y="2756"/>
                </a:lnTo>
                <a:lnTo>
                  <a:pt x="7988" y="2754"/>
                </a:lnTo>
                <a:lnTo>
                  <a:pt x="7992" y="2748"/>
                </a:lnTo>
                <a:lnTo>
                  <a:pt x="7998" y="2742"/>
                </a:lnTo>
                <a:lnTo>
                  <a:pt x="8004" y="2736"/>
                </a:lnTo>
                <a:lnTo>
                  <a:pt x="8014" y="2722"/>
                </a:lnTo>
                <a:lnTo>
                  <a:pt x="8024" y="2706"/>
                </a:lnTo>
                <a:lnTo>
                  <a:pt x="8038" y="2690"/>
                </a:lnTo>
                <a:lnTo>
                  <a:pt x="8048" y="2684"/>
                </a:lnTo>
                <a:lnTo>
                  <a:pt x="8054" y="2680"/>
                </a:lnTo>
                <a:lnTo>
                  <a:pt x="8060" y="2678"/>
                </a:lnTo>
                <a:lnTo>
                  <a:pt x="8064" y="2680"/>
                </a:lnTo>
                <a:lnTo>
                  <a:pt x="8070" y="2680"/>
                </a:lnTo>
                <a:lnTo>
                  <a:pt x="8070" y="2678"/>
                </a:lnTo>
                <a:lnTo>
                  <a:pt x="8070" y="2676"/>
                </a:lnTo>
                <a:lnTo>
                  <a:pt x="8070" y="2668"/>
                </a:lnTo>
                <a:lnTo>
                  <a:pt x="8072" y="2664"/>
                </a:lnTo>
                <a:lnTo>
                  <a:pt x="8076" y="2658"/>
                </a:lnTo>
                <a:lnTo>
                  <a:pt x="8080" y="2648"/>
                </a:lnTo>
                <a:lnTo>
                  <a:pt x="8076" y="2658"/>
                </a:lnTo>
                <a:lnTo>
                  <a:pt x="8072" y="2664"/>
                </a:lnTo>
                <a:lnTo>
                  <a:pt x="8070" y="2668"/>
                </a:lnTo>
                <a:lnTo>
                  <a:pt x="8070" y="2676"/>
                </a:lnTo>
                <a:lnTo>
                  <a:pt x="8070" y="2672"/>
                </a:lnTo>
                <a:lnTo>
                  <a:pt x="8072" y="2668"/>
                </a:lnTo>
                <a:lnTo>
                  <a:pt x="8076" y="2666"/>
                </a:lnTo>
                <a:lnTo>
                  <a:pt x="8084" y="2662"/>
                </a:lnTo>
                <a:lnTo>
                  <a:pt x="8086" y="2658"/>
                </a:lnTo>
                <a:lnTo>
                  <a:pt x="8088" y="2652"/>
                </a:lnTo>
                <a:lnTo>
                  <a:pt x="8092" y="2646"/>
                </a:lnTo>
                <a:lnTo>
                  <a:pt x="8096" y="2644"/>
                </a:lnTo>
                <a:lnTo>
                  <a:pt x="8104" y="2642"/>
                </a:lnTo>
                <a:lnTo>
                  <a:pt x="8114" y="2642"/>
                </a:lnTo>
                <a:lnTo>
                  <a:pt x="8122" y="2638"/>
                </a:lnTo>
                <a:lnTo>
                  <a:pt x="8130" y="2632"/>
                </a:lnTo>
                <a:lnTo>
                  <a:pt x="8146" y="2618"/>
                </a:lnTo>
                <a:lnTo>
                  <a:pt x="8154" y="2614"/>
                </a:lnTo>
                <a:lnTo>
                  <a:pt x="8160" y="2612"/>
                </a:lnTo>
                <a:lnTo>
                  <a:pt x="8168" y="2610"/>
                </a:lnTo>
                <a:lnTo>
                  <a:pt x="8176" y="2610"/>
                </a:lnTo>
                <a:lnTo>
                  <a:pt x="8182" y="2612"/>
                </a:lnTo>
                <a:lnTo>
                  <a:pt x="8190" y="2616"/>
                </a:lnTo>
                <a:lnTo>
                  <a:pt x="8208" y="2626"/>
                </a:lnTo>
                <a:lnTo>
                  <a:pt x="8212" y="2626"/>
                </a:lnTo>
                <a:lnTo>
                  <a:pt x="8218" y="2620"/>
                </a:lnTo>
                <a:lnTo>
                  <a:pt x="8220" y="2616"/>
                </a:lnTo>
                <a:lnTo>
                  <a:pt x="8224" y="2616"/>
                </a:lnTo>
                <a:lnTo>
                  <a:pt x="8234" y="2616"/>
                </a:lnTo>
                <a:lnTo>
                  <a:pt x="8242" y="2620"/>
                </a:lnTo>
                <a:lnTo>
                  <a:pt x="8246" y="2628"/>
                </a:lnTo>
                <a:lnTo>
                  <a:pt x="8248" y="2634"/>
                </a:lnTo>
                <a:lnTo>
                  <a:pt x="8246" y="2638"/>
                </a:lnTo>
                <a:lnTo>
                  <a:pt x="8244" y="2644"/>
                </a:lnTo>
                <a:lnTo>
                  <a:pt x="8248" y="2652"/>
                </a:lnTo>
                <a:lnTo>
                  <a:pt x="8250" y="2656"/>
                </a:lnTo>
                <a:lnTo>
                  <a:pt x="8248" y="2662"/>
                </a:lnTo>
                <a:lnTo>
                  <a:pt x="8242" y="2676"/>
                </a:lnTo>
                <a:lnTo>
                  <a:pt x="8238" y="2684"/>
                </a:lnTo>
                <a:lnTo>
                  <a:pt x="8236" y="2690"/>
                </a:lnTo>
                <a:lnTo>
                  <a:pt x="8236" y="2696"/>
                </a:lnTo>
                <a:lnTo>
                  <a:pt x="8242" y="2702"/>
                </a:lnTo>
                <a:lnTo>
                  <a:pt x="8248" y="2708"/>
                </a:lnTo>
                <a:lnTo>
                  <a:pt x="8250" y="2710"/>
                </a:lnTo>
                <a:lnTo>
                  <a:pt x="8248" y="2712"/>
                </a:lnTo>
                <a:lnTo>
                  <a:pt x="8242" y="2712"/>
                </a:lnTo>
                <a:lnTo>
                  <a:pt x="8226" y="2708"/>
                </a:lnTo>
                <a:lnTo>
                  <a:pt x="8216" y="2708"/>
                </a:lnTo>
                <a:lnTo>
                  <a:pt x="8208" y="2708"/>
                </a:lnTo>
                <a:lnTo>
                  <a:pt x="8202" y="2710"/>
                </a:lnTo>
                <a:lnTo>
                  <a:pt x="8198" y="2710"/>
                </a:lnTo>
                <a:lnTo>
                  <a:pt x="8192" y="2706"/>
                </a:lnTo>
                <a:lnTo>
                  <a:pt x="8188" y="2706"/>
                </a:lnTo>
                <a:lnTo>
                  <a:pt x="8178" y="2710"/>
                </a:lnTo>
                <a:lnTo>
                  <a:pt x="8174" y="2714"/>
                </a:lnTo>
                <a:lnTo>
                  <a:pt x="8172" y="2716"/>
                </a:lnTo>
                <a:lnTo>
                  <a:pt x="8172" y="2718"/>
                </a:lnTo>
                <a:lnTo>
                  <a:pt x="8174" y="2720"/>
                </a:lnTo>
                <a:lnTo>
                  <a:pt x="8174" y="2722"/>
                </a:lnTo>
                <a:lnTo>
                  <a:pt x="8174" y="2724"/>
                </a:lnTo>
                <a:lnTo>
                  <a:pt x="8172" y="2726"/>
                </a:lnTo>
                <a:lnTo>
                  <a:pt x="8166" y="2728"/>
                </a:lnTo>
                <a:lnTo>
                  <a:pt x="8162" y="2730"/>
                </a:lnTo>
                <a:lnTo>
                  <a:pt x="8160" y="2732"/>
                </a:lnTo>
                <a:lnTo>
                  <a:pt x="8160" y="2734"/>
                </a:lnTo>
                <a:lnTo>
                  <a:pt x="8162" y="2736"/>
                </a:lnTo>
                <a:lnTo>
                  <a:pt x="8166" y="2742"/>
                </a:lnTo>
                <a:lnTo>
                  <a:pt x="8172" y="2746"/>
                </a:lnTo>
                <a:lnTo>
                  <a:pt x="8184" y="2754"/>
                </a:lnTo>
                <a:lnTo>
                  <a:pt x="8184" y="2756"/>
                </a:lnTo>
                <a:lnTo>
                  <a:pt x="8184" y="2758"/>
                </a:lnTo>
                <a:lnTo>
                  <a:pt x="8178" y="2758"/>
                </a:lnTo>
                <a:lnTo>
                  <a:pt x="8170" y="2758"/>
                </a:lnTo>
                <a:lnTo>
                  <a:pt x="8164" y="2758"/>
                </a:lnTo>
                <a:lnTo>
                  <a:pt x="8162" y="2756"/>
                </a:lnTo>
                <a:lnTo>
                  <a:pt x="8160" y="2754"/>
                </a:lnTo>
                <a:lnTo>
                  <a:pt x="8158" y="2752"/>
                </a:lnTo>
                <a:lnTo>
                  <a:pt x="8156" y="2750"/>
                </a:lnTo>
                <a:lnTo>
                  <a:pt x="8152" y="2750"/>
                </a:lnTo>
                <a:lnTo>
                  <a:pt x="8144" y="2750"/>
                </a:lnTo>
                <a:lnTo>
                  <a:pt x="8136" y="2752"/>
                </a:lnTo>
                <a:lnTo>
                  <a:pt x="8132" y="2754"/>
                </a:lnTo>
                <a:lnTo>
                  <a:pt x="8128" y="2758"/>
                </a:lnTo>
                <a:lnTo>
                  <a:pt x="8128" y="2762"/>
                </a:lnTo>
                <a:lnTo>
                  <a:pt x="8130" y="2764"/>
                </a:lnTo>
                <a:lnTo>
                  <a:pt x="8134" y="2768"/>
                </a:lnTo>
                <a:lnTo>
                  <a:pt x="8140" y="2770"/>
                </a:lnTo>
                <a:lnTo>
                  <a:pt x="8146" y="2772"/>
                </a:lnTo>
                <a:lnTo>
                  <a:pt x="8152" y="2774"/>
                </a:lnTo>
                <a:lnTo>
                  <a:pt x="8158" y="2780"/>
                </a:lnTo>
                <a:lnTo>
                  <a:pt x="8162" y="2790"/>
                </a:lnTo>
                <a:lnTo>
                  <a:pt x="8166" y="2800"/>
                </a:lnTo>
                <a:lnTo>
                  <a:pt x="8172" y="2818"/>
                </a:lnTo>
                <a:lnTo>
                  <a:pt x="8172" y="2828"/>
                </a:lnTo>
                <a:lnTo>
                  <a:pt x="8174" y="2832"/>
                </a:lnTo>
                <a:lnTo>
                  <a:pt x="8174" y="2834"/>
                </a:lnTo>
                <a:lnTo>
                  <a:pt x="8180" y="2834"/>
                </a:lnTo>
                <a:lnTo>
                  <a:pt x="8184" y="2832"/>
                </a:lnTo>
                <a:lnTo>
                  <a:pt x="8188" y="2834"/>
                </a:lnTo>
                <a:lnTo>
                  <a:pt x="8192" y="2836"/>
                </a:lnTo>
                <a:lnTo>
                  <a:pt x="8196" y="2842"/>
                </a:lnTo>
                <a:lnTo>
                  <a:pt x="8198" y="2846"/>
                </a:lnTo>
                <a:lnTo>
                  <a:pt x="8202" y="2850"/>
                </a:lnTo>
                <a:lnTo>
                  <a:pt x="8204" y="2850"/>
                </a:lnTo>
                <a:lnTo>
                  <a:pt x="8208" y="2848"/>
                </a:lnTo>
                <a:lnTo>
                  <a:pt x="8210" y="2848"/>
                </a:lnTo>
                <a:lnTo>
                  <a:pt x="8216" y="2848"/>
                </a:lnTo>
                <a:lnTo>
                  <a:pt x="8220" y="2850"/>
                </a:lnTo>
                <a:lnTo>
                  <a:pt x="8228" y="2854"/>
                </a:lnTo>
                <a:lnTo>
                  <a:pt x="8232" y="2860"/>
                </a:lnTo>
                <a:lnTo>
                  <a:pt x="8234" y="2866"/>
                </a:lnTo>
                <a:lnTo>
                  <a:pt x="8232" y="2872"/>
                </a:lnTo>
                <a:lnTo>
                  <a:pt x="8228" y="2876"/>
                </a:lnTo>
                <a:lnTo>
                  <a:pt x="8224" y="2882"/>
                </a:lnTo>
                <a:lnTo>
                  <a:pt x="8220" y="2890"/>
                </a:lnTo>
                <a:lnTo>
                  <a:pt x="8218" y="2900"/>
                </a:lnTo>
                <a:lnTo>
                  <a:pt x="8220" y="2912"/>
                </a:lnTo>
                <a:lnTo>
                  <a:pt x="8238" y="2894"/>
                </a:lnTo>
                <a:lnTo>
                  <a:pt x="8220" y="2912"/>
                </a:lnTo>
                <a:lnTo>
                  <a:pt x="8226" y="2918"/>
                </a:lnTo>
                <a:lnTo>
                  <a:pt x="8228" y="2922"/>
                </a:lnTo>
                <a:lnTo>
                  <a:pt x="8226" y="2924"/>
                </a:lnTo>
                <a:lnTo>
                  <a:pt x="8228" y="2930"/>
                </a:lnTo>
                <a:lnTo>
                  <a:pt x="8234" y="2940"/>
                </a:lnTo>
                <a:lnTo>
                  <a:pt x="8236" y="2942"/>
                </a:lnTo>
                <a:lnTo>
                  <a:pt x="8236" y="2938"/>
                </a:lnTo>
                <a:lnTo>
                  <a:pt x="8238" y="2932"/>
                </a:lnTo>
                <a:lnTo>
                  <a:pt x="8240" y="2924"/>
                </a:lnTo>
                <a:lnTo>
                  <a:pt x="8240" y="2920"/>
                </a:lnTo>
                <a:lnTo>
                  <a:pt x="8238" y="2918"/>
                </a:lnTo>
                <a:lnTo>
                  <a:pt x="8236" y="2914"/>
                </a:lnTo>
                <a:lnTo>
                  <a:pt x="8236" y="2908"/>
                </a:lnTo>
                <a:lnTo>
                  <a:pt x="8238" y="2904"/>
                </a:lnTo>
                <a:lnTo>
                  <a:pt x="8242" y="2900"/>
                </a:lnTo>
                <a:lnTo>
                  <a:pt x="8246" y="2896"/>
                </a:lnTo>
                <a:lnTo>
                  <a:pt x="8254" y="2894"/>
                </a:lnTo>
                <a:lnTo>
                  <a:pt x="8266" y="2892"/>
                </a:lnTo>
                <a:lnTo>
                  <a:pt x="8274" y="2890"/>
                </a:lnTo>
                <a:lnTo>
                  <a:pt x="8276" y="2892"/>
                </a:lnTo>
                <a:lnTo>
                  <a:pt x="8278" y="2892"/>
                </a:lnTo>
                <a:lnTo>
                  <a:pt x="8280" y="2900"/>
                </a:lnTo>
                <a:lnTo>
                  <a:pt x="8282" y="2912"/>
                </a:lnTo>
                <a:lnTo>
                  <a:pt x="8284" y="2922"/>
                </a:lnTo>
                <a:lnTo>
                  <a:pt x="8286" y="2928"/>
                </a:lnTo>
                <a:lnTo>
                  <a:pt x="8290" y="2932"/>
                </a:lnTo>
                <a:lnTo>
                  <a:pt x="8296" y="2936"/>
                </a:lnTo>
                <a:lnTo>
                  <a:pt x="8304" y="2942"/>
                </a:lnTo>
                <a:lnTo>
                  <a:pt x="8310" y="2946"/>
                </a:lnTo>
                <a:lnTo>
                  <a:pt x="8312" y="2950"/>
                </a:lnTo>
                <a:lnTo>
                  <a:pt x="8314" y="2956"/>
                </a:lnTo>
                <a:lnTo>
                  <a:pt x="8312" y="2960"/>
                </a:lnTo>
                <a:lnTo>
                  <a:pt x="8310" y="2962"/>
                </a:lnTo>
                <a:lnTo>
                  <a:pt x="8308" y="2964"/>
                </a:lnTo>
                <a:lnTo>
                  <a:pt x="8304" y="2964"/>
                </a:lnTo>
                <a:lnTo>
                  <a:pt x="8302" y="2962"/>
                </a:lnTo>
                <a:close/>
                <a:moveTo>
                  <a:pt x="8570" y="2768"/>
                </a:moveTo>
                <a:lnTo>
                  <a:pt x="8570" y="2768"/>
                </a:lnTo>
                <a:lnTo>
                  <a:pt x="8558" y="2782"/>
                </a:lnTo>
                <a:lnTo>
                  <a:pt x="8556" y="2788"/>
                </a:lnTo>
                <a:lnTo>
                  <a:pt x="8560" y="2790"/>
                </a:lnTo>
                <a:lnTo>
                  <a:pt x="8564" y="2796"/>
                </a:lnTo>
                <a:lnTo>
                  <a:pt x="8566" y="2800"/>
                </a:lnTo>
                <a:lnTo>
                  <a:pt x="8566" y="2802"/>
                </a:lnTo>
                <a:lnTo>
                  <a:pt x="8564" y="2804"/>
                </a:lnTo>
                <a:lnTo>
                  <a:pt x="8560" y="2806"/>
                </a:lnTo>
                <a:lnTo>
                  <a:pt x="8552" y="2808"/>
                </a:lnTo>
                <a:lnTo>
                  <a:pt x="8540" y="2808"/>
                </a:lnTo>
                <a:lnTo>
                  <a:pt x="8534" y="2808"/>
                </a:lnTo>
                <a:lnTo>
                  <a:pt x="8532" y="2810"/>
                </a:lnTo>
                <a:lnTo>
                  <a:pt x="8528" y="2814"/>
                </a:lnTo>
                <a:lnTo>
                  <a:pt x="8526" y="2816"/>
                </a:lnTo>
                <a:lnTo>
                  <a:pt x="8520" y="2818"/>
                </a:lnTo>
                <a:lnTo>
                  <a:pt x="8516" y="2818"/>
                </a:lnTo>
                <a:lnTo>
                  <a:pt x="8514" y="2816"/>
                </a:lnTo>
                <a:lnTo>
                  <a:pt x="8514" y="2810"/>
                </a:lnTo>
                <a:lnTo>
                  <a:pt x="8514" y="2808"/>
                </a:lnTo>
                <a:lnTo>
                  <a:pt x="8512" y="2804"/>
                </a:lnTo>
                <a:lnTo>
                  <a:pt x="8510" y="2802"/>
                </a:lnTo>
                <a:lnTo>
                  <a:pt x="8502" y="2798"/>
                </a:lnTo>
                <a:lnTo>
                  <a:pt x="8492" y="2798"/>
                </a:lnTo>
                <a:lnTo>
                  <a:pt x="8484" y="2798"/>
                </a:lnTo>
                <a:lnTo>
                  <a:pt x="8470" y="2804"/>
                </a:lnTo>
                <a:lnTo>
                  <a:pt x="8464" y="2806"/>
                </a:lnTo>
                <a:lnTo>
                  <a:pt x="8460" y="2808"/>
                </a:lnTo>
                <a:lnTo>
                  <a:pt x="8458" y="2806"/>
                </a:lnTo>
                <a:lnTo>
                  <a:pt x="8458" y="2802"/>
                </a:lnTo>
                <a:lnTo>
                  <a:pt x="8456" y="2788"/>
                </a:lnTo>
                <a:lnTo>
                  <a:pt x="8454" y="2774"/>
                </a:lnTo>
                <a:lnTo>
                  <a:pt x="8454" y="2764"/>
                </a:lnTo>
                <a:lnTo>
                  <a:pt x="8454" y="2758"/>
                </a:lnTo>
                <a:lnTo>
                  <a:pt x="8456" y="2756"/>
                </a:lnTo>
                <a:lnTo>
                  <a:pt x="8456" y="2752"/>
                </a:lnTo>
                <a:lnTo>
                  <a:pt x="8456" y="2750"/>
                </a:lnTo>
                <a:lnTo>
                  <a:pt x="8452" y="2742"/>
                </a:lnTo>
                <a:lnTo>
                  <a:pt x="8452" y="2736"/>
                </a:lnTo>
                <a:lnTo>
                  <a:pt x="8454" y="2726"/>
                </a:lnTo>
                <a:lnTo>
                  <a:pt x="8460" y="2714"/>
                </a:lnTo>
                <a:lnTo>
                  <a:pt x="8468" y="2696"/>
                </a:lnTo>
                <a:lnTo>
                  <a:pt x="8474" y="2686"/>
                </a:lnTo>
                <a:lnTo>
                  <a:pt x="8478" y="2678"/>
                </a:lnTo>
                <a:lnTo>
                  <a:pt x="8482" y="2674"/>
                </a:lnTo>
                <a:lnTo>
                  <a:pt x="8488" y="2672"/>
                </a:lnTo>
                <a:lnTo>
                  <a:pt x="8494" y="2674"/>
                </a:lnTo>
                <a:lnTo>
                  <a:pt x="8498" y="2672"/>
                </a:lnTo>
                <a:lnTo>
                  <a:pt x="8502" y="2670"/>
                </a:lnTo>
                <a:lnTo>
                  <a:pt x="8506" y="2668"/>
                </a:lnTo>
                <a:lnTo>
                  <a:pt x="8506" y="2664"/>
                </a:lnTo>
                <a:lnTo>
                  <a:pt x="8504" y="2660"/>
                </a:lnTo>
                <a:lnTo>
                  <a:pt x="8502" y="2656"/>
                </a:lnTo>
                <a:lnTo>
                  <a:pt x="8506" y="2654"/>
                </a:lnTo>
                <a:lnTo>
                  <a:pt x="8508" y="2652"/>
                </a:lnTo>
                <a:lnTo>
                  <a:pt x="8512" y="2654"/>
                </a:lnTo>
                <a:lnTo>
                  <a:pt x="8518" y="2660"/>
                </a:lnTo>
                <a:lnTo>
                  <a:pt x="8520" y="2664"/>
                </a:lnTo>
                <a:lnTo>
                  <a:pt x="8522" y="2664"/>
                </a:lnTo>
                <a:lnTo>
                  <a:pt x="8526" y="2664"/>
                </a:lnTo>
                <a:lnTo>
                  <a:pt x="8528" y="2660"/>
                </a:lnTo>
                <a:lnTo>
                  <a:pt x="8528" y="2654"/>
                </a:lnTo>
                <a:lnTo>
                  <a:pt x="8528" y="2650"/>
                </a:lnTo>
                <a:lnTo>
                  <a:pt x="8522" y="2646"/>
                </a:lnTo>
                <a:lnTo>
                  <a:pt x="8518" y="2644"/>
                </a:lnTo>
                <a:lnTo>
                  <a:pt x="8518" y="2642"/>
                </a:lnTo>
                <a:lnTo>
                  <a:pt x="8520" y="2640"/>
                </a:lnTo>
                <a:lnTo>
                  <a:pt x="8526" y="2636"/>
                </a:lnTo>
                <a:lnTo>
                  <a:pt x="8542" y="2628"/>
                </a:lnTo>
                <a:lnTo>
                  <a:pt x="8554" y="2626"/>
                </a:lnTo>
                <a:lnTo>
                  <a:pt x="8558" y="2626"/>
                </a:lnTo>
                <a:lnTo>
                  <a:pt x="8560" y="2628"/>
                </a:lnTo>
                <a:lnTo>
                  <a:pt x="8562" y="2632"/>
                </a:lnTo>
                <a:lnTo>
                  <a:pt x="8560" y="2636"/>
                </a:lnTo>
                <a:lnTo>
                  <a:pt x="8558" y="2642"/>
                </a:lnTo>
                <a:lnTo>
                  <a:pt x="8558" y="2644"/>
                </a:lnTo>
                <a:lnTo>
                  <a:pt x="8560" y="2646"/>
                </a:lnTo>
                <a:lnTo>
                  <a:pt x="8562" y="2646"/>
                </a:lnTo>
                <a:lnTo>
                  <a:pt x="8568" y="2642"/>
                </a:lnTo>
                <a:lnTo>
                  <a:pt x="8570" y="2640"/>
                </a:lnTo>
                <a:lnTo>
                  <a:pt x="8572" y="2636"/>
                </a:lnTo>
                <a:lnTo>
                  <a:pt x="8576" y="2628"/>
                </a:lnTo>
                <a:lnTo>
                  <a:pt x="8582" y="2622"/>
                </a:lnTo>
                <a:lnTo>
                  <a:pt x="8584" y="2622"/>
                </a:lnTo>
                <a:lnTo>
                  <a:pt x="8588" y="2622"/>
                </a:lnTo>
                <a:lnTo>
                  <a:pt x="8590" y="2624"/>
                </a:lnTo>
                <a:lnTo>
                  <a:pt x="8590" y="2628"/>
                </a:lnTo>
                <a:lnTo>
                  <a:pt x="8590" y="2636"/>
                </a:lnTo>
                <a:lnTo>
                  <a:pt x="8590" y="2642"/>
                </a:lnTo>
                <a:lnTo>
                  <a:pt x="8588" y="2644"/>
                </a:lnTo>
                <a:lnTo>
                  <a:pt x="8586" y="2646"/>
                </a:lnTo>
                <a:lnTo>
                  <a:pt x="8580" y="2650"/>
                </a:lnTo>
                <a:lnTo>
                  <a:pt x="8580" y="2652"/>
                </a:lnTo>
                <a:lnTo>
                  <a:pt x="8578" y="2658"/>
                </a:lnTo>
                <a:lnTo>
                  <a:pt x="8578" y="2662"/>
                </a:lnTo>
                <a:lnTo>
                  <a:pt x="8576" y="2664"/>
                </a:lnTo>
                <a:lnTo>
                  <a:pt x="8570" y="2664"/>
                </a:lnTo>
                <a:lnTo>
                  <a:pt x="8566" y="2662"/>
                </a:lnTo>
                <a:lnTo>
                  <a:pt x="8566" y="2664"/>
                </a:lnTo>
                <a:lnTo>
                  <a:pt x="8564" y="2666"/>
                </a:lnTo>
                <a:lnTo>
                  <a:pt x="8566" y="2674"/>
                </a:lnTo>
                <a:lnTo>
                  <a:pt x="8572" y="2686"/>
                </a:lnTo>
                <a:lnTo>
                  <a:pt x="8576" y="2692"/>
                </a:lnTo>
                <a:lnTo>
                  <a:pt x="8580" y="2698"/>
                </a:lnTo>
                <a:lnTo>
                  <a:pt x="8584" y="2710"/>
                </a:lnTo>
                <a:lnTo>
                  <a:pt x="8584" y="2716"/>
                </a:lnTo>
                <a:lnTo>
                  <a:pt x="8586" y="2718"/>
                </a:lnTo>
                <a:lnTo>
                  <a:pt x="8590" y="2718"/>
                </a:lnTo>
                <a:lnTo>
                  <a:pt x="8594" y="2718"/>
                </a:lnTo>
                <a:lnTo>
                  <a:pt x="8596" y="2718"/>
                </a:lnTo>
                <a:lnTo>
                  <a:pt x="8600" y="2720"/>
                </a:lnTo>
                <a:lnTo>
                  <a:pt x="8602" y="2722"/>
                </a:lnTo>
                <a:lnTo>
                  <a:pt x="8604" y="2730"/>
                </a:lnTo>
                <a:lnTo>
                  <a:pt x="8594" y="2740"/>
                </a:lnTo>
                <a:lnTo>
                  <a:pt x="8586" y="2744"/>
                </a:lnTo>
                <a:lnTo>
                  <a:pt x="8576" y="2750"/>
                </a:lnTo>
                <a:lnTo>
                  <a:pt x="8572" y="2752"/>
                </a:lnTo>
                <a:lnTo>
                  <a:pt x="8570" y="2754"/>
                </a:lnTo>
                <a:lnTo>
                  <a:pt x="8570" y="2758"/>
                </a:lnTo>
                <a:lnTo>
                  <a:pt x="8570" y="2768"/>
                </a:lnTo>
                <a:close/>
                <a:moveTo>
                  <a:pt x="11370" y="2874"/>
                </a:moveTo>
                <a:lnTo>
                  <a:pt x="11370" y="2874"/>
                </a:lnTo>
                <a:lnTo>
                  <a:pt x="11370" y="2870"/>
                </a:lnTo>
                <a:lnTo>
                  <a:pt x="11376" y="2882"/>
                </a:lnTo>
                <a:lnTo>
                  <a:pt x="11370" y="2874"/>
                </a:lnTo>
                <a:close/>
                <a:moveTo>
                  <a:pt x="8546" y="1146"/>
                </a:moveTo>
                <a:lnTo>
                  <a:pt x="8546" y="1146"/>
                </a:lnTo>
                <a:lnTo>
                  <a:pt x="8546" y="1144"/>
                </a:lnTo>
                <a:lnTo>
                  <a:pt x="8544" y="1140"/>
                </a:lnTo>
                <a:lnTo>
                  <a:pt x="8532" y="1134"/>
                </a:lnTo>
                <a:lnTo>
                  <a:pt x="8518" y="1126"/>
                </a:lnTo>
                <a:lnTo>
                  <a:pt x="8508" y="1120"/>
                </a:lnTo>
                <a:lnTo>
                  <a:pt x="8500" y="1112"/>
                </a:lnTo>
                <a:lnTo>
                  <a:pt x="8490" y="1104"/>
                </a:lnTo>
                <a:lnTo>
                  <a:pt x="8482" y="1102"/>
                </a:lnTo>
                <a:lnTo>
                  <a:pt x="8478" y="1104"/>
                </a:lnTo>
                <a:lnTo>
                  <a:pt x="8470" y="1108"/>
                </a:lnTo>
                <a:lnTo>
                  <a:pt x="8468" y="1108"/>
                </a:lnTo>
                <a:lnTo>
                  <a:pt x="8468" y="1110"/>
                </a:lnTo>
                <a:lnTo>
                  <a:pt x="8470" y="1116"/>
                </a:lnTo>
                <a:lnTo>
                  <a:pt x="8472" y="1120"/>
                </a:lnTo>
                <a:lnTo>
                  <a:pt x="8470" y="1118"/>
                </a:lnTo>
                <a:lnTo>
                  <a:pt x="8466" y="1118"/>
                </a:lnTo>
                <a:lnTo>
                  <a:pt x="8464" y="1118"/>
                </a:lnTo>
                <a:lnTo>
                  <a:pt x="8464" y="1120"/>
                </a:lnTo>
                <a:lnTo>
                  <a:pt x="8464" y="1122"/>
                </a:lnTo>
                <a:lnTo>
                  <a:pt x="8468" y="1130"/>
                </a:lnTo>
                <a:lnTo>
                  <a:pt x="8476" y="1140"/>
                </a:lnTo>
                <a:lnTo>
                  <a:pt x="8482" y="1144"/>
                </a:lnTo>
                <a:lnTo>
                  <a:pt x="8486" y="1144"/>
                </a:lnTo>
                <a:lnTo>
                  <a:pt x="8488" y="1144"/>
                </a:lnTo>
                <a:lnTo>
                  <a:pt x="8488" y="1142"/>
                </a:lnTo>
                <a:lnTo>
                  <a:pt x="8492" y="1140"/>
                </a:lnTo>
                <a:lnTo>
                  <a:pt x="8500" y="1142"/>
                </a:lnTo>
                <a:lnTo>
                  <a:pt x="8506" y="1146"/>
                </a:lnTo>
                <a:lnTo>
                  <a:pt x="8508" y="1148"/>
                </a:lnTo>
                <a:lnTo>
                  <a:pt x="8508" y="1152"/>
                </a:lnTo>
                <a:lnTo>
                  <a:pt x="8510" y="1154"/>
                </a:lnTo>
                <a:lnTo>
                  <a:pt x="8514" y="1156"/>
                </a:lnTo>
                <a:lnTo>
                  <a:pt x="8526" y="1156"/>
                </a:lnTo>
                <a:lnTo>
                  <a:pt x="8540" y="1152"/>
                </a:lnTo>
                <a:lnTo>
                  <a:pt x="8544" y="1150"/>
                </a:lnTo>
                <a:lnTo>
                  <a:pt x="8546" y="1146"/>
                </a:lnTo>
                <a:close/>
                <a:moveTo>
                  <a:pt x="8966" y="906"/>
                </a:moveTo>
                <a:lnTo>
                  <a:pt x="8966" y="906"/>
                </a:lnTo>
                <a:lnTo>
                  <a:pt x="8984" y="902"/>
                </a:lnTo>
                <a:lnTo>
                  <a:pt x="8988" y="900"/>
                </a:lnTo>
                <a:lnTo>
                  <a:pt x="8992" y="896"/>
                </a:lnTo>
                <a:lnTo>
                  <a:pt x="8994" y="894"/>
                </a:lnTo>
                <a:lnTo>
                  <a:pt x="8994" y="890"/>
                </a:lnTo>
                <a:lnTo>
                  <a:pt x="8990" y="884"/>
                </a:lnTo>
                <a:lnTo>
                  <a:pt x="8982" y="878"/>
                </a:lnTo>
                <a:lnTo>
                  <a:pt x="8972" y="874"/>
                </a:lnTo>
                <a:lnTo>
                  <a:pt x="8960" y="874"/>
                </a:lnTo>
                <a:lnTo>
                  <a:pt x="8948" y="876"/>
                </a:lnTo>
                <a:lnTo>
                  <a:pt x="8936" y="880"/>
                </a:lnTo>
                <a:lnTo>
                  <a:pt x="8928" y="886"/>
                </a:lnTo>
                <a:lnTo>
                  <a:pt x="8924" y="892"/>
                </a:lnTo>
                <a:lnTo>
                  <a:pt x="8924" y="898"/>
                </a:lnTo>
                <a:lnTo>
                  <a:pt x="8928" y="904"/>
                </a:lnTo>
                <a:lnTo>
                  <a:pt x="8936" y="906"/>
                </a:lnTo>
                <a:lnTo>
                  <a:pt x="8948" y="908"/>
                </a:lnTo>
                <a:lnTo>
                  <a:pt x="8966" y="906"/>
                </a:lnTo>
                <a:close/>
                <a:moveTo>
                  <a:pt x="8184" y="986"/>
                </a:moveTo>
                <a:lnTo>
                  <a:pt x="8184" y="986"/>
                </a:lnTo>
                <a:lnTo>
                  <a:pt x="8178" y="1004"/>
                </a:lnTo>
                <a:lnTo>
                  <a:pt x="8176" y="1012"/>
                </a:lnTo>
                <a:lnTo>
                  <a:pt x="8178" y="1018"/>
                </a:lnTo>
                <a:lnTo>
                  <a:pt x="8182" y="1022"/>
                </a:lnTo>
                <a:lnTo>
                  <a:pt x="8188" y="1024"/>
                </a:lnTo>
                <a:lnTo>
                  <a:pt x="8198" y="1026"/>
                </a:lnTo>
                <a:lnTo>
                  <a:pt x="8212" y="1028"/>
                </a:lnTo>
                <a:lnTo>
                  <a:pt x="8228" y="1028"/>
                </a:lnTo>
                <a:lnTo>
                  <a:pt x="8228" y="1030"/>
                </a:lnTo>
                <a:lnTo>
                  <a:pt x="8224" y="1032"/>
                </a:lnTo>
                <a:lnTo>
                  <a:pt x="8220" y="1036"/>
                </a:lnTo>
                <a:lnTo>
                  <a:pt x="8218" y="1040"/>
                </a:lnTo>
                <a:lnTo>
                  <a:pt x="8218" y="1044"/>
                </a:lnTo>
                <a:lnTo>
                  <a:pt x="8222" y="1046"/>
                </a:lnTo>
                <a:lnTo>
                  <a:pt x="8232" y="1054"/>
                </a:lnTo>
                <a:lnTo>
                  <a:pt x="8238" y="1058"/>
                </a:lnTo>
                <a:lnTo>
                  <a:pt x="8244" y="1060"/>
                </a:lnTo>
                <a:lnTo>
                  <a:pt x="8248" y="1058"/>
                </a:lnTo>
                <a:lnTo>
                  <a:pt x="8250" y="1058"/>
                </a:lnTo>
                <a:lnTo>
                  <a:pt x="8254" y="1052"/>
                </a:lnTo>
                <a:lnTo>
                  <a:pt x="8254" y="1044"/>
                </a:lnTo>
                <a:lnTo>
                  <a:pt x="8254" y="1038"/>
                </a:lnTo>
                <a:lnTo>
                  <a:pt x="8254" y="1032"/>
                </a:lnTo>
                <a:lnTo>
                  <a:pt x="8256" y="1032"/>
                </a:lnTo>
                <a:lnTo>
                  <a:pt x="8258" y="1034"/>
                </a:lnTo>
                <a:lnTo>
                  <a:pt x="8264" y="1040"/>
                </a:lnTo>
                <a:lnTo>
                  <a:pt x="8268" y="1046"/>
                </a:lnTo>
                <a:lnTo>
                  <a:pt x="8270" y="1052"/>
                </a:lnTo>
                <a:lnTo>
                  <a:pt x="8272" y="1056"/>
                </a:lnTo>
                <a:lnTo>
                  <a:pt x="8270" y="1060"/>
                </a:lnTo>
                <a:lnTo>
                  <a:pt x="8266" y="1066"/>
                </a:lnTo>
                <a:lnTo>
                  <a:pt x="8262" y="1070"/>
                </a:lnTo>
                <a:lnTo>
                  <a:pt x="8258" y="1072"/>
                </a:lnTo>
                <a:lnTo>
                  <a:pt x="8256" y="1074"/>
                </a:lnTo>
                <a:lnTo>
                  <a:pt x="8258" y="1076"/>
                </a:lnTo>
                <a:lnTo>
                  <a:pt x="8262" y="1076"/>
                </a:lnTo>
                <a:lnTo>
                  <a:pt x="8276" y="1078"/>
                </a:lnTo>
                <a:lnTo>
                  <a:pt x="8292" y="1080"/>
                </a:lnTo>
                <a:lnTo>
                  <a:pt x="8302" y="1082"/>
                </a:lnTo>
                <a:lnTo>
                  <a:pt x="8308" y="1084"/>
                </a:lnTo>
                <a:lnTo>
                  <a:pt x="8312" y="1086"/>
                </a:lnTo>
                <a:lnTo>
                  <a:pt x="8314" y="1088"/>
                </a:lnTo>
                <a:lnTo>
                  <a:pt x="8320" y="1090"/>
                </a:lnTo>
                <a:lnTo>
                  <a:pt x="8338" y="1092"/>
                </a:lnTo>
                <a:lnTo>
                  <a:pt x="8352" y="1092"/>
                </a:lnTo>
                <a:lnTo>
                  <a:pt x="8364" y="1094"/>
                </a:lnTo>
                <a:lnTo>
                  <a:pt x="8384" y="1098"/>
                </a:lnTo>
                <a:lnTo>
                  <a:pt x="8392" y="1098"/>
                </a:lnTo>
                <a:lnTo>
                  <a:pt x="8402" y="1096"/>
                </a:lnTo>
                <a:lnTo>
                  <a:pt x="8412" y="1094"/>
                </a:lnTo>
                <a:lnTo>
                  <a:pt x="8426" y="1086"/>
                </a:lnTo>
                <a:lnTo>
                  <a:pt x="8428" y="1084"/>
                </a:lnTo>
                <a:lnTo>
                  <a:pt x="8430" y="1082"/>
                </a:lnTo>
                <a:lnTo>
                  <a:pt x="8428" y="1080"/>
                </a:lnTo>
                <a:lnTo>
                  <a:pt x="8426" y="1078"/>
                </a:lnTo>
                <a:lnTo>
                  <a:pt x="8418" y="1074"/>
                </a:lnTo>
                <a:lnTo>
                  <a:pt x="8408" y="1068"/>
                </a:lnTo>
                <a:lnTo>
                  <a:pt x="8394" y="1062"/>
                </a:lnTo>
                <a:lnTo>
                  <a:pt x="8382" y="1054"/>
                </a:lnTo>
                <a:lnTo>
                  <a:pt x="8372" y="1046"/>
                </a:lnTo>
                <a:lnTo>
                  <a:pt x="8364" y="1036"/>
                </a:lnTo>
                <a:lnTo>
                  <a:pt x="8360" y="1026"/>
                </a:lnTo>
                <a:lnTo>
                  <a:pt x="8354" y="1018"/>
                </a:lnTo>
                <a:lnTo>
                  <a:pt x="8344" y="1006"/>
                </a:lnTo>
                <a:lnTo>
                  <a:pt x="8340" y="1000"/>
                </a:lnTo>
                <a:lnTo>
                  <a:pt x="8338" y="992"/>
                </a:lnTo>
                <a:lnTo>
                  <a:pt x="8336" y="980"/>
                </a:lnTo>
                <a:lnTo>
                  <a:pt x="8338" y="964"/>
                </a:lnTo>
                <a:lnTo>
                  <a:pt x="8340" y="956"/>
                </a:lnTo>
                <a:lnTo>
                  <a:pt x="8344" y="948"/>
                </a:lnTo>
                <a:lnTo>
                  <a:pt x="8352" y="936"/>
                </a:lnTo>
                <a:lnTo>
                  <a:pt x="8362" y="926"/>
                </a:lnTo>
                <a:lnTo>
                  <a:pt x="8372" y="918"/>
                </a:lnTo>
                <a:lnTo>
                  <a:pt x="8378" y="912"/>
                </a:lnTo>
                <a:lnTo>
                  <a:pt x="8380" y="906"/>
                </a:lnTo>
                <a:lnTo>
                  <a:pt x="8380" y="904"/>
                </a:lnTo>
                <a:lnTo>
                  <a:pt x="8376" y="900"/>
                </a:lnTo>
                <a:lnTo>
                  <a:pt x="8366" y="894"/>
                </a:lnTo>
                <a:lnTo>
                  <a:pt x="8346" y="886"/>
                </a:lnTo>
                <a:lnTo>
                  <a:pt x="8342" y="886"/>
                </a:lnTo>
                <a:lnTo>
                  <a:pt x="8338" y="886"/>
                </a:lnTo>
                <a:lnTo>
                  <a:pt x="8324" y="888"/>
                </a:lnTo>
                <a:lnTo>
                  <a:pt x="8288" y="894"/>
                </a:lnTo>
                <a:lnTo>
                  <a:pt x="8266" y="896"/>
                </a:lnTo>
                <a:lnTo>
                  <a:pt x="8256" y="900"/>
                </a:lnTo>
                <a:lnTo>
                  <a:pt x="8250" y="902"/>
                </a:lnTo>
                <a:lnTo>
                  <a:pt x="8250" y="904"/>
                </a:lnTo>
                <a:lnTo>
                  <a:pt x="8250" y="908"/>
                </a:lnTo>
                <a:lnTo>
                  <a:pt x="8250" y="910"/>
                </a:lnTo>
                <a:lnTo>
                  <a:pt x="8246" y="916"/>
                </a:lnTo>
                <a:lnTo>
                  <a:pt x="8236" y="920"/>
                </a:lnTo>
                <a:lnTo>
                  <a:pt x="8226" y="926"/>
                </a:lnTo>
                <a:lnTo>
                  <a:pt x="8222" y="930"/>
                </a:lnTo>
                <a:lnTo>
                  <a:pt x="8220" y="932"/>
                </a:lnTo>
                <a:lnTo>
                  <a:pt x="8222" y="936"/>
                </a:lnTo>
                <a:lnTo>
                  <a:pt x="8226" y="940"/>
                </a:lnTo>
                <a:lnTo>
                  <a:pt x="8228" y="946"/>
                </a:lnTo>
                <a:lnTo>
                  <a:pt x="8228" y="954"/>
                </a:lnTo>
                <a:lnTo>
                  <a:pt x="8224" y="964"/>
                </a:lnTo>
                <a:lnTo>
                  <a:pt x="8218" y="974"/>
                </a:lnTo>
                <a:lnTo>
                  <a:pt x="8212" y="976"/>
                </a:lnTo>
                <a:lnTo>
                  <a:pt x="8208" y="976"/>
                </a:lnTo>
                <a:lnTo>
                  <a:pt x="8204" y="976"/>
                </a:lnTo>
                <a:lnTo>
                  <a:pt x="8198" y="974"/>
                </a:lnTo>
                <a:lnTo>
                  <a:pt x="8194" y="974"/>
                </a:lnTo>
                <a:lnTo>
                  <a:pt x="8190" y="978"/>
                </a:lnTo>
                <a:lnTo>
                  <a:pt x="8184" y="986"/>
                </a:lnTo>
                <a:close/>
                <a:moveTo>
                  <a:pt x="8658" y="660"/>
                </a:moveTo>
                <a:lnTo>
                  <a:pt x="8658" y="660"/>
                </a:lnTo>
                <a:lnTo>
                  <a:pt x="8640" y="666"/>
                </a:lnTo>
                <a:lnTo>
                  <a:pt x="8630" y="668"/>
                </a:lnTo>
                <a:lnTo>
                  <a:pt x="8624" y="668"/>
                </a:lnTo>
                <a:lnTo>
                  <a:pt x="8620" y="664"/>
                </a:lnTo>
                <a:lnTo>
                  <a:pt x="8616" y="662"/>
                </a:lnTo>
                <a:lnTo>
                  <a:pt x="8610" y="660"/>
                </a:lnTo>
                <a:lnTo>
                  <a:pt x="8602" y="658"/>
                </a:lnTo>
                <a:lnTo>
                  <a:pt x="8586" y="658"/>
                </a:lnTo>
                <a:lnTo>
                  <a:pt x="8570" y="660"/>
                </a:lnTo>
                <a:lnTo>
                  <a:pt x="8564" y="664"/>
                </a:lnTo>
                <a:lnTo>
                  <a:pt x="8560" y="666"/>
                </a:lnTo>
                <a:lnTo>
                  <a:pt x="8560" y="670"/>
                </a:lnTo>
                <a:lnTo>
                  <a:pt x="8562" y="674"/>
                </a:lnTo>
                <a:lnTo>
                  <a:pt x="8562" y="676"/>
                </a:lnTo>
                <a:lnTo>
                  <a:pt x="8560" y="676"/>
                </a:lnTo>
                <a:lnTo>
                  <a:pt x="8552" y="676"/>
                </a:lnTo>
                <a:lnTo>
                  <a:pt x="8540" y="676"/>
                </a:lnTo>
                <a:lnTo>
                  <a:pt x="8524" y="680"/>
                </a:lnTo>
                <a:lnTo>
                  <a:pt x="8508" y="684"/>
                </a:lnTo>
                <a:lnTo>
                  <a:pt x="8490" y="690"/>
                </a:lnTo>
                <a:lnTo>
                  <a:pt x="8472" y="698"/>
                </a:lnTo>
                <a:lnTo>
                  <a:pt x="8456" y="708"/>
                </a:lnTo>
                <a:lnTo>
                  <a:pt x="8442" y="718"/>
                </a:lnTo>
                <a:lnTo>
                  <a:pt x="8432" y="728"/>
                </a:lnTo>
                <a:lnTo>
                  <a:pt x="8426" y="734"/>
                </a:lnTo>
                <a:lnTo>
                  <a:pt x="8420" y="738"/>
                </a:lnTo>
                <a:lnTo>
                  <a:pt x="8418" y="738"/>
                </a:lnTo>
                <a:lnTo>
                  <a:pt x="8414" y="736"/>
                </a:lnTo>
                <a:lnTo>
                  <a:pt x="8412" y="734"/>
                </a:lnTo>
                <a:lnTo>
                  <a:pt x="8408" y="734"/>
                </a:lnTo>
                <a:lnTo>
                  <a:pt x="8402" y="736"/>
                </a:lnTo>
                <a:lnTo>
                  <a:pt x="8394" y="740"/>
                </a:lnTo>
                <a:lnTo>
                  <a:pt x="8388" y="746"/>
                </a:lnTo>
                <a:lnTo>
                  <a:pt x="8382" y="748"/>
                </a:lnTo>
                <a:lnTo>
                  <a:pt x="8380" y="748"/>
                </a:lnTo>
                <a:lnTo>
                  <a:pt x="8378" y="746"/>
                </a:lnTo>
                <a:lnTo>
                  <a:pt x="8376" y="744"/>
                </a:lnTo>
                <a:lnTo>
                  <a:pt x="8374" y="742"/>
                </a:lnTo>
                <a:lnTo>
                  <a:pt x="8370" y="742"/>
                </a:lnTo>
                <a:lnTo>
                  <a:pt x="8362" y="744"/>
                </a:lnTo>
                <a:lnTo>
                  <a:pt x="8358" y="750"/>
                </a:lnTo>
                <a:lnTo>
                  <a:pt x="8356" y="754"/>
                </a:lnTo>
                <a:lnTo>
                  <a:pt x="8360" y="756"/>
                </a:lnTo>
                <a:lnTo>
                  <a:pt x="8362" y="760"/>
                </a:lnTo>
                <a:lnTo>
                  <a:pt x="8370" y="764"/>
                </a:lnTo>
                <a:lnTo>
                  <a:pt x="8368" y="766"/>
                </a:lnTo>
                <a:lnTo>
                  <a:pt x="8364" y="770"/>
                </a:lnTo>
                <a:lnTo>
                  <a:pt x="8360" y="772"/>
                </a:lnTo>
                <a:lnTo>
                  <a:pt x="8358" y="774"/>
                </a:lnTo>
                <a:lnTo>
                  <a:pt x="8360" y="778"/>
                </a:lnTo>
                <a:lnTo>
                  <a:pt x="8364" y="780"/>
                </a:lnTo>
                <a:lnTo>
                  <a:pt x="8366" y="782"/>
                </a:lnTo>
                <a:lnTo>
                  <a:pt x="8368" y="784"/>
                </a:lnTo>
                <a:lnTo>
                  <a:pt x="8364" y="786"/>
                </a:lnTo>
                <a:lnTo>
                  <a:pt x="8356" y="786"/>
                </a:lnTo>
                <a:lnTo>
                  <a:pt x="8348" y="788"/>
                </a:lnTo>
                <a:lnTo>
                  <a:pt x="8342" y="792"/>
                </a:lnTo>
                <a:lnTo>
                  <a:pt x="8338" y="798"/>
                </a:lnTo>
                <a:lnTo>
                  <a:pt x="8334" y="806"/>
                </a:lnTo>
                <a:lnTo>
                  <a:pt x="8330" y="814"/>
                </a:lnTo>
                <a:lnTo>
                  <a:pt x="8324" y="822"/>
                </a:lnTo>
                <a:lnTo>
                  <a:pt x="8316" y="830"/>
                </a:lnTo>
                <a:lnTo>
                  <a:pt x="8302" y="836"/>
                </a:lnTo>
                <a:lnTo>
                  <a:pt x="8280" y="848"/>
                </a:lnTo>
                <a:lnTo>
                  <a:pt x="8272" y="854"/>
                </a:lnTo>
                <a:lnTo>
                  <a:pt x="8268" y="858"/>
                </a:lnTo>
                <a:lnTo>
                  <a:pt x="8268" y="862"/>
                </a:lnTo>
                <a:lnTo>
                  <a:pt x="8270" y="864"/>
                </a:lnTo>
                <a:lnTo>
                  <a:pt x="8278" y="866"/>
                </a:lnTo>
                <a:lnTo>
                  <a:pt x="8288" y="866"/>
                </a:lnTo>
                <a:lnTo>
                  <a:pt x="8296" y="866"/>
                </a:lnTo>
                <a:lnTo>
                  <a:pt x="8298" y="870"/>
                </a:lnTo>
                <a:lnTo>
                  <a:pt x="8296" y="872"/>
                </a:lnTo>
                <a:lnTo>
                  <a:pt x="8294" y="876"/>
                </a:lnTo>
                <a:lnTo>
                  <a:pt x="8290" y="880"/>
                </a:lnTo>
                <a:lnTo>
                  <a:pt x="8290" y="882"/>
                </a:lnTo>
                <a:lnTo>
                  <a:pt x="8294" y="882"/>
                </a:lnTo>
                <a:lnTo>
                  <a:pt x="8304" y="882"/>
                </a:lnTo>
                <a:lnTo>
                  <a:pt x="8326" y="876"/>
                </a:lnTo>
                <a:lnTo>
                  <a:pt x="8334" y="876"/>
                </a:lnTo>
                <a:lnTo>
                  <a:pt x="8342" y="876"/>
                </a:lnTo>
                <a:lnTo>
                  <a:pt x="8348" y="878"/>
                </a:lnTo>
                <a:lnTo>
                  <a:pt x="8356" y="880"/>
                </a:lnTo>
                <a:lnTo>
                  <a:pt x="8374" y="892"/>
                </a:lnTo>
                <a:lnTo>
                  <a:pt x="8384" y="894"/>
                </a:lnTo>
                <a:lnTo>
                  <a:pt x="8396" y="894"/>
                </a:lnTo>
                <a:lnTo>
                  <a:pt x="8402" y="892"/>
                </a:lnTo>
                <a:lnTo>
                  <a:pt x="8406" y="888"/>
                </a:lnTo>
                <a:lnTo>
                  <a:pt x="8410" y="884"/>
                </a:lnTo>
                <a:lnTo>
                  <a:pt x="8412" y="878"/>
                </a:lnTo>
                <a:lnTo>
                  <a:pt x="8414" y="874"/>
                </a:lnTo>
                <a:lnTo>
                  <a:pt x="8418" y="870"/>
                </a:lnTo>
                <a:lnTo>
                  <a:pt x="8426" y="868"/>
                </a:lnTo>
                <a:lnTo>
                  <a:pt x="8430" y="868"/>
                </a:lnTo>
                <a:lnTo>
                  <a:pt x="8434" y="864"/>
                </a:lnTo>
                <a:lnTo>
                  <a:pt x="8440" y="858"/>
                </a:lnTo>
                <a:lnTo>
                  <a:pt x="8442" y="850"/>
                </a:lnTo>
                <a:lnTo>
                  <a:pt x="8446" y="840"/>
                </a:lnTo>
                <a:lnTo>
                  <a:pt x="8450" y="834"/>
                </a:lnTo>
                <a:lnTo>
                  <a:pt x="8456" y="830"/>
                </a:lnTo>
                <a:lnTo>
                  <a:pt x="8460" y="828"/>
                </a:lnTo>
                <a:lnTo>
                  <a:pt x="8470" y="824"/>
                </a:lnTo>
                <a:lnTo>
                  <a:pt x="8472" y="820"/>
                </a:lnTo>
                <a:lnTo>
                  <a:pt x="8474" y="816"/>
                </a:lnTo>
                <a:lnTo>
                  <a:pt x="8476" y="804"/>
                </a:lnTo>
                <a:lnTo>
                  <a:pt x="8480" y="802"/>
                </a:lnTo>
                <a:lnTo>
                  <a:pt x="8484" y="800"/>
                </a:lnTo>
                <a:lnTo>
                  <a:pt x="8498" y="794"/>
                </a:lnTo>
                <a:lnTo>
                  <a:pt x="8526" y="784"/>
                </a:lnTo>
                <a:lnTo>
                  <a:pt x="8540" y="778"/>
                </a:lnTo>
                <a:lnTo>
                  <a:pt x="8546" y="772"/>
                </a:lnTo>
                <a:lnTo>
                  <a:pt x="8550" y="768"/>
                </a:lnTo>
                <a:lnTo>
                  <a:pt x="8552" y="764"/>
                </a:lnTo>
                <a:lnTo>
                  <a:pt x="8556" y="758"/>
                </a:lnTo>
                <a:lnTo>
                  <a:pt x="8564" y="752"/>
                </a:lnTo>
                <a:lnTo>
                  <a:pt x="8578" y="744"/>
                </a:lnTo>
                <a:lnTo>
                  <a:pt x="8600" y="734"/>
                </a:lnTo>
                <a:lnTo>
                  <a:pt x="8632" y="722"/>
                </a:lnTo>
                <a:lnTo>
                  <a:pt x="8666" y="712"/>
                </a:lnTo>
                <a:lnTo>
                  <a:pt x="8742" y="692"/>
                </a:lnTo>
                <a:lnTo>
                  <a:pt x="8814" y="674"/>
                </a:lnTo>
                <a:lnTo>
                  <a:pt x="8844" y="664"/>
                </a:lnTo>
                <a:lnTo>
                  <a:pt x="8870" y="654"/>
                </a:lnTo>
                <a:lnTo>
                  <a:pt x="8878" y="648"/>
                </a:lnTo>
                <a:lnTo>
                  <a:pt x="8886" y="642"/>
                </a:lnTo>
                <a:lnTo>
                  <a:pt x="8890" y="638"/>
                </a:lnTo>
                <a:lnTo>
                  <a:pt x="8892" y="632"/>
                </a:lnTo>
                <a:lnTo>
                  <a:pt x="8890" y="628"/>
                </a:lnTo>
                <a:lnTo>
                  <a:pt x="8888" y="622"/>
                </a:lnTo>
                <a:lnTo>
                  <a:pt x="8884" y="618"/>
                </a:lnTo>
                <a:lnTo>
                  <a:pt x="8878" y="614"/>
                </a:lnTo>
                <a:lnTo>
                  <a:pt x="8862" y="608"/>
                </a:lnTo>
                <a:lnTo>
                  <a:pt x="8842" y="606"/>
                </a:lnTo>
                <a:lnTo>
                  <a:pt x="8820" y="606"/>
                </a:lnTo>
                <a:lnTo>
                  <a:pt x="8798" y="610"/>
                </a:lnTo>
                <a:lnTo>
                  <a:pt x="8768" y="622"/>
                </a:lnTo>
                <a:lnTo>
                  <a:pt x="8762" y="624"/>
                </a:lnTo>
                <a:lnTo>
                  <a:pt x="8758" y="628"/>
                </a:lnTo>
                <a:lnTo>
                  <a:pt x="8756" y="630"/>
                </a:lnTo>
                <a:lnTo>
                  <a:pt x="8754" y="634"/>
                </a:lnTo>
                <a:lnTo>
                  <a:pt x="8746" y="638"/>
                </a:lnTo>
                <a:lnTo>
                  <a:pt x="8732" y="642"/>
                </a:lnTo>
                <a:lnTo>
                  <a:pt x="8708" y="650"/>
                </a:lnTo>
                <a:lnTo>
                  <a:pt x="8698" y="650"/>
                </a:lnTo>
                <a:lnTo>
                  <a:pt x="8686" y="652"/>
                </a:lnTo>
                <a:lnTo>
                  <a:pt x="8658" y="660"/>
                </a:lnTo>
                <a:close/>
                <a:moveTo>
                  <a:pt x="7934" y="316"/>
                </a:moveTo>
                <a:lnTo>
                  <a:pt x="7934" y="316"/>
                </a:lnTo>
                <a:lnTo>
                  <a:pt x="7942" y="318"/>
                </a:lnTo>
                <a:lnTo>
                  <a:pt x="7950" y="314"/>
                </a:lnTo>
                <a:lnTo>
                  <a:pt x="7954" y="314"/>
                </a:lnTo>
                <a:lnTo>
                  <a:pt x="7958" y="316"/>
                </a:lnTo>
                <a:lnTo>
                  <a:pt x="7964" y="320"/>
                </a:lnTo>
                <a:lnTo>
                  <a:pt x="7968" y="322"/>
                </a:lnTo>
                <a:lnTo>
                  <a:pt x="7974" y="322"/>
                </a:lnTo>
                <a:lnTo>
                  <a:pt x="7980" y="322"/>
                </a:lnTo>
                <a:lnTo>
                  <a:pt x="7990" y="318"/>
                </a:lnTo>
                <a:lnTo>
                  <a:pt x="8006" y="310"/>
                </a:lnTo>
                <a:lnTo>
                  <a:pt x="8018" y="304"/>
                </a:lnTo>
                <a:lnTo>
                  <a:pt x="8022" y="302"/>
                </a:lnTo>
                <a:lnTo>
                  <a:pt x="8028" y="300"/>
                </a:lnTo>
                <a:lnTo>
                  <a:pt x="8036" y="302"/>
                </a:lnTo>
                <a:lnTo>
                  <a:pt x="8046" y="304"/>
                </a:lnTo>
                <a:lnTo>
                  <a:pt x="8056" y="308"/>
                </a:lnTo>
                <a:lnTo>
                  <a:pt x="8064" y="308"/>
                </a:lnTo>
                <a:lnTo>
                  <a:pt x="8070" y="308"/>
                </a:lnTo>
                <a:lnTo>
                  <a:pt x="8072" y="306"/>
                </a:lnTo>
                <a:lnTo>
                  <a:pt x="8070" y="302"/>
                </a:lnTo>
                <a:lnTo>
                  <a:pt x="8064" y="298"/>
                </a:lnTo>
                <a:lnTo>
                  <a:pt x="8054" y="294"/>
                </a:lnTo>
                <a:lnTo>
                  <a:pt x="8038" y="290"/>
                </a:lnTo>
                <a:lnTo>
                  <a:pt x="8014" y="286"/>
                </a:lnTo>
                <a:lnTo>
                  <a:pt x="8010" y="286"/>
                </a:lnTo>
                <a:lnTo>
                  <a:pt x="8008" y="288"/>
                </a:lnTo>
                <a:lnTo>
                  <a:pt x="8006" y="290"/>
                </a:lnTo>
                <a:lnTo>
                  <a:pt x="8002" y="294"/>
                </a:lnTo>
                <a:lnTo>
                  <a:pt x="7996" y="296"/>
                </a:lnTo>
                <a:lnTo>
                  <a:pt x="7984" y="300"/>
                </a:lnTo>
                <a:lnTo>
                  <a:pt x="7954" y="304"/>
                </a:lnTo>
                <a:lnTo>
                  <a:pt x="7930" y="308"/>
                </a:lnTo>
                <a:lnTo>
                  <a:pt x="7924" y="310"/>
                </a:lnTo>
                <a:lnTo>
                  <a:pt x="7920" y="312"/>
                </a:lnTo>
                <a:lnTo>
                  <a:pt x="7924" y="314"/>
                </a:lnTo>
                <a:lnTo>
                  <a:pt x="7934" y="316"/>
                </a:lnTo>
                <a:close/>
                <a:moveTo>
                  <a:pt x="8090" y="300"/>
                </a:moveTo>
                <a:lnTo>
                  <a:pt x="8090" y="300"/>
                </a:lnTo>
                <a:lnTo>
                  <a:pt x="8098" y="306"/>
                </a:lnTo>
                <a:lnTo>
                  <a:pt x="8100" y="308"/>
                </a:lnTo>
                <a:lnTo>
                  <a:pt x="8098" y="310"/>
                </a:lnTo>
                <a:lnTo>
                  <a:pt x="8096" y="312"/>
                </a:lnTo>
                <a:lnTo>
                  <a:pt x="8090" y="314"/>
                </a:lnTo>
                <a:lnTo>
                  <a:pt x="8068" y="316"/>
                </a:lnTo>
                <a:lnTo>
                  <a:pt x="8042" y="316"/>
                </a:lnTo>
                <a:lnTo>
                  <a:pt x="8024" y="318"/>
                </a:lnTo>
                <a:lnTo>
                  <a:pt x="8020" y="318"/>
                </a:lnTo>
                <a:lnTo>
                  <a:pt x="8020" y="320"/>
                </a:lnTo>
                <a:lnTo>
                  <a:pt x="8022" y="322"/>
                </a:lnTo>
                <a:lnTo>
                  <a:pt x="8028" y="326"/>
                </a:lnTo>
                <a:lnTo>
                  <a:pt x="8036" y="332"/>
                </a:lnTo>
                <a:lnTo>
                  <a:pt x="8034" y="332"/>
                </a:lnTo>
                <a:lnTo>
                  <a:pt x="8032" y="334"/>
                </a:lnTo>
                <a:lnTo>
                  <a:pt x="8012" y="332"/>
                </a:lnTo>
                <a:lnTo>
                  <a:pt x="8000" y="330"/>
                </a:lnTo>
                <a:lnTo>
                  <a:pt x="7988" y="332"/>
                </a:lnTo>
                <a:lnTo>
                  <a:pt x="7986" y="332"/>
                </a:lnTo>
                <a:lnTo>
                  <a:pt x="7986" y="334"/>
                </a:lnTo>
                <a:lnTo>
                  <a:pt x="7988" y="338"/>
                </a:lnTo>
                <a:lnTo>
                  <a:pt x="7998" y="344"/>
                </a:lnTo>
                <a:lnTo>
                  <a:pt x="8006" y="346"/>
                </a:lnTo>
                <a:lnTo>
                  <a:pt x="8010" y="346"/>
                </a:lnTo>
                <a:lnTo>
                  <a:pt x="8016" y="344"/>
                </a:lnTo>
                <a:lnTo>
                  <a:pt x="8028" y="340"/>
                </a:lnTo>
                <a:lnTo>
                  <a:pt x="8034" y="338"/>
                </a:lnTo>
                <a:lnTo>
                  <a:pt x="8036" y="340"/>
                </a:lnTo>
                <a:lnTo>
                  <a:pt x="8034" y="346"/>
                </a:lnTo>
                <a:lnTo>
                  <a:pt x="8034" y="350"/>
                </a:lnTo>
                <a:lnTo>
                  <a:pt x="8034" y="352"/>
                </a:lnTo>
                <a:lnTo>
                  <a:pt x="8038" y="352"/>
                </a:lnTo>
                <a:lnTo>
                  <a:pt x="8048" y="350"/>
                </a:lnTo>
                <a:lnTo>
                  <a:pt x="8058" y="346"/>
                </a:lnTo>
                <a:lnTo>
                  <a:pt x="8064" y="346"/>
                </a:lnTo>
                <a:lnTo>
                  <a:pt x="8074" y="348"/>
                </a:lnTo>
                <a:lnTo>
                  <a:pt x="8078" y="350"/>
                </a:lnTo>
                <a:lnTo>
                  <a:pt x="8082" y="348"/>
                </a:lnTo>
                <a:lnTo>
                  <a:pt x="8086" y="346"/>
                </a:lnTo>
                <a:lnTo>
                  <a:pt x="8088" y="344"/>
                </a:lnTo>
                <a:lnTo>
                  <a:pt x="8088" y="342"/>
                </a:lnTo>
                <a:lnTo>
                  <a:pt x="8080" y="340"/>
                </a:lnTo>
                <a:lnTo>
                  <a:pt x="8072" y="336"/>
                </a:lnTo>
                <a:lnTo>
                  <a:pt x="8074" y="332"/>
                </a:lnTo>
                <a:lnTo>
                  <a:pt x="8084" y="330"/>
                </a:lnTo>
                <a:lnTo>
                  <a:pt x="8094" y="328"/>
                </a:lnTo>
                <a:lnTo>
                  <a:pt x="8104" y="328"/>
                </a:lnTo>
                <a:lnTo>
                  <a:pt x="8108" y="326"/>
                </a:lnTo>
                <a:lnTo>
                  <a:pt x="8114" y="322"/>
                </a:lnTo>
                <a:lnTo>
                  <a:pt x="8118" y="320"/>
                </a:lnTo>
                <a:lnTo>
                  <a:pt x="8124" y="318"/>
                </a:lnTo>
                <a:lnTo>
                  <a:pt x="8134" y="318"/>
                </a:lnTo>
                <a:lnTo>
                  <a:pt x="8150" y="316"/>
                </a:lnTo>
                <a:lnTo>
                  <a:pt x="8174" y="314"/>
                </a:lnTo>
                <a:lnTo>
                  <a:pt x="8186" y="310"/>
                </a:lnTo>
                <a:lnTo>
                  <a:pt x="8192" y="308"/>
                </a:lnTo>
                <a:lnTo>
                  <a:pt x="8194" y="304"/>
                </a:lnTo>
                <a:lnTo>
                  <a:pt x="8192" y="300"/>
                </a:lnTo>
                <a:lnTo>
                  <a:pt x="8188" y="298"/>
                </a:lnTo>
                <a:lnTo>
                  <a:pt x="8180" y="296"/>
                </a:lnTo>
                <a:lnTo>
                  <a:pt x="8170" y="296"/>
                </a:lnTo>
                <a:lnTo>
                  <a:pt x="8158" y="296"/>
                </a:lnTo>
                <a:lnTo>
                  <a:pt x="8146" y="298"/>
                </a:lnTo>
                <a:lnTo>
                  <a:pt x="8146" y="296"/>
                </a:lnTo>
                <a:lnTo>
                  <a:pt x="8148" y="294"/>
                </a:lnTo>
                <a:lnTo>
                  <a:pt x="8150" y="292"/>
                </a:lnTo>
                <a:lnTo>
                  <a:pt x="8150" y="290"/>
                </a:lnTo>
                <a:lnTo>
                  <a:pt x="8148" y="288"/>
                </a:lnTo>
                <a:lnTo>
                  <a:pt x="8138" y="288"/>
                </a:lnTo>
                <a:lnTo>
                  <a:pt x="8116" y="286"/>
                </a:lnTo>
                <a:lnTo>
                  <a:pt x="8098" y="290"/>
                </a:lnTo>
                <a:lnTo>
                  <a:pt x="8092" y="292"/>
                </a:lnTo>
                <a:lnTo>
                  <a:pt x="8088" y="294"/>
                </a:lnTo>
                <a:lnTo>
                  <a:pt x="8086" y="298"/>
                </a:lnTo>
                <a:lnTo>
                  <a:pt x="8090" y="300"/>
                </a:lnTo>
                <a:close/>
                <a:moveTo>
                  <a:pt x="8270" y="334"/>
                </a:moveTo>
                <a:lnTo>
                  <a:pt x="8270" y="334"/>
                </a:lnTo>
                <a:lnTo>
                  <a:pt x="8260" y="326"/>
                </a:lnTo>
                <a:lnTo>
                  <a:pt x="8256" y="324"/>
                </a:lnTo>
                <a:lnTo>
                  <a:pt x="8252" y="324"/>
                </a:lnTo>
                <a:lnTo>
                  <a:pt x="8240" y="326"/>
                </a:lnTo>
                <a:lnTo>
                  <a:pt x="8220" y="336"/>
                </a:lnTo>
                <a:lnTo>
                  <a:pt x="8216" y="338"/>
                </a:lnTo>
                <a:lnTo>
                  <a:pt x="8216" y="340"/>
                </a:lnTo>
                <a:lnTo>
                  <a:pt x="8220" y="342"/>
                </a:lnTo>
                <a:lnTo>
                  <a:pt x="8230" y="346"/>
                </a:lnTo>
                <a:lnTo>
                  <a:pt x="8244" y="346"/>
                </a:lnTo>
                <a:lnTo>
                  <a:pt x="8258" y="348"/>
                </a:lnTo>
                <a:lnTo>
                  <a:pt x="8270" y="346"/>
                </a:lnTo>
                <a:lnTo>
                  <a:pt x="8272" y="344"/>
                </a:lnTo>
                <a:lnTo>
                  <a:pt x="8274" y="342"/>
                </a:lnTo>
                <a:lnTo>
                  <a:pt x="8274" y="338"/>
                </a:lnTo>
                <a:lnTo>
                  <a:pt x="8270" y="334"/>
                </a:lnTo>
                <a:close/>
                <a:moveTo>
                  <a:pt x="8160" y="268"/>
                </a:moveTo>
                <a:lnTo>
                  <a:pt x="8160" y="268"/>
                </a:lnTo>
                <a:lnTo>
                  <a:pt x="8164" y="266"/>
                </a:lnTo>
                <a:lnTo>
                  <a:pt x="8166" y="264"/>
                </a:lnTo>
                <a:lnTo>
                  <a:pt x="8164" y="260"/>
                </a:lnTo>
                <a:lnTo>
                  <a:pt x="8162" y="260"/>
                </a:lnTo>
                <a:lnTo>
                  <a:pt x="8156" y="258"/>
                </a:lnTo>
                <a:lnTo>
                  <a:pt x="8152" y="260"/>
                </a:lnTo>
                <a:lnTo>
                  <a:pt x="8146" y="262"/>
                </a:lnTo>
                <a:lnTo>
                  <a:pt x="8140" y="266"/>
                </a:lnTo>
                <a:lnTo>
                  <a:pt x="8134" y="272"/>
                </a:lnTo>
                <a:lnTo>
                  <a:pt x="8132" y="276"/>
                </a:lnTo>
                <a:lnTo>
                  <a:pt x="8136" y="278"/>
                </a:lnTo>
                <a:lnTo>
                  <a:pt x="8146" y="274"/>
                </a:lnTo>
                <a:lnTo>
                  <a:pt x="8160" y="268"/>
                </a:lnTo>
                <a:close/>
                <a:moveTo>
                  <a:pt x="8684" y="298"/>
                </a:moveTo>
                <a:lnTo>
                  <a:pt x="8684" y="298"/>
                </a:lnTo>
                <a:lnTo>
                  <a:pt x="8710" y="294"/>
                </a:lnTo>
                <a:lnTo>
                  <a:pt x="8730" y="292"/>
                </a:lnTo>
                <a:lnTo>
                  <a:pt x="8738" y="290"/>
                </a:lnTo>
                <a:lnTo>
                  <a:pt x="8742" y="288"/>
                </a:lnTo>
                <a:lnTo>
                  <a:pt x="8746" y="282"/>
                </a:lnTo>
                <a:lnTo>
                  <a:pt x="8746" y="276"/>
                </a:lnTo>
                <a:lnTo>
                  <a:pt x="8744" y="270"/>
                </a:lnTo>
                <a:lnTo>
                  <a:pt x="8740" y="264"/>
                </a:lnTo>
                <a:lnTo>
                  <a:pt x="8734" y="262"/>
                </a:lnTo>
                <a:lnTo>
                  <a:pt x="8726" y="258"/>
                </a:lnTo>
                <a:lnTo>
                  <a:pt x="8716" y="258"/>
                </a:lnTo>
                <a:lnTo>
                  <a:pt x="8708" y="260"/>
                </a:lnTo>
                <a:lnTo>
                  <a:pt x="8700" y="262"/>
                </a:lnTo>
                <a:lnTo>
                  <a:pt x="8694" y="266"/>
                </a:lnTo>
                <a:lnTo>
                  <a:pt x="8688" y="270"/>
                </a:lnTo>
                <a:lnTo>
                  <a:pt x="8684" y="272"/>
                </a:lnTo>
                <a:lnTo>
                  <a:pt x="8672" y="272"/>
                </a:lnTo>
                <a:lnTo>
                  <a:pt x="8656" y="276"/>
                </a:lnTo>
                <a:lnTo>
                  <a:pt x="8648" y="278"/>
                </a:lnTo>
                <a:lnTo>
                  <a:pt x="8636" y="286"/>
                </a:lnTo>
                <a:lnTo>
                  <a:pt x="8630" y="290"/>
                </a:lnTo>
                <a:lnTo>
                  <a:pt x="8628" y="294"/>
                </a:lnTo>
                <a:lnTo>
                  <a:pt x="8630" y="298"/>
                </a:lnTo>
                <a:lnTo>
                  <a:pt x="8636" y="300"/>
                </a:lnTo>
                <a:lnTo>
                  <a:pt x="8646" y="302"/>
                </a:lnTo>
                <a:lnTo>
                  <a:pt x="8656" y="302"/>
                </a:lnTo>
                <a:lnTo>
                  <a:pt x="8684" y="298"/>
                </a:lnTo>
                <a:close/>
                <a:moveTo>
                  <a:pt x="8680" y="222"/>
                </a:moveTo>
                <a:lnTo>
                  <a:pt x="8680" y="222"/>
                </a:lnTo>
                <a:lnTo>
                  <a:pt x="8680" y="220"/>
                </a:lnTo>
                <a:lnTo>
                  <a:pt x="8680" y="218"/>
                </a:lnTo>
                <a:lnTo>
                  <a:pt x="8676" y="214"/>
                </a:lnTo>
                <a:lnTo>
                  <a:pt x="8670" y="212"/>
                </a:lnTo>
                <a:lnTo>
                  <a:pt x="8660" y="212"/>
                </a:lnTo>
                <a:lnTo>
                  <a:pt x="8636" y="212"/>
                </a:lnTo>
                <a:lnTo>
                  <a:pt x="8626" y="214"/>
                </a:lnTo>
                <a:lnTo>
                  <a:pt x="8616" y="216"/>
                </a:lnTo>
                <a:lnTo>
                  <a:pt x="8614" y="218"/>
                </a:lnTo>
                <a:lnTo>
                  <a:pt x="8616" y="220"/>
                </a:lnTo>
                <a:lnTo>
                  <a:pt x="8620" y="222"/>
                </a:lnTo>
                <a:lnTo>
                  <a:pt x="8638" y="226"/>
                </a:lnTo>
                <a:lnTo>
                  <a:pt x="8662" y="226"/>
                </a:lnTo>
                <a:lnTo>
                  <a:pt x="8672" y="224"/>
                </a:lnTo>
                <a:lnTo>
                  <a:pt x="8680" y="222"/>
                </a:lnTo>
                <a:close/>
                <a:moveTo>
                  <a:pt x="8502" y="208"/>
                </a:moveTo>
                <a:lnTo>
                  <a:pt x="8502" y="208"/>
                </a:lnTo>
                <a:lnTo>
                  <a:pt x="8502" y="206"/>
                </a:lnTo>
                <a:lnTo>
                  <a:pt x="8500" y="206"/>
                </a:lnTo>
                <a:lnTo>
                  <a:pt x="8496" y="202"/>
                </a:lnTo>
                <a:lnTo>
                  <a:pt x="8476" y="200"/>
                </a:lnTo>
                <a:lnTo>
                  <a:pt x="8464" y="200"/>
                </a:lnTo>
                <a:lnTo>
                  <a:pt x="8454" y="202"/>
                </a:lnTo>
                <a:lnTo>
                  <a:pt x="8446" y="204"/>
                </a:lnTo>
                <a:lnTo>
                  <a:pt x="8442" y="208"/>
                </a:lnTo>
                <a:lnTo>
                  <a:pt x="8442" y="212"/>
                </a:lnTo>
                <a:lnTo>
                  <a:pt x="8442" y="214"/>
                </a:lnTo>
                <a:lnTo>
                  <a:pt x="8448" y="216"/>
                </a:lnTo>
                <a:lnTo>
                  <a:pt x="8456" y="218"/>
                </a:lnTo>
                <a:lnTo>
                  <a:pt x="8468" y="218"/>
                </a:lnTo>
                <a:lnTo>
                  <a:pt x="8490" y="214"/>
                </a:lnTo>
                <a:lnTo>
                  <a:pt x="8498" y="212"/>
                </a:lnTo>
                <a:lnTo>
                  <a:pt x="8502" y="208"/>
                </a:lnTo>
                <a:close/>
                <a:moveTo>
                  <a:pt x="8566" y="284"/>
                </a:moveTo>
                <a:lnTo>
                  <a:pt x="8566" y="284"/>
                </a:lnTo>
                <a:lnTo>
                  <a:pt x="8576" y="282"/>
                </a:lnTo>
                <a:lnTo>
                  <a:pt x="8586" y="278"/>
                </a:lnTo>
                <a:lnTo>
                  <a:pt x="8592" y="274"/>
                </a:lnTo>
                <a:lnTo>
                  <a:pt x="8598" y="268"/>
                </a:lnTo>
                <a:lnTo>
                  <a:pt x="8598" y="266"/>
                </a:lnTo>
                <a:lnTo>
                  <a:pt x="8592" y="264"/>
                </a:lnTo>
                <a:lnTo>
                  <a:pt x="8580" y="264"/>
                </a:lnTo>
                <a:lnTo>
                  <a:pt x="8558" y="268"/>
                </a:lnTo>
                <a:lnTo>
                  <a:pt x="8544" y="272"/>
                </a:lnTo>
                <a:lnTo>
                  <a:pt x="8534" y="276"/>
                </a:lnTo>
                <a:lnTo>
                  <a:pt x="8532" y="278"/>
                </a:lnTo>
                <a:lnTo>
                  <a:pt x="8534" y="280"/>
                </a:lnTo>
                <a:lnTo>
                  <a:pt x="8548" y="284"/>
                </a:lnTo>
                <a:lnTo>
                  <a:pt x="8566" y="284"/>
                </a:lnTo>
                <a:close/>
                <a:moveTo>
                  <a:pt x="8560" y="322"/>
                </a:moveTo>
                <a:lnTo>
                  <a:pt x="8560" y="322"/>
                </a:lnTo>
                <a:lnTo>
                  <a:pt x="8570" y="324"/>
                </a:lnTo>
                <a:lnTo>
                  <a:pt x="8578" y="324"/>
                </a:lnTo>
                <a:lnTo>
                  <a:pt x="8582" y="322"/>
                </a:lnTo>
                <a:lnTo>
                  <a:pt x="8586" y="320"/>
                </a:lnTo>
                <a:lnTo>
                  <a:pt x="8594" y="314"/>
                </a:lnTo>
                <a:lnTo>
                  <a:pt x="8600" y="312"/>
                </a:lnTo>
                <a:lnTo>
                  <a:pt x="8606" y="312"/>
                </a:lnTo>
                <a:lnTo>
                  <a:pt x="8614" y="310"/>
                </a:lnTo>
                <a:lnTo>
                  <a:pt x="8618" y="306"/>
                </a:lnTo>
                <a:lnTo>
                  <a:pt x="8618" y="300"/>
                </a:lnTo>
                <a:lnTo>
                  <a:pt x="8618" y="292"/>
                </a:lnTo>
                <a:lnTo>
                  <a:pt x="8612" y="288"/>
                </a:lnTo>
                <a:lnTo>
                  <a:pt x="8604" y="284"/>
                </a:lnTo>
                <a:lnTo>
                  <a:pt x="8592" y="284"/>
                </a:lnTo>
                <a:lnTo>
                  <a:pt x="8576" y="288"/>
                </a:lnTo>
                <a:lnTo>
                  <a:pt x="8558" y="292"/>
                </a:lnTo>
                <a:lnTo>
                  <a:pt x="8544" y="294"/>
                </a:lnTo>
                <a:lnTo>
                  <a:pt x="8532" y="292"/>
                </a:lnTo>
                <a:lnTo>
                  <a:pt x="8522" y="290"/>
                </a:lnTo>
                <a:lnTo>
                  <a:pt x="8514" y="288"/>
                </a:lnTo>
                <a:lnTo>
                  <a:pt x="8508" y="290"/>
                </a:lnTo>
                <a:lnTo>
                  <a:pt x="8502" y="294"/>
                </a:lnTo>
                <a:lnTo>
                  <a:pt x="8496" y="304"/>
                </a:lnTo>
                <a:lnTo>
                  <a:pt x="8494" y="314"/>
                </a:lnTo>
                <a:lnTo>
                  <a:pt x="8494" y="318"/>
                </a:lnTo>
                <a:lnTo>
                  <a:pt x="8496" y="320"/>
                </a:lnTo>
                <a:lnTo>
                  <a:pt x="8502" y="324"/>
                </a:lnTo>
                <a:lnTo>
                  <a:pt x="8512" y="324"/>
                </a:lnTo>
                <a:lnTo>
                  <a:pt x="8534" y="320"/>
                </a:lnTo>
                <a:lnTo>
                  <a:pt x="8548" y="320"/>
                </a:lnTo>
                <a:lnTo>
                  <a:pt x="8560" y="322"/>
                </a:lnTo>
                <a:close/>
                <a:moveTo>
                  <a:pt x="8116" y="340"/>
                </a:moveTo>
                <a:lnTo>
                  <a:pt x="8116" y="340"/>
                </a:lnTo>
                <a:lnTo>
                  <a:pt x="8110" y="342"/>
                </a:lnTo>
                <a:lnTo>
                  <a:pt x="8108" y="346"/>
                </a:lnTo>
                <a:lnTo>
                  <a:pt x="8108" y="350"/>
                </a:lnTo>
                <a:lnTo>
                  <a:pt x="8108" y="352"/>
                </a:lnTo>
                <a:lnTo>
                  <a:pt x="8112" y="354"/>
                </a:lnTo>
                <a:lnTo>
                  <a:pt x="8116" y="356"/>
                </a:lnTo>
                <a:lnTo>
                  <a:pt x="8120" y="356"/>
                </a:lnTo>
                <a:lnTo>
                  <a:pt x="8126" y="354"/>
                </a:lnTo>
                <a:lnTo>
                  <a:pt x="8134" y="346"/>
                </a:lnTo>
                <a:lnTo>
                  <a:pt x="8136" y="344"/>
                </a:lnTo>
                <a:lnTo>
                  <a:pt x="8136" y="340"/>
                </a:lnTo>
                <a:lnTo>
                  <a:pt x="8134" y="338"/>
                </a:lnTo>
                <a:lnTo>
                  <a:pt x="8130" y="338"/>
                </a:lnTo>
                <a:lnTo>
                  <a:pt x="8116" y="340"/>
                </a:lnTo>
                <a:close/>
                <a:moveTo>
                  <a:pt x="8170" y="368"/>
                </a:moveTo>
                <a:lnTo>
                  <a:pt x="8170" y="368"/>
                </a:lnTo>
                <a:lnTo>
                  <a:pt x="8178" y="366"/>
                </a:lnTo>
                <a:lnTo>
                  <a:pt x="8182" y="364"/>
                </a:lnTo>
                <a:lnTo>
                  <a:pt x="8180" y="360"/>
                </a:lnTo>
                <a:lnTo>
                  <a:pt x="8176" y="356"/>
                </a:lnTo>
                <a:lnTo>
                  <a:pt x="8168" y="354"/>
                </a:lnTo>
                <a:lnTo>
                  <a:pt x="8158" y="352"/>
                </a:lnTo>
                <a:lnTo>
                  <a:pt x="8148" y="352"/>
                </a:lnTo>
                <a:lnTo>
                  <a:pt x="8138" y="356"/>
                </a:lnTo>
                <a:lnTo>
                  <a:pt x="8132" y="360"/>
                </a:lnTo>
                <a:lnTo>
                  <a:pt x="8128" y="362"/>
                </a:lnTo>
                <a:lnTo>
                  <a:pt x="8130" y="364"/>
                </a:lnTo>
                <a:lnTo>
                  <a:pt x="8134" y="366"/>
                </a:lnTo>
                <a:lnTo>
                  <a:pt x="8148" y="366"/>
                </a:lnTo>
                <a:lnTo>
                  <a:pt x="8170" y="368"/>
                </a:lnTo>
                <a:close/>
                <a:moveTo>
                  <a:pt x="8394" y="332"/>
                </a:moveTo>
                <a:lnTo>
                  <a:pt x="8394" y="332"/>
                </a:lnTo>
                <a:lnTo>
                  <a:pt x="8382" y="332"/>
                </a:lnTo>
                <a:lnTo>
                  <a:pt x="8370" y="332"/>
                </a:lnTo>
                <a:lnTo>
                  <a:pt x="8366" y="332"/>
                </a:lnTo>
                <a:lnTo>
                  <a:pt x="8360" y="336"/>
                </a:lnTo>
                <a:lnTo>
                  <a:pt x="8358" y="340"/>
                </a:lnTo>
                <a:lnTo>
                  <a:pt x="8354" y="346"/>
                </a:lnTo>
                <a:lnTo>
                  <a:pt x="8354" y="352"/>
                </a:lnTo>
                <a:lnTo>
                  <a:pt x="8356" y="356"/>
                </a:lnTo>
                <a:lnTo>
                  <a:pt x="8360" y="358"/>
                </a:lnTo>
                <a:lnTo>
                  <a:pt x="8366" y="358"/>
                </a:lnTo>
                <a:lnTo>
                  <a:pt x="8382" y="356"/>
                </a:lnTo>
                <a:lnTo>
                  <a:pt x="8400" y="356"/>
                </a:lnTo>
                <a:lnTo>
                  <a:pt x="8408" y="356"/>
                </a:lnTo>
                <a:lnTo>
                  <a:pt x="8412" y="354"/>
                </a:lnTo>
                <a:lnTo>
                  <a:pt x="8414" y="348"/>
                </a:lnTo>
                <a:lnTo>
                  <a:pt x="8412" y="344"/>
                </a:lnTo>
                <a:lnTo>
                  <a:pt x="8410" y="338"/>
                </a:lnTo>
                <a:lnTo>
                  <a:pt x="8406" y="334"/>
                </a:lnTo>
                <a:lnTo>
                  <a:pt x="8400" y="332"/>
                </a:lnTo>
                <a:lnTo>
                  <a:pt x="8394" y="332"/>
                </a:lnTo>
                <a:close/>
                <a:moveTo>
                  <a:pt x="8414" y="336"/>
                </a:moveTo>
                <a:lnTo>
                  <a:pt x="8414" y="336"/>
                </a:lnTo>
                <a:lnTo>
                  <a:pt x="8420" y="344"/>
                </a:lnTo>
                <a:lnTo>
                  <a:pt x="8428" y="348"/>
                </a:lnTo>
                <a:lnTo>
                  <a:pt x="8440" y="352"/>
                </a:lnTo>
                <a:lnTo>
                  <a:pt x="8446" y="354"/>
                </a:lnTo>
                <a:lnTo>
                  <a:pt x="8450" y="352"/>
                </a:lnTo>
                <a:lnTo>
                  <a:pt x="8452" y="350"/>
                </a:lnTo>
                <a:lnTo>
                  <a:pt x="8452" y="346"/>
                </a:lnTo>
                <a:lnTo>
                  <a:pt x="8454" y="342"/>
                </a:lnTo>
                <a:lnTo>
                  <a:pt x="8456" y="338"/>
                </a:lnTo>
                <a:lnTo>
                  <a:pt x="8462" y="336"/>
                </a:lnTo>
                <a:lnTo>
                  <a:pt x="8470" y="336"/>
                </a:lnTo>
                <a:lnTo>
                  <a:pt x="8488" y="334"/>
                </a:lnTo>
                <a:lnTo>
                  <a:pt x="8492" y="332"/>
                </a:lnTo>
                <a:lnTo>
                  <a:pt x="8494" y="330"/>
                </a:lnTo>
                <a:lnTo>
                  <a:pt x="8492" y="328"/>
                </a:lnTo>
                <a:lnTo>
                  <a:pt x="8488" y="326"/>
                </a:lnTo>
                <a:lnTo>
                  <a:pt x="8468" y="322"/>
                </a:lnTo>
                <a:lnTo>
                  <a:pt x="8444" y="320"/>
                </a:lnTo>
                <a:lnTo>
                  <a:pt x="8422" y="320"/>
                </a:lnTo>
                <a:lnTo>
                  <a:pt x="8414" y="322"/>
                </a:lnTo>
                <a:lnTo>
                  <a:pt x="8410" y="326"/>
                </a:lnTo>
                <a:lnTo>
                  <a:pt x="8410" y="330"/>
                </a:lnTo>
                <a:lnTo>
                  <a:pt x="8414" y="336"/>
                </a:lnTo>
                <a:close/>
                <a:moveTo>
                  <a:pt x="8486" y="354"/>
                </a:moveTo>
                <a:lnTo>
                  <a:pt x="8486" y="354"/>
                </a:lnTo>
                <a:lnTo>
                  <a:pt x="8476" y="356"/>
                </a:lnTo>
                <a:lnTo>
                  <a:pt x="8474" y="360"/>
                </a:lnTo>
                <a:lnTo>
                  <a:pt x="8476" y="362"/>
                </a:lnTo>
                <a:lnTo>
                  <a:pt x="8480" y="362"/>
                </a:lnTo>
                <a:lnTo>
                  <a:pt x="8498" y="364"/>
                </a:lnTo>
                <a:lnTo>
                  <a:pt x="8516" y="362"/>
                </a:lnTo>
                <a:lnTo>
                  <a:pt x="8524" y="362"/>
                </a:lnTo>
                <a:lnTo>
                  <a:pt x="8526" y="360"/>
                </a:lnTo>
                <a:lnTo>
                  <a:pt x="8524" y="356"/>
                </a:lnTo>
                <a:lnTo>
                  <a:pt x="8522" y="354"/>
                </a:lnTo>
                <a:lnTo>
                  <a:pt x="8506" y="352"/>
                </a:lnTo>
                <a:lnTo>
                  <a:pt x="8498" y="352"/>
                </a:lnTo>
                <a:lnTo>
                  <a:pt x="8488" y="352"/>
                </a:lnTo>
                <a:lnTo>
                  <a:pt x="8486" y="354"/>
                </a:lnTo>
                <a:close/>
                <a:moveTo>
                  <a:pt x="8458" y="244"/>
                </a:moveTo>
                <a:lnTo>
                  <a:pt x="8458" y="244"/>
                </a:lnTo>
                <a:lnTo>
                  <a:pt x="8468" y="244"/>
                </a:lnTo>
                <a:lnTo>
                  <a:pt x="8470" y="242"/>
                </a:lnTo>
                <a:lnTo>
                  <a:pt x="8468" y="242"/>
                </a:lnTo>
                <a:lnTo>
                  <a:pt x="8460" y="238"/>
                </a:lnTo>
                <a:lnTo>
                  <a:pt x="8444" y="232"/>
                </a:lnTo>
                <a:lnTo>
                  <a:pt x="8432" y="228"/>
                </a:lnTo>
                <a:lnTo>
                  <a:pt x="8424" y="228"/>
                </a:lnTo>
                <a:lnTo>
                  <a:pt x="8416" y="230"/>
                </a:lnTo>
                <a:lnTo>
                  <a:pt x="8406" y="234"/>
                </a:lnTo>
                <a:lnTo>
                  <a:pt x="8398" y="238"/>
                </a:lnTo>
                <a:lnTo>
                  <a:pt x="8396" y="240"/>
                </a:lnTo>
                <a:lnTo>
                  <a:pt x="8400" y="240"/>
                </a:lnTo>
                <a:lnTo>
                  <a:pt x="8408" y="240"/>
                </a:lnTo>
                <a:lnTo>
                  <a:pt x="8430" y="242"/>
                </a:lnTo>
                <a:lnTo>
                  <a:pt x="8458" y="244"/>
                </a:lnTo>
                <a:close/>
                <a:moveTo>
                  <a:pt x="8344" y="256"/>
                </a:moveTo>
                <a:lnTo>
                  <a:pt x="8344" y="256"/>
                </a:lnTo>
                <a:lnTo>
                  <a:pt x="8348" y="258"/>
                </a:lnTo>
                <a:lnTo>
                  <a:pt x="8352" y="258"/>
                </a:lnTo>
                <a:lnTo>
                  <a:pt x="8360" y="256"/>
                </a:lnTo>
                <a:lnTo>
                  <a:pt x="8368" y="256"/>
                </a:lnTo>
                <a:lnTo>
                  <a:pt x="8374" y="258"/>
                </a:lnTo>
                <a:lnTo>
                  <a:pt x="8380" y="260"/>
                </a:lnTo>
                <a:lnTo>
                  <a:pt x="8384" y="262"/>
                </a:lnTo>
                <a:lnTo>
                  <a:pt x="8388" y="262"/>
                </a:lnTo>
                <a:lnTo>
                  <a:pt x="8398" y="260"/>
                </a:lnTo>
                <a:lnTo>
                  <a:pt x="8412" y="256"/>
                </a:lnTo>
                <a:lnTo>
                  <a:pt x="8436" y="252"/>
                </a:lnTo>
                <a:lnTo>
                  <a:pt x="8440" y="252"/>
                </a:lnTo>
                <a:lnTo>
                  <a:pt x="8440" y="250"/>
                </a:lnTo>
                <a:lnTo>
                  <a:pt x="8428" y="248"/>
                </a:lnTo>
                <a:lnTo>
                  <a:pt x="8386" y="242"/>
                </a:lnTo>
                <a:lnTo>
                  <a:pt x="8380" y="242"/>
                </a:lnTo>
                <a:lnTo>
                  <a:pt x="8376" y="244"/>
                </a:lnTo>
                <a:lnTo>
                  <a:pt x="8376" y="246"/>
                </a:lnTo>
                <a:lnTo>
                  <a:pt x="8378" y="248"/>
                </a:lnTo>
                <a:lnTo>
                  <a:pt x="8382" y="252"/>
                </a:lnTo>
                <a:lnTo>
                  <a:pt x="8380" y="252"/>
                </a:lnTo>
                <a:lnTo>
                  <a:pt x="8376" y="252"/>
                </a:lnTo>
                <a:lnTo>
                  <a:pt x="8350" y="252"/>
                </a:lnTo>
                <a:lnTo>
                  <a:pt x="8342" y="254"/>
                </a:lnTo>
                <a:lnTo>
                  <a:pt x="8344" y="256"/>
                </a:lnTo>
                <a:close/>
                <a:moveTo>
                  <a:pt x="8442" y="270"/>
                </a:moveTo>
                <a:lnTo>
                  <a:pt x="8442" y="270"/>
                </a:lnTo>
                <a:lnTo>
                  <a:pt x="8442" y="272"/>
                </a:lnTo>
                <a:lnTo>
                  <a:pt x="8450" y="276"/>
                </a:lnTo>
                <a:lnTo>
                  <a:pt x="8462" y="278"/>
                </a:lnTo>
                <a:lnTo>
                  <a:pt x="8472" y="278"/>
                </a:lnTo>
                <a:lnTo>
                  <a:pt x="8474" y="278"/>
                </a:lnTo>
                <a:lnTo>
                  <a:pt x="8472" y="276"/>
                </a:lnTo>
                <a:lnTo>
                  <a:pt x="8464" y="270"/>
                </a:lnTo>
                <a:lnTo>
                  <a:pt x="8452" y="268"/>
                </a:lnTo>
                <a:lnTo>
                  <a:pt x="8446" y="268"/>
                </a:lnTo>
                <a:lnTo>
                  <a:pt x="8442" y="270"/>
                </a:lnTo>
                <a:close/>
                <a:moveTo>
                  <a:pt x="8478" y="296"/>
                </a:moveTo>
                <a:lnTo>
                  <a:pt x="8478" y="296"/>
                </a:lnTo>
                <a:lnTo>
                  <a:pt x="8484" y="294"/>
                </a:lnTo>
                <a:lnTo>
                  <a:pt x="8486" y="290"/>
                </a:lnTo>
                <a:lnTo>
                  <a:pt x="8486" y="288"/>
                </a:lnTo>
                <a:lnTo>
                  <a:pt x="8484" y="286"/>
                </a:lnTo>
                <a:lnTo>
                  <a:pt x="8480" y="286"/>
                </a:lnTo>
                <a:lnTo>
                  <a:pt x="8472" y="286"/>
                </a:lnTo>
                <a:lnTo>
                  <a:pt x="8462" y="286"/>
                </a:lnTo>
                <a:lnTo>
                  <a:pt x="8450" y="290"/>
                </a:lnTo>
                <a:lnTo>
                  <a:pt x="8444" y="292"/>
                </a:lnTo>
                <a:lnTo>
                  <a:pt x="8444" y="294"/>
                </a:lnTo>
                <a:lnTo>
                  <a:pt x="8450" y="294"/>
                </a:lnTo>
                <a:lnTo>
                  <a:pt x="8464" y="296"/>
                </a:lnTo>
                <a:lnTo>
                  <a:pt x="8478" y="296"/>
                </a:lnTo>
                <a:close/>
                <a:moveTo>
                  <a:pt x="8372" y="268"/>
                </a:moveTo>
                <a:lnTo>
                  <a:pt x="8372" y="268"/>
                </a:lnTo>
                <a:lnTo>
                  <a:pt x="8370" y="268"/>
                </a:lnTo>
                <a:lnTo>
                  <a:pt x="8372" y="270"/>
                </a:lnTo>
                <a:lnTo>
                  <a:pt x="8378" y="272"/>
                </a:lnTo>
                <a:lnTo>
                  <a:pt x="8388" y="274"/>
                </a:lnTo>
                <a:lnTo>
                  <a:pt x="8400" y="278"/>
                </a:lnTo>
                <a:lnTo>
                  <a:pt x="8416" y="284"/>
                </a:lnTo>
                <a:lnTo>
                  <a:pt x="8426" y="286"/>
                </a:lnTo>
                <a:lnTo>
                  <a:pt x="8444" y="286"/>
                </a:lnTo>
                <a:lnTo>
                  <a:pt x="8456" y="284"/>
                </a:lnTo>
                <a:lnTo>
                  <a:pt x="8458" y="284"/>
                </a:lnTo>
                <a:lnTo>
                  <a:pt x="8456" y="282"/>
                </a:lnTo>
                <a:lnTo>
                  <a:pt x="8432" y="276"/>
                </a:lnTo>
                <a:lnTo>
                  <a:pt x="8418" y="272"/>
                </a:lnTo>
                <a:lnTo>
                  <a:pt x="8400" y="268"/>
                </a:lnTo>
                <a:lnTo>
                  <a:pt x="8384" y="268"/>
                </a:lnTo>
                <a:lnTo>
                  <a:pt x="8372" y="268"/>
                </a:lnTo>
                <a:close/>
                <a:moveTo>
                  <a:pt x="8332" y="280"/>
                </a:moveTo>
                <a:lnTo>
                  <a:pt x="8332" y="280"/>
                </a:lnTo>
                <a:lnTo>
                  <a:pt x="8338" y="282"/>
                </a:lnTo>
                <a:lnTo>
                  <a:pt x="8344" y="284"/>
                </a:lnTo>
                <a:lnTo>
                  <a:pt x="8364" y="288"/>
                </a:lnTo>
                <a:lnTo>
                  <a:pt x="8390" y="294"/>
                </a:lnTo>
                <a:lnTo>
                  <a:pt x="8404" y="298"/>
                </a:lnTo>
                <a:lnTo>
                  <a:pt x="8412" y="302"/>
                </a:lnTo>
                <a:lnTo>
                  <a:pt x="8424" y="300"/>
                </a:lnTo>
                <a:lnTo>
                  <a:pt x="8432" y="296"/>
                </a:lnTo>
                <a:lnTo>
                  <a:pt x="8434" y="294"/>
                </a:lnTo>
                <a:lnTo>
                  <a:pt x="8432" y="294"/>
                </a:lnTo>
                <a:lnTo>
                  <a:pt x="8410" y="286"/>
                </a:lnTo>
                <a:lnTo>
                  <a:pt x="8380" y="276"/>
                </a:lnTo>
                <a:lnTo>
                  <a:pt x="8366" y="274"/>
                </a:lnTo>
                <a:lnTo>
                  <a:pt x="8354" y="274"/>
                </a:lnTo>
                <a:lnTo>
                  <a:pt x="8348" y="274"/>
                </a:lnTo>
                <a:lnTo>
                  <a:pt x="8340" y="274"/>
                </a:lnTo>
                <a:lnTo>
                  <a:pt x="8326" y="268"/>
                </a:lnTo>
                <a:lnTo>
                  <a:pt x="8320" y="266"/>
                </a:lnTo>
                <a:lnTo>
                  <a:pt x="8314" y="266"/>
                </a:lnTo>
                <a:lnTo>
                  <a:pt x="8308" y="268"/>
                </a:lnTo>
                <a:lnTo>
                  <a:pt x="8302" y="272"/>
                </a:lnTo>
                <a:lnTo>
                  <a:pt x="8300" y="274"/>
                </a:lnTo>
                <a:lnTo>
                  <a:pt x="8302" y="276"/>
                </a:lnTo>
                <a:lnTo>
                  <a:pt x="8308" y="278"/>
                </a:lnTo>
                <a:lnTo>
                  <a:pt x="8320" y="278"/>
                </a:lnTo>
                <a:lnTo>
                  <a:pt x="8332" y="280"/>
                </a:lnTo>
                <a:close/>
                <a:moveTo>
                  <a:pt x="8304" y="294"/>
                </a:moveTo>
                <a:lnTo>
                  <a:pt x="8304" y="294"/>
                </a:lnTo>
                <a:lnTo>
                  <a:pt x="8312" y="296"/>
                </a:lnTo>
                <a:lnTo>
                  <a:pt x="8316" y="298"/>
                </a:lnTo>
                <a:lnTo>
                  <a:pt x="8320" y="300"/>
                </a:lnTo>
                <a:lnTo>
                  <a:pt x="8328" y="298"/>
                </a:lnTo>
                <a:lnTo>
                  <a:pt x="8340" y="296"/>
                </a:lnTo>
                <a:lnTo>
                  <a:pt x="8352" y="296"/>
                </a:lnTo>
                <a:lnTo>
                  <a:pt x="8360" y="294"/>
                </a:lnTo>
                <a:lnTo>
                  <a:pt x="8358" y="294"/>
                </a:lnTo>
                <a:lnTo>
                  <a:pt x="8340" y="288"/>
                </a:lnTo>
                <a:lnTo>
                  <a:pt x="8330" y="286"/>
                </a:lnTo>
                <a:lnTo>
                  <a:pt x="8324" y="286"/>
                </a:lnTo>
                <a:lnTo>
                  <a:pt x="8320" y="288"/>
                </a:lnTo>
                <a:lnTo>
                  <a:pt x="8318" y="290"/>
                </a:lnTo>
                <a:lnTo>
                  <a:pt x="8312" y="290"/>
                </a:lnTo>
                <a:lnTo>
                  <a:pt x="8302" y="286"/>
                </a:lnTo>
                <a:lnTo>
                  <a:pt x="8292" y="286"/>
                </a:lnTo>
                <a:lnTo>
                  <a:pt x="8288" y="288"/>
                </a:lnTo>
                <a:lnTo>
                  <a:pt x="8284" y="292"/>
                </a:lnTo>
                <a:lnTo>
                  <a:pt x="8282" y="294"/>
                </a:lnTo>
                <a:lnTo>
                  <a:pt x="8286" y="294"/>
                </a:lnTo>
                <a:lnTo>
                  <a:pt x="8304" y="294"/>
                </a:lnTo>
                <a:close/>
                <a:moveTo>
                  <a:pt x="8370" y="298"/>
                </a:moveTo>
                <a:lnTo>
                  <a:pt x="8370" y="298"/>
                </a:lnTo>
                <a:lnTo>
                  <a:pt x="8350" y="300"/>
                </a:lnTo>
                <a:lnTo>
                  <a:pt x="8346" y="302"/>
                </a:lnTo>
                <a:lnTo>
                  <a:pt x="8350" y="306"/>
                </a:lnTo>
                <a:lnTo>
                  <a:pt x="8358" y="308"/>
                </a:lnTo>
                <a:lnTo>
                  <a:pt x="8372" y="308"/>
                </a:lnTo>
                <a:lnTo>
                  <a:pt x="8398" y="306"/>
                </a:lnTo>
                <a:lnTo>
                  <a:pt x="8402" y="304"/>
                </a:lnTo>
                <a:lnTo>
                  <a:pt x="8404" y="304"/>
                </a:lnTo>
                <a:lnTo>
                  <a:pt x="8398" y="300"/>
                </a:lnTo>
                <a:lnTo>
                  <a:pt x="8384" y="298"/>
                </a:lnTo>
                <a:lnTo>
                  <a:pt x="8370" y="298"/>
                </a:lnTo>
                <a:close/>
                <a:moveTo>
                  <a:pt x="8432" y="314"/>
                </a:moveTo>
                <a:lnTo>
                  <a:pt x="8432" y="314"/>
                </a:lnTo>
                <a:lnTo>
                  <a:pt x="8442" y="314"/>
                </a:lnTo>
                <a:lnTo>
                  <a:pt x="8446" y="314"/>
                </a:lnTo>
                <a:lnTo>
                  <a:pt x="8448" y="312"/>
                </a:lnTo>
                <a:lnTo>
                  <a:pt x="8448" y="310"/>
                </a:lnTo>
                <a:lnTo>
                  <a:pt x="8448" y="308"/>
                </a:lnTo>
                <a:lnTo>
                  <a:pt x="8442" y="306"/>
                </a:lnTo>
                <a:lnTo>
                  <a:pt x="8430" y="306"/>
                </a:lnTo>
                <a:lnTo>
                  <a:pt x="8420" y="308"/>
                </a:lnTo>
                <a:lnTo>
                  <a:pt x="8418" y="308"/>
                </a:lnTo>
                <a:lnTo>
                  <a:pt x="8420" y="310"/>
                </a:lnTo>
                <a:lnTo>
                  <a:pt x="8424" y="312"/>
                </a:lnTo>
                <a:lnTo>
                  <a:pt x="8432" y="314"/>
                </a:lnTo>
                <a:close/>
                <a:moveTo>
                  <a:pt x="8294" y="324"/>
                </a:moveTo>
                <a:lnTo>
                  <a:pt x="8294" y="324"/>
                </a:lnTo>
                <a:lnTo>
                  <a:pt x="8304" y="322"/>
                </a:lnTo>
                <a:lnTo>
                  <a:pt x="8304" y="320"/>
                </a:lnTo>
                <a:lnTo>
                  <a:pt x="8302" y="316"/>
                </a:lnTo>
                <a:lnTo>
                  <a:pt x="8296" y="312"/>
                </a:lnTo>
                <a:lnTo>
                  <a:pt x="8290" y="310"/>
                </a:lnTo>
                <a:lnTo>
                  <a:pt x="8284" y="308"/>
                </a:lnTo>
                <a:lnTo>
                  <a:pt x="8280" y="310"/>
                </a:lnTo>
                <a:lnTo>
                  <a:pt x="8278" y="312"/>
                </a:lnTo>
                <a:lnTo>
                  <a:pt x="8280" y="314"/>
                </a:lnTo>
                <a:lnTo>
                  <a:pt x="8282" y="314"/>
                </a:lnTo>
                <a:lnTo>
                  <a:pt x="8280" y="316"/>
                </a:lnTo>
                <a:lnTo>
                  <a:pt x="8278" y="320"/>
                </a:lnTo>
                <a:lnTo>
                  <a:pt x="8278" y="322"/>
                </a:lnTo>
                <a:lnTo>
                  <a:pt x="8280" y="322"/>
                </a:lnTo>
                <a:lnTo>
                  <a:pt x="8294" y="324"/>
                </a:lnTo>
                <a:close/>
                <a:moveTo>
                  <a:pt x="11820" y="2336"/>
                </a:moveTo>
                <a:lnTo>
                  <a:pt x="11820" y="2336"/>
                </a:lnTo>
                <a:lnTo>
                  <a:pt x="11820" y="2338"/>
                </a:lnTo>
                <a:lnTo>
                  <a:pt x="11824" y="2342"/>
                </a:lnTo>
                <a:lnTo>
                  <a:pt x="11830" y="2348"/>
                </a:lnTo>
                <a:lnTo>
                  <a:pt x="11838" y="2360"/>
                </a:lnTo>
                <a:lnTo>
                  <a:pt x="11840" y="2368"/>
                </a:lnTo>
                <a:lnTo>
                  <a:pt x="11840" y="2374"/>
                </a:lnTo>
                <a:lnTo>
                  <a:pt x="11838" y="2386"/>
                </a:lnTo>
                <a:lnTo>
                  <a:pt x="11832" y="2398"/>
                </a:lnTo>
                <a:lnTo>
                  <a:pt x="11832" y="2404"/>
                </a:lnTo>
                <a:lnTo>
                  <a:pt x="11834" y="2412"/>
                </a:lnTo>
                <a:lnTo>
                  <a:pt x="11836" y="2422"/>
                </a:lnTo>
                <a:lnTo>
                  <a:pt x="11836" y="2436"/>
                </a:lnTo>
                <a:lnTo>
                  <a:pt x="11836" y="2466"/>
                </a:lnTo>
                <a:lnTo>
                  <a:pt x="11832" y="2492"/>
                </a:lnTo>
                <a:lnTo>
                  <a:pt x="11828" y="2504"/>
                </a:lnTo>
                <a:lnTo>
                  <a:pt x="11826" y="2510"/>
                </a:lnTo>
                <a:lnTo>
                  <a:pt x="11824" y="2514"/>
                </a:lnTo>
                <a:lnTo>
                  <a:pt x="11826" y="2520"/>
                </a:lnTo>
                <a:lnTo>
                  <a:pt x="11832" y="2530"/>
                </a:lnTo>
                <a:lnTo>
                  <a:pt x="11834" y="2536"/>
                </a:lnTo>
                <a:lnTo>
                  <a:pt x="11836" y="2544"/>
                </a:lnTo>
                <a:lnTo>
                  <a:pt x="11836" y="2554"/>
                </a:lnTo>
                <a:lnTo>
                  <a:pt x="11830" y="2568"/>
                </a:lnTo>
                <a:lnTo>
                  <a:pt x="11828" y="2578"/>
                </a:lnTo>
                <a:lnTo>
                  <a:pt x="11828" y="2586"/>
                </a:lnTo>
                <a:lnTo>
                  <a:pt x="11830" y="2600"/>
                </a:lnTo>
                <a:lnTo>
                  <a:pt x="11832" y="2612"/>
                </a:lnTo>
                <a:lnTo>
                  <a:pt x="11832" y="2618"/>
                </a:lnTo>
                <a:lnTo>
                  <a:pt x="11830" y="2624"/>
                </a:lnTo>
                <a:lnTo>
                  <a:pt x="11824" y="2634"/>
                </a:lnTo>
                <a:lnTo>
                  <a:pt x="11822" y="2644"/>
                </a:lnTo>
                <a:lnTo>
                  <a:pt x="11824" y="2654"/>
                </a:lnTo>
                <a:lnTo>
                  <a:pt x="11828" y="2666"/>
                </a:lnTo>
                <a:lnTo>
                  <a:pt x="11830" y="2678"/>
                </a:lnTo>
                <a:lnTo>
                  <a:pt x="11832" y="2678"/>
                </a:lnTo>
                <a:lnTo>
                  <a:pt x="11834" y="2676"/>
                </a:lnTo>
                <a:lnTo>
                  <a:pt x="11838" y="2668"/>
                </a:lnTo>
                <a:lnTo>
                  <a:pt x="11842" y="2654"/>
                </a:lnTo>
                <a:lnTo>
                  <a:pt x="11846" y="2642"/>
                </a:lnTo>
                <a:lnTo>
                  <a:pt x="11852" y="2632"/>
                </a:lnTo>
                <a:lnTo>
                  <a:pt x="11854" y="2630"/>
                </a:lnTo>
                <a:lnTo>
                  <a:pt x="11856" y="2630"/>
                </a:lnTo>
                <a:lnTo>
                  <a:pt x="11860" y="2634"/>
                </a:lnTo>
                <a:lnTo>
                  <a:pt x="11864" y="2638"/>
                </a:lnTo>
                <a:lnTo>
                  <a:pt x="11868" y="2638"/>
                </a:lnTo>
                <a:lnTo>
                  <a:pt x="11874" y="2638"/>
                </a:lnTo>
                <a:lnTo>
                  <a:pt x="11880" y="2638"/>
                </a:lnTo>
                <a:lnTo>
                  <a:pt x="11882" y="2642"/>
                </a:lnTo>
                <a:lnTo>
                  <a:pt x="11884" y="2646"/>
                </a:lnTo>
                <a:lnTo>
                  <a:pt x="11886" y="2656"/>
                </a:lnTo>
                <a:lnTo>
                  <a:pt x="11888" y="2664"/>
                </a:lnTo>
                <a:lnTo>
                  <a:pt x="11888" y="2666"/>
                </a:lnTo>
                <a:lnTo>
                  <a:pt x="11890" y="2664"/>
                </a:lnTo>
                <a:lnTo>
                  <a:pt x="11894" y="2652"/>
                </a:lnTo>
                <a:lnTo>
                  <a:pt x="11894" y="2648"/>
                </a:lnTo>
                <a:lnTo>
                  <a:pt x="11892" y="2642"/>
                </a:lnTo>
                <a:lnTo>
                  <a:pt x="11892" y="2634"/>
                </a:lnTo>
                <a:lnTo>
                  <a:pt x="11892" y="2626"/>
                </a:lnTo>
                <a:lnTo>
                  <a:pt x="11890" y="2624"/>
                </a:lnTo>
                <a:lnTo>
                  <a:pt x="11888" y="2626"/>
                </a:lnTo>
                <a:lnTo>
                  <a:pt x="11882" y="2624"/>
                </a:lnTo>
                <a:lnTo>
                  <a:pt x="11878" y="2622"/>
                </a:lnTo>
                <a:lnTo>
                  <a:pt x="11876" y="2618"/>
                </a:lnTo>
                <a:lnTo>
                  <a:pt x="11872" y="2610"/>
                </a:lnTo>
                <a:lnTo>
                  <a:pt x="11868" y="2598"/>
                </a:lnTo>
                <a:lnTo>
                  <a:pt x="11864" y="2594"/>
                </a:lnTo>
                <a:lnTo>
                  <a:pt x="11860" y="2588"/>
                </a:lnTo>
                <a:lnTo>
                  <a:pt x="11856" y="2582"/>
                </a:lnTo>
                <a:lnTo>
                  <a:pt x="11852" y="2572"/>
                </a:lnTo>
                <a:lnTo>
                  <a:pt x="11852" y="2562"/>
                </a:lnTo>
                <a:lnTo>
                  <a:pt x="11854" y="2550"/>
                </a:lnTo>
                <a:lnTo>
                  <a:pt x="11860" y="2528"/>
                </a:lnTo>
                <a:lnTo>
                  <a:pt x="11866" y="2512"/>
                </a:lnTo>
                <a:lnTo>
                  <a:pt x="11870" y="2508"/>
                </a:lnTo>
                <a:lnTo>
                  <a:pt x="11870" y="2502"/>
                </a:lnTo>
                <a:lnTo>
                  <a:pt x="11870" y="2494"/>
                </a:lnTo>
                <a:lnTo>
                  <a:pt x="11872" y="2490"/>
                </a:lnTo>
                <a:lnTo>
                  <a:pt x="11874" y="2486"/>
                </a:lnTo>
                <a:lnTo>
                  <a:pt x="11876" y="2484"/>
                </a:lnTo>
                <a:lnTo>
                  <a:pt x="11882" y="2482"/>
                </a:lnTo>
                <a:lnTo>
                  <a:pt x="11892" y="2480"/>
                </a:lnTo>
                <a:lnTo>
                  <a:pt x="11902" y="2480"/>
                </a:lnTo>
                <a:lnTo>
                  <a:pt x="11914" y="2484"/>
                </a:lnTo>
                <a:lnTo>
                  <a:pt x="11924" y="2494"/>
                </a:lnTo>
                <a:lnTo>
                  <a:pt x="11938" y="2512"/>
                </a:lnTo>
                <a:lnTo>
                  <a:pt x="11940" y="2516"/>
                </a:lnTo>
                <a:lnTo>
                  <a:pt x="11940" y="2510"/>
                </a:lnTo>
                <a:lnTo>
                  <a:pt x="11936" y="2502"/>
                </a:lnTo>
                <a:lnTo>
                  <a:pt x="11930" y="2492"/>
                </a:lnTo>
                <a:lnTo>
                  <a:pt x="11922" y="2482"/>
                </a:lnTo>
                <a:lnTo>
                  <a:pt x="11920" y="2476"/>
                </a:lnTo>
                <a:lnTo>
                  <a:pt x="11920" y="2468"/>
                </a:lnTo>
                <a:lnTo>
                  <a:pt x="11914" y="2450"/>
                </a:lnTo>
                <a:lnTo>
                  <a:pt x="11908" y="2432"/>
                </a:lnTo>
                <a:lnTo>
                  <a:pt x="11902" y="2414"/>
                </a:lnTo>
                <a:lnTo>
                  <a:pt x="11898" y="2404"/>
                </a:lnTo>
                <a:lnTo>
                  <a:pt x="11898" y="2396"/>
                </a:lnTo>
                <a:lnTo>
                  <a:pt x="11896" y="2380"/>
                </a:lnTo>
                <a:lnTo>
                  <a:pt x="11892" y="2368"/>
                </a:lnTo>
                <a:lnTo>
                  <a:pt x="11890" y="2356"/>
                </a:lnTo>
                <a:lnTo>
                  <a:pt x="11888" y="2346"/>
                </a:lnTo>
                <a:lnTo>
                  <a:pt x="11886" y="2344"/>
                </a:lnTo>
                <a:lnTo>
                  <a:pt x="11886" y="2342"/>
                </a:lnTo>
                <a:lnTo>
                  <a:pt x="11882" y="2344"/>
                </a:lnTo>
                <a:lnTo>
                  <a:pt x="11882" y="2346"/>
                </a:lnTo>
                <a:lnTo>
                  <a:pt x="11882" y="2344"/>
                </a:lnTo>
                <a:lnTo>
                  <a:pt x="11882" y="2336"/>
                </a:lnTo>
                <a:lnTo>
                  <a:pt x="11882" y="2328"/>
                </a:lnTo>
                <a:lnTo>
                  <a:pt x="11882" y="2326"/>
                </a:lnTo>
                <a:lnTo>
                  <a:pt x="11882" y="2328"/>
                </a:lnTo>
                <a:lnTo>
                  <a:pt x="11880" y="2328"/>
                </a:lnTo>
                <a:lnTo>
                  <a:pt x="11876" y="2322"/>
                </a:lnTo>
                <a:lnTo>
                  <a:pt x="11876" y="2314"/>
                </a:lnTo>
                <a:lnTo>
                  <a:pt x="11876" y="2308"/>
                </a:lnTo>
                <a:lnTo>
                  <a:pt x="11880" y="2296"/>
                </a:lnTo>
                <a:lnTo>
                  <a:pt x="11884" y="2290"/>
                </a:lnTo>
                <a:lnTo>
                  <a:pt x="11884" y="2282"/>
                </a:lnTo>
                <a:lnTo>
                  <a:pt x="11884" y="2270"/>
                </a:lnTo>
                <a:lnTo>
                  <a:pt x="11882" y="2256"/>
                </a:lnTo>
                <a:lnTo>
                  <a:pt x="11878" y="2240"/>
                </a:lnTo>
                <a:lnTo>
                  <a:pt x="11876" y="2234"/>
                </a:lnTo>
                <a:lnTo>
                  <a:pt x="11876" y="2230"/>
                </a:lnTo>
                <a:lnTo>
                  <a:pt x="11876" y="2228"/>
                </a:lnTo>
                <a:lnTo>
                  <a:pt x="11874" y="2226"/>
                </a:lnTo>
                <a:lnTo>
                  <a:pt x="11872" y="2226"/>
                </a:lnTo>
                <a:lnTo>
                  <a:pt x="11872" y="2222"/>
                </a:lnTo>
                <a:lnTo>
                  <a:pt x="11870" y="2214"/>
                </a:lnTo>
                <a:lnTo>
                  <a:pt x="11868" y="2208"/>
                </a:lnTo>
                <a:lnTo>
                  <a:pt x="11866" y="2204"/>
                </a:lnTo>
                <a:lnTo>
                  <a:pt x="11868" y="2200"/>
                </a:lnTo>
                <a:lnTo>
                  <a:pt x="11872" y="2192"/>
                </a:lnTo>
                <a:lnTo>
                  <a:pt x="11870" y="2188"/>
                </a:lnTo>
                <a:lnTo>
                  <a:pt x="11866" y="2182"/>
                </a:lnTo>
                <a:lnTo>
                  <a:pt x="11862" y="2176"/>
                </a:lnTo>
                <a:lnTo>
                  <a:pt x="11860" y="2172"/>
                </a:lnTo>
                <a:lnTo>
                  <a:pt x="11858" y="2174"/>
                </a:lnTo>
                <a:lnTo>
                  <a:pt x="11854" y="2178"/>
                </a:lnTo>
                <a:lnTo>
                  <a:pt x="11852" y="2180"/>
                </a:lnTo>
                <a:lnTo>
                  <a:pt x="11846" y="2180"/>
                </a:lnTo>
                <a:lnTo>
                  <a:pt x="11844" y="2182"/>
                </a:lnTo>
                <a:lnTo>
                  <a:pt x="11842" y="2182"/>
                </a:lnTo>
                <a:lnTo>
                  <a:pt x="11848" y="2188"/>
                </a:lnTo>
                <a:lnTo>
                  <a:pt x="11854" y="2198"/>
                </a:lnTo>
                <a:lnTo>
                  <a:pt x="11858" y="2202"/>
                </a:lnTo>
                <a:lnTo>
                  <a:pt x="11858" y="2208"/>
                </a:lnTo>
                <a:lnTo>
                  <a:pt x="11856" y="2214"/>
                </a:lnTo>
                <a:lnTo>
                  <a:pt x="11854" y="2216"/>
                </a:lnTo>
                <a:lnTo>
                  <a:pt x="11850" y="2216"/>
                </a:lnTo>
                <a:lnTo>
                  <a:pt x="11850" y="2220"/>
                </a:lnTo>
                <a:lnTo>
                  <a:pt x="11848" y="2222"/>
                </a:lnTo>
                <a:lnTo>
                  <a:pt x="11850" y="2224"/>
                </a:lnTo>
                <a:lnTo>
                  <a:pt x="11854" y="2226"/>
                </a:lnTo>
                <a:lnTo>
                  <a:pt x="11854" y="2228"/>
                </a:lnTo>
                <a:lnTo>
                  <a:pt x="11850" y="2234"/>
                </a:lnTo>
                <a:lnTo>
                  <a:pt x="11846" y="2236"/>
                </a:lnTo>
                <a:lnTo>
                  <a:pt x="11844" y="2236"/>
                </a:lnTo>
                <a:lnTo>
                  <a:pt x="11842" y="2236"/>
                </a:lnTo>
                <a:lnTo>
                  <a:pt x="11840" y="2232"/>
                </a:lnTo>
                <a:lnTo>
                  <a:pt x="11840" y="2228"/>
                </a:lnTo>
                <a:lnTo>
                  <a:pt x="11838" y="2228"/>
                </a:lnTo>
                <a:lnTo>
                  <a:pt x="11834" y="2228"/>
                </a:lnTo>
                <a:lnTo>
                  <a:pt x="11828" y="2232"/>
                </a:lnTo>
                <a:lnTo>
                  <a:pt x="11824" y="2232"/>
                </a:lnTo>
                <a:lnTo>
                  <a:pt x="11822" y="2236"/>
                </a:lnTo>
                <a:lnTo>
                  <a:pt x="11822" y="2244"/>
                </a:lnTo>
                <a:lnTo>
                  <a:pt x="11826" y="2254"/>
                </a:lnTo>
                <a:lnTo>
                  <a:pt x="11826" y="2266"/>
                </a:lnTo>
                <a:lnTo>
                  <a:pt x="11824" y="2278"/>
                </a:lnTo>
                <a:lnTo>
                  <a:pt x="11820" y="2288"/>
                </a:lnTo>
                <a:lnTo>
                  <a:pt x="11816" y="2298"/>
                </a:lnTo>
                <a:lnTo>
                  <a:pt x="11816" y="2302"/>
                </a:lnTo>
                <a:lnTo>
                  <a:pt x="11818" y="2308"/>
                </a:lnTo>
                <a:lnTo>
                  <a:pt x="11816" y="2318"/>
                </a:lnTo>
                <a:lnTo>
                  <a:pt x="11816" y="2322"/>
                </a:lnTo>
                <a:lnTo>
                  <a:pt x="11816" y="2326"/>
                </a:lnTo>
                <a:lnTo>
                  <a:pt x="11818" y="2332"/>
                </a:lnTo>
                <a:lnTo>
                  <a:pt x="11822" y="2334"/>
                </a:lnTo>
                <a:lnTo>
                  <a:pt x="11820" y="2336"/>
                </a:lnTo>
                <a:close/>
                <a:moveTo>
                  <a:pt x="12398" y="2392"/>
                </a:moveTo>
                <a:lnTo>
                  <a:pt x="12398" y="2392"/>
                </a:lnTo>
                <a:lnTo>
                  <a:pt x="12396" y="2392"/>
                </a:lnTo>
                <a:lnTo>
                  <a:pt x="12394" y="2394"/>
                </a:lnTo>
                <a:lnTo>
                  <a:pt x="12392" y="2402"/>
                </a:lnTo>
                <a:lnTo>
                  <a:pt x="12388" y="2410"/>
                </a:lnTo>
                <a:lnTo>
                  <a:pt x="12384" y="2412"/>
                </a:lnTo>
                <a:lnTo>
                  <a:pt x="12380" y="2416"/>
                </a:lnTo>
                <a:lnTo>
                  <a:pt x="12372" y="2418"/>
                </a:lnTo>
                <a:lnTo>
                  <a:pt x="12366" y="2422"/>
                </a:lnTo>
                <a:lnTo>
                  <a:pt x="12364" y="2426"/>
                </a:lnTo>
                <a:lnTo>
                  <a:pt x="12364" y="2428"/>
                </a:lnTo>
                <a:lnTo>
                  <a:pt x="12366" y="2434"/>
                </a:lnTo>
                <a:lnTo>
                  <a:pt x="12368" y="2438"/>
                </a:lnTo>
                <a:lnTo>
                  <a:pt x="12370" y="2438"/>
                </a:lnTo>
                <a:lnTo>
                  <a:pt x="12374" y="2434"/>
                </a:lnTo>
                <a:lnTo>
                  <a:pt x="12378" y="2430"/>
                </a:lnTo>
                <a:lnTo>
                  <a:pt x="12382" y="2428"/>
                </a:lnTo>
                <a:lnTo>
                  <a:pt x="12388" y="2426"/>
                </a:lnTo>
                <a:lnTo>
                  <a:pt x="12392" y="2422"/>
                </a:lnTo>
                <a:lnTo>
                  <a:pt x="12396" y="2418"/>
                </a:lnTo>
                <a:lnTo>
                  <a:pt x="12400" y="2414"/>
                </a:lnTo>
                <a:lnTo>
                  <a:pt x="12402" y="2408"/>
                </a:lnTo>
                <a:lnTo>
                  <a:pt x="12402" y="2396"/>
                </a:lnTo>
                <a:lnTo>
                  <a:pt x="12400" y="2394"/>
                </a:lnTo>
                <a:lnTo>
                  <a:pt x="12398" y="2392"/>
                </a:lnTo>
                <a:close/>
                <a:moveTo>
                  <a:pt x="12802" y="2114"/>
                </a:moveTo>
                <a:lnTo>
                  <a:pt x="12802" y="2114"/>
                </a:lnTo>
                <a:lnTo>
                  <a:pt x="12798" y="2118"/>
                </a:lnTo>
                <a:lnTo>
                  <a:pt x="12798" y="2122"/>
                </a:lnTo>
                <a:lnTo>
                  <a:pt x="12800" y="2128"/>
                </a:lnTo>
                <a:lnTo>
                  <a:pt x="12804" y="2132"/>
                </a:lnTo>
                <a:lnTo>
                  <a:pt x="12814" y="2142"/>
                </a:lnTo>
                <a:lnTo>
                  <a:pt x="12826" y="2154"/>
                </a:lnTo>
                <a:lnTo>
                  <a:pt x="12830" y="2156"/>
                </a:lnTo>
                <a:lnTo>
                  <a:pt x="12830" y="2152"/>
                </a:lnTo>
                <a:lnTo>
                  <a:pt x="12828" y="2146"/>
                </a:lnTo>
                <a:lnTo>
                  <a:pt x="12824" y="2136"/>
                </a:lnTo>
                <a:lnTo>
                  <a:pt x="12820" y="2126"/>
                </a:lnTo>
                <a:lnTo>
                  <a:pt x="12814" y="2118"/>
                </a:lnTo>
                <a:lnTo>
                  <a:pt x="12808" y="2114"/>
                </a:lnTo>
                <a:lnTo>
                  <a:pt x="12804" y="2114"/>
                </a:lnTo>
                <a:lnTo>
                  <a:pt x="12802" y="2114"/>
                </a:lnTo>
                <a:close/>
                <a:moveTo>
                  <a:pt x="12746" y="1878"/>
                </a:moveTo>
                <a:lnTo>
                  <a:pt x="12746" y="1878"/>
                </a:lnTo>
                <a:lnTo>
                  <a:pt x="12744" y="1872"/>
                </a:lnTo>
                <a:lnTo>
                  <a:pt x="12740" y="1870"/>
                </a:lnTo>
                <a:lnTo>
                  <a:pt x="12736" y="1872"/>
                </a:lnTo>
                <a:lnTo>
                  <a:pt x="12730" y="1874"/>
                </a:lnTo>
                <a:lnTo>
                  <a:pt x="12716" y="1884"/>
                </a:lnTo>
                <a:lnTo>
                  <a:pt x="12702" y="1902"/>
                </a:lnTo>
                <a:lnTo>
                  <a:pt x="12700" y="1904"/>
                </a:lnTo>
                <a:lnTo>
                  <a:pt x="12702" y="1904"/>
                </a:lnTo>
                <a:lnTo>
                  <a:pt x="12706" y="1906"/>
                </a:lnTo>
                <a:lnTo>
                  <a:pt x="12722" y="1900"/>
                </a:lnTo>
                <a:lnTo>
                  <a:pt x="12730" y="1896"/>
                </a:lnTo>
                <a:lnTo>
                  <a:pt x="12738" y="1890"/>
                </a:lnTo>
                <a:lnTo>
                  <a:pt x="12744" y="1884"/>
                </a:lnTo>
                <a:lnTo>
                  <a:pt x="12746" y="1878"/>
                </a:lnTo>
                <a:close/>
                <a:moveTo>
                  <a:pt x="13366" y="1070"/>
                </a:moveTo>
                <a:lnTo>
                  <a:pt x="13366" y="1066"/>
                </a:lnTo>
                <a:lnTo>
                  <a:pt x="13438" y="1054"/>
                </a:lnTo>
                <a:lnTo>
                  <a:pt x="13446" y="1054"/>
                </a:lnTo>
                <a:lnTo>
                  <a:pt x="13454" y="1050"/>
                </a:lnTo>
                <a:lnTo>
                  <a:pt x="13458" y="1048"/>
                </a:lnTo>
                <a:lnTo>
                  <a:pt x="13460" y="1044"/>
                </a:lnTo>
                <a:lnTo>
                  <a:pt x="13460" y="1042"/>
                </a:lnTo>
                <a:lnTo>
                  <a:pt x="13458" y="1038"/>
                </a:lnTo>
                <a:lnTo>
                  <a:pt x="13448" y="1030"/>
                </a:lnTo>
                <a:lnTo>
                  <a:pt x="13434" y="1024"/>
                </a:lnTo>
                <a:lnTo>
                  <a:pt x="13418" y="1020"/>
                </a:lnTo>
                <a:lnTo>
                  <a:pt x="13400" y="1016"/>
                </a:lnTo>
                <a:lnTo>
                  <a:pt x="13382" y="1016"/>
                </a:lnTo>
                <a:lnTo>
                  <a:pt x="13366" y="1020"/>
                </a:lnTo>
                <a:lnTo>
                  <a:pt x="13366" y="1018"/>
                </a:lnTo>
                <a:lnTo>
                  <a:pt x="13342" y="1026"/>
                </a:lnTo>
                <a:lnTo>
                  <a:pt x="13332" y="1030"/>
                </a:lnTo>
                <a:lnTo>
                  <a:pt x="13324" y="1036"/>
                </a:lnTo>
                <a:lnTo>
                  <a:pt x="13316" y="1042"/>
                </a:lnTo>
                <a:lnTo>
                  <a:pt x="13310" y="1050"/>
                </a:lnTo>
                <a:lnTo>
                  <a:pt x="13308" y="1056"/>
                </a:lnTo>
                <a:lnTo>
                  <a:pt x="13306" y="1064"/>
                </a:lnTo>
                <a:lnTo>
                  <a:pt x="13306" y="1068"/>
                </a:lnTo>
                <a:lnTo>
                  <a:pt x="13310" y="1072"/>
                </a:lnTo>
                <a:lnTo>
                  <a:pt x="13314" y="1074"/>
                </a:lnTo>
                <a:lnTo>
                  <a:pt x="13322" y="1074"/>
                </a:lnTo>
                <a:lnTo>
                  <a:pt x="13342" y="1074"/>
                </a:lnTo>
                <a:lnTo>
                  <a:pt x="13366" y="1070"/>
                </a:lnTo>
                <a:close/>
                <a:moveTo>
                  <a:pt x="12932" y="1154"/>
                </a:moveTo>
                <a:lnTo>
                  <a:pt x="12932" y="1154"/>
                </a:lnTo>
                <a:lnTo>
                  <a:pt x="12934" y="1152"/>
                </a:lnTo>
                <a:lnTo>
                  <a:pt x="12934" y="1150"/>
                </a:lnTo>
                <a:lnTo>
                  <a:pt x="12934" y="1148"/>
                </a:lnTo>
                <a:lnTo>
                  <a:pt x="12932" y="1146"/>
                </a:lnTo>
                <a:lnTo>
                  <a:pt x="12924" y="1142"/>
                </a:lnTo>
                <a:lnTo>
                  <a:pt x="12912" y="1138"/>
                </a:lnTo>
                <a:lnTo>
                  <a:pt x="12900" y="1136"/>
                </a:lnTo>
                <a:lnTo>
                  <a:pt x="12888" y="1136"/>
                </a:lnTo>
                <a:lnTo>
                  <a:pt x="12878" y="1138"/>
                </a:lnTo>
                <a:lnTo>
                  <a:pt x="12872" y="1140"/>
                </a:lnTo>
                <a:lnTo>
                  <a:pt x="12870" y="1142"/>
                </a:lnTo>
                <a:lnTo>
                  <a:pt x="12870" y="1146"/>
                </a:lnTo>
                <a:lnTo>
                  <a:pt x="12874" y="1150"/>
                </a:lnTo>
                <a:lnTo>
                  <a:pt x="12882" y="1154"/>
                </a:lnTo>
                <a:lnTo>
                  <a:pt x="12890" y="1158"/>
                </a:lnTo>
                <a:lnTo>
                  <a:pt x="12902" y="1160"/>
                </a:lnTo>
                <a:lnTo>
                  <a:pt x="12912" y="1160"/>
                </a:lnTo>
                <a:lnTo>
                  <a:pt x="12924" y="1160"/>
                </a:lnTo>
                <a:lnTo>
                  <a:pt x="12932" y="1154"/>
                </a:lnTo>
                <a:close/>
                <a:moveTo>
                  <a:pt x="11756" y="878"/>
                </a:moveTo>
                <a:lnTo>
                  <a:pt x="11756" y="878"/>
                </a:lnTo>
                <a:lnTo>
                  <a:pt x="11746" y="884"/>
                </a:lnTo>
                <a:lnTo>
                  <a:pt x="11744" y="888"/>
                </a:lnTo>
                <a:lnTo>
                  <a:pt x="11746" y="890"/>
                </a:lnTo>
                <a:lnTo>
                  <a:pt x="11754" y="888"/>
                </a:lnTo>
                <a:lnTo>
                  <a:pt x="11784" y="888"/>
                </a:lnTo>
                <a:lnTo>
                  <a:pt x="11804" y="888"/>
                </a:lnTo>
                <a:lnTo>
                  <a:pt x="11828" y="890"/>
                </a:lnTo>
                <a:lnTo>
                  <a:pt x="11858" y="896"/>
                </a:lnTo>
                <a:lnTo>
                  <a:pt x="11880" y="896"/>
                </a:lnTo>
                <a:lnTo>
                  <a:pt x="11892" y="894"/>
                </a:lnTo>
                <a:lnTo>
                  <a:pt x="11894" y="892"/>
                </a:lnTo>
                <a:lnTo>
                  <a:pt x="11896" y="888"/>
                </a:lnTo>
                <a:lnTo>
                  <a:pt x="11896" y="886"/>
                </a:lnTo>
                <a:lnTo>
                  <a:pt x="11896" y="882"/>
                </a:lnTo>
                <a:lnTo>
                  <a:pt x="11888" y="872"/>
                </a:lnTo>
                <a:lnTo>
                  <a:pt x="11876" y="864"/>
                </a:lnTo>
                <a:lnTo>
                  <a:pt x="11860" y="854"/>
                </a:lnTo>
                <a:lnTo>
                  <a:pt x="11844" y="846"/>
                </a:lnTo>
                <a:lnTo>
                  <a:pt x="11830" y="844"/>
                </a:lnTo>
                <a:lnTo>
                  <a:pt x="11816" y="844"/>
                </a:lnTo>
                <a:lnTo>
                  <a:pt x="11804" y="848"/>
                </a:lnTo>
                <a:lnTo>
                  <a:pt x="11792" y="854"/>
                </a:lnTo>
                <a:lnTo>
                  <a:pt x="11782" y="862"/>
                </a:lnTo>
                <a:lnTo>
                  <a:pt x="11756" y="878"/>
                </a:lnTo>
                <a:close/>
                <a:moveTo>
                  <a:pt x="12060" y="772"/>
                </a:moveTo>
                <a:lnTo>
                  <a:pt x="12060" y="772"/>
                </a:lnTo>
                <a:lnTo>
                  <a:pt x="12086" y="776"/>
                </a:lnTo>
                <a:lnTo>
                  <a:pt x="12106" y="778"/>
                </a:lnTo>
                <a:lnTo>
                  <a:pt x="12152" y="776"/>
                </a:lnTo>
                <a:lnTo>
                  <a:pt x="12164" y="774"/>
                </a:lnTo>
                <a:lnTo>
                  <a:pt x="12176" y="770"/>
                </a:lnTo>
                <a:lnTo>
                  <a:pt x="12182" y="766"/>
                </a:lnTo>
                <a:lnTo>
                  <a:pt x="12188" y="760"/>
                </a:lnTo>
                <a:lnTo>
                  <a:pt x="12190" y="756"/>
                </a:lnTo>
                <a:lnTo>
                  <a:pt x="12188" y="752"/>
                </a:lnTo>
                <a:lnTo>
                  <a:pt x="12184" y="750"/>
                </a:lnTo>
                <a:lnTo>
                  <a:pt x="12176" y="750"/>
                </a:lnTo>
                <a:lnTo>
                  <a:pt x="12168" y="748"/>
                </a:lnTo>
                <a:lnTo>
                  <a:pt x="12164" y="746"/>
                </a:lnTo>
                <a:lnTo>
                  <a:pt x="12154" y="740"/>
                </a:lnTo>
                <a:lnTo>
                  <a:pt x="12148" y="736"/>
                </a:lnTo>
                <a:lnTo>
                  <a:pt x="12142" y="734"/>
                </a:lnTo>
                <a:lnTo>
                  <a:pt x="12132" y="734"/>
                </a:lnTo>
                <a:lnTo>
                  <a:pt x="12120" y="738"/>
                </a:lnTo>
                <a:lnTo>
                  <a:pt x="12108" y="742"/>
                </a:lnTo>
                <a:lnTo>
                  <a:pt x="12102" y="742"/>
                </a:lnTo>
                <a:lnTo>
                  <a:pt x="12100" y="740"/>
                </a:lnTo>
                <a:lnTo>
                  <a:pt x="12100" y="736"/>
                </a:lnTo>
                <a:lnTo>
                  <a:pt x="12098" y="730"/>
                </a:lnTo>
                <a:lnTo>
                  <a:pt x="12092" y="728"/>
                </a:lnTo>
                <a:lnTo>
                  <a:pt x="12082" y="726"/>
                </a:lnTo>
                <a:lnTo>
                  <a:pt x="12062" y="726"/>
                </a:lnTo>
                <a:lnTo>
                  <a:pt x="12044" y="728"/>
                </a:lnTo>
                <a:lnTo>
                  <a:pt x="12030" y="726"/>
                </a:lnTo>
                <a:lnTo>
                  <a:pt x="12020" y="724"/>
                </a:lnTo>
                <a:lnTo>
                  <a:pt x="12016" y="720"/>
                </a:lnTo>
                <a:lnTo>
                  <a:pt x="12012" y="714"/>
                </a:lnTo>
                <a:lnTo>
                  <a:pt x="12010" y="714"/>
                </a:lnTo>
                <a:lnTo>
                  <a:pt x="12008" y="718"/>
                </a:lnTo>
                <a:lnTo>
                  <a:pt x="12000" y="730"/>
                </a:lnTo>
                <a:lnTo>
                  <a:pt x="11998" y="736"/>
                </a:lnTo>
                <a:lnTo>
                  <a:pt x="11998" y="742"/>
                </a:lnTo>
                <a:lnTo>
                  <a:pt x="12002" y="748"/>
                </a:lnTo>
                <a:lnTo>
                  <a:pt x="12014" y="756"/>
                </a:lnTo>
                <a:lnTo>
                  <a:pt x="12032" y="764"/>
                </a:lnTo>
                <a:lnTo>
                  <a:pt x="12060" y="772"/>
                </a:lnTo>
                <a:close/>
                <a:moveTo>
                  <a:pt x="11698" y="782"/>
                </a:moveTo>
                <a:lnTo>
                  <a:pt x="11698" y="782"/>
                </a:lnTo>
                <a:lnTo>
                  <a:pt x="11714" y="788"/>
                </a:lnTo>
                <a:lnTo>
                  <a:pt x="11724" y="788"/>
                </a:lnTo>
                <a:lnTo>
                  <a:pt x="11728" y="784"/>
                </a:lnTo>
                <a:lnTo>
                  <a:pt x="11730" y="780"/>
                </a:lnTo>
                <a:lnTo>
                  <a:pt x="11732" y="774"/>
                </a:lnTo>
                <a:lnTo>
                  <a:pt x="11734" y="770"/>
                </a:lnTo>
                <a:lnTo>
                  <a:pt x="11740" y="768"/>
                </a:lnTo>
                <a:lnTo>
                  <a:pt x="11752" y="770"/>
                </a:lnTo>
                <a:lnTo>
                  <a:pt x="11766" y="772"/>
                </a:lnTo>
                <a:lnTo>
                  <a:pt x="11778" y="772"/>
                </a:lnTo>
                <a:lnTo>
                  <a:pt x="11788" y="770"/>
                </a:lnTo>
                <a:lnTo>
                  <a:pt x="11798" y="766"/>
                </a:lnTo>
                <a:lnTo>
                  <a:pt x="11808" y="762"/>
                </a:lnTo>
                <a:lnTo>
                  <a:pt x="11816" y="760"/>
                </a:lnTo>
                <a:lnTo>
                  <a:pt x="11824" y="760"/>
                </a:lnTo>
                <a:lnTo>
                  <a:pt x="11832" y="764"/>
                </a:lnTo>
                <a:lnTo>
                  <a:pt x="11840" y="770"/>
                </a:lnTo>
                <a:lnTo>
                  <a:pt x="11850" y="772"/>
                </a:lnTo>
                <a:lnTo>
                  <a:pt x="11862" y="772"/>
                </a:lnTo>
                <a:lnTo>
                  <a:pt x="11874" y="768"/>
                </a:lnTo>
                <a:lnTo>
                  <a:pt x="11902" y="760"/>
                </a:lnTo>
                <a:lnTo>
                  <a:pt x="11936" y="750"/>
                </a:lnTo>
                <a:lnTo>
                  <a:pt x="11944" y="746"/>
                </a:lnTo>
                <a:lnTo>
                  <a:pt x="11948" y="742"/>
                </a:lnTo>
                <a:lnTo>
                  <a:pt x="11948" y="738"/>
                </a:lnTo>
                <a:lnTo>
                  <a:pt x="11944" y="734"/>
                </a:lnTo>
                <a:lnTo>
                  <a:pt x="11942" y="730"/>
                </a:lnTo>
                <a:lnTo>
                  <a:pt x="11942" y="726"/>
                </a:lnTo>
                <a:lnTo>
                  <a:pt x="11944" y="724"/>
                </a:lnTo>
                <a:lnTo>
                  <a:pt x="11954" y="722"/>
                </a:lnTo>
                <a:lnTo>
                  <a:pt x="11960" y="722"/>
                </a:lnTo>
                <a:lnTo>
                  <a:pt x="11962" y="720"/>
                </a:lnTo>
                <a:lnTo>
                  <a:pt x="11964" y="718"/>
                </a:lnTo>
                <a:lnTo>
                  <a:pt x="11962" y="716"/>
                </a:lnTo>
                <a:lnTo>
                  <a:pt x="11956" y="710"/>
                </a:lnTo>
                <a:lnTo>
                  <a:pt x="11946" y="706"/>
                </a:lnTo>
                <a:lnTo>
                  <a:pt x="11930" y="700"/>
                </a:lnTo>
                <a:lnTo>
                  <a:pt x="11914" y="696"/>
                </a:lnTo>
                <a:lnTo>
                  <a:pt x="11898" y="696"/>
                </a:lnTo>
                <a:lnTo>
                  <a:pt x="11882" y="696"/>
                </a:lnTo>
                <a:lnTo>
                  <a:pt x="11868" y="698"/>
                </a:lnTo>
                <a:lnTo>
                  <a:pt x="11858" y="694"/>
                </a:lnTo>
                <a:lnTo>
                  <a:pt x="11846" y="690"/>
                </a:lnTo>
                <a:lnTo>
                  <a:pt x="11836" y="682"/>
                </a:lnTo>
                <a:lnTo>
                  <a:pt x="11826" y="676"/>
                </a:lnTo>
                <a:lnTo>
                  <a:pt x="11816" y="672"/>
                </a:lnTo>
                <a:lnTo>
                  <a:pt x="11806" y="670"/>
                </a:lnTo>
                <a:lnTo>
                  <a:pt x="11800" y="672"/>
                </a:lnTo>
                <a:lnTo>
                  <a:pt x="11794" y="674"/>
                </a:lnTo>
                <a:lnTo>
                  <a:pt x="11786" y="678"/>
                </a:lnTo>
                <a:lnTo>
                  <a:pt x="11782" y="686"/>
                </a:lnTo>
                <a:lnTo>
                  <a:pt x="11782" y="692"/>
                </a:lnTo>
                <a:lnTo>
                  <a:pt x="11784" y="696"/>
                </a:lnTo>
                <a:lnTo>
                  <a:pt x="11788" y="706"/>
                </a:lnTo>
                <a:lnTo>
                  <a:pt x="11788" y="710"/>
                </a:lnTo>
                <a:lnTo>
                  <a:pt x="11786" y="712"/>
                </a:lnTo>
                <a:lnTo>
                  <a:pt x="11780" y="712"/>
                </a:lnTo>
                <a:lnTo>
                  <a:pt x="11770" y="708"/>
                </a:lnTo>
                <a:lnTo>
                  <a:pt x="11752" y="698"/>
                </a:lnTo>
                <a:lnTo>
                  <a:pt x="11730" y="684"/>
                </a:lnTo>
                <a:lnTo>
                  <a:pt x="11710" y="672"/>
                </a:lnTo>
                <a:lnTo>
                  <a:pt x="11702" y="668"/>
                </a:lnTo>
                <a:lnTo>
                  <a:pt x="11696" y="666"/>
                </a:lnTo>
                <a:lnTo>
                  <a:pt x="11688" y="666"/>
                </a:lnTo>
                <a:lnTo>
                  <a:pt x="11682" y="668"/>
                </a:lnTo>
                <a:lnTo>
                  <a:pt x="11666" y="674"/>
                </a:lnTo>
                <a:lnTo>
                  <a:pt x="11646" y="688"/>
                </a:lnTo>
                <a:lnTo>
                  <a:pt x="11638" y="694"/>
                </a:lnTo>
                <a:lnTo>
                  <a:pt x="11634" y="702"/>
                </a:lnTo>
                <a:lnTo>
                  <a:pt x="11634" y="708"/>
                </a:lnTo>
                <a:lnTo>
                  <a:pt x="11636" y="714"/>
                </a:lnTo>
                <a:lnTo>
                  <a:pt x="11640" y="724"/>
                </a:lnTo>
                <a:lnTo>
                  <a:pt x="11640" y="728"/>
                </a:lnTo>
                <a:lnTo>
                  <a:pt x="11634" y="732"/>
                </a:lnTo>
                <a:lnTo>
                  <a:pt x="11630" y="736"/>
                </a:lnTo>
                <a:lnTo>
                  <a:pt x="11630" y="740"/>
                </a:lnTo>
                <a:lnTo>
                  <a:pt x="11634" y="746"/>
                </a:lnTo>
                <a:lnTo>
                  <a:pt x="11640" y="754"/>
                </a:lnTo>
                <a:lnTo>
                  <a:pt x="11650" y="760"/>
                </a:lnTo>
                <a:lnTo>
                  <a:pt x="11664" y="768"/>
                </a:lnTo>
                <a:lnTo>
                  <a:pt x="11698" y="782"/>
                </a:lnTo>
                <a:close/>
                <a:moveTo>
                  <a:pt x="11586" y="730"/>
                </a:moveTo>
                <a:lnTo>
                  <a:pt x="11586" y="730"/>
                </a:lnTo>
                <a:lnTo>
                  <a:pt x="11592" y="724"/>
                </a:lnTo>
                <a:lnTo>
                  <a:pt x="11594" y="716"/>
                </a:lnTo>
                <a:lnTo>
                  <a:pt x="11592" y="708"/>
                </a:lnTo>
                <a:lnTo>
                  <a:pt x="11584" y="698"/>
                </a:lnTo>
                <a:lnTo>
                  <a:pt x="11582" y="696"/>
                </a:lnTo>
                <a:lnTo>
                  <a:pt x="11580" y="696"/>
                </a:lnTo>
                <a:lnTo>
                  <a:pt x="11576" y="698"/>
                </a:lnTo>
                <a:lnTo>
                  <a:pt x="11572" y="706"/>
                </a:lnTo>
                <a:lnTo>
                  <a:pt x="11570" y="714"/>
                </a:lnTo>
                <a:lnTo>
                  <a:pt x="11570" y="722"/>
                </a:lnTo>
                <a:lnTo>
                  <a:pt x="11572" y="730"/>
                </a:lnTo>
                <a:lnTo>
                  <a:pt x="11574" y="732"/>
                </a:lnTo>
                <a:lnTo>
                  <a:pt x="11578" y="732"/>
                </a:lnTo>
                <a:lnTo>
                  <a:pt x="11582" y="732"/>
                </a:lnTo>
                <a:lnTo>
                  <a:pt x="11586" y="730"/>
                </a:lnTo>
                <a:close/>
                <a:moveTo>
                  <a:pt x="11080" y="922"/>
                </a:moveTo>
                <a:lnTo>
                  <a:pt x="11080" y="922"/>
                </a:lnTo>
                <a:lnTo>
                  <a:pt x="11108" y="928"/>
                </a:lnTo>
                <a:lnTo>
                  <a:pt x="11130" y="934"/>
                </a:lnTo>
                <a:lnTo>
                  <a:pt x="11156" y="942"/>
                </a:lnTo>
                <a:lnTo>
                  <a:pt x="11188" y="958"/>
                </a:lnTo>
                <a:lnTo>
                  <a:pt x="11198" y="962"/>
                </a:lnTo>
                <a:lnTo>
                  <a:pt x="11202" y="962"/>
                </a:lnTo>
                <a:lnTo>
                  <a:pt x="11204" y="962"/>
                </a:lnTo>
                <a:lnTo>
                  <a:pt x="11204" y="958"/>
                </a:lnTo>
                <a:lnTo>
                  <a:pt x="11202" y="952"/>
                </a:lnTo>
                <a:lnTo>
                  <a:pt x="11204" y="948"/>
                </a:lnTo>
                <a:lnTo>
                  <a:pt x="11210" y="946"/>
                </a:lnTo>
                <a:lnTo>
                  <a:pt x="11220" y="944"/>
                </a:lnTo>
                <a:lnTo>
                  <a:pt x="11226" y="946"/>
                </a:lnTo>
                <a:lnTo>
                  <a:pt x="11256" y="958"/>
                </a:lnTo>
                <a:lnTo>
                  <a:pt x="11280" y="968"/>
                </a:lnTo>
                <a:lnTo>
                  <a:pt x="11300" y="978"/>
                </a:lnTo>
                <a:lnTo>
                  <a:pt x="11308" y="980"/>
                </a:lnTo>
                <a:lnTo>
                  <a:pt x="11316" y="982"/>
                </a:lnTo>
                <a:lnTo>
                  <a:pt x="11322" y="978"/>
                </a:lnTo>
                <a:lnTo>
                  <a:pt x="11328" y="970"/>
                </a:lnTo>
                <a:lnTo>
                  <a:pt x="11328" y="966"/>
                </a:lnTo>
                <a:lnTo>
                  <a:pt x="11328" y="962"/>
                </a:lnTo>
                <a:lnTo>
                  <a:pt x="11324" y="956"/>
                </a:lnTo>
                <a:lnTo>
                  <a:pt x="11318" y="952"/>
                </a:lnTo>
                <a:lnTo>
                  <a:pt x="11310" y="948"/>
                </a:lnTo>
                <a:lnTo>
                  <a:pt x="11304" y="946"/>
                </a:lnTo>
                <a:lnTo>
                  <a:pt x="11300" y="944"/>
                </a:lnTo>
                <a:lnTo>
                  <a:pt x="11300" y="942"/>
                </a:lnTo>
                <a:lnTo>
                  <a:pt x="11302" y="940"/>
                </a:lnTo>
                <a:lnTo>
                  <a:pt x="11312" y="938"/>
                </a:lnTo>
                <a:lnTo>
                  <a:pt x="11320" y="934"/>
                </a:lnTo>
                <a:lnTo>
                  <a:pt x="11320" y="932"/>
                </a:lnTo>
                <a:lnTo>
                  <a:pt x="11314" y="928"/>
                </a:lnTo>
                <a:lnTo>
                  <a:pt x="11306" y="926"/>
                </a:lnTo>
                <a:lnTo>
                  <a:pt x="11298" y="922"/>
                </a:lnTo>
                <a:lnTo>
                  <a:pt x="11294" y="920"/>
                </a:lnTo>
                <a:lnTo>
                  <a:pt x="11294" y="918"/>
                </a:lnTo>
                <a:lnTo>
                  <a:pt x="11296" y="916"/>
                </a:lnTo>
                <a:lnTo>
                  <a:pt x="11306" y="914"/>
                </a:lnTo>
                <a:lnTo>
                  <a:pt x="11316" y="910"/>
                </a:lnTo>
                <a:lnTo>
                  <a:pt x="11318" y="908"/>
                </a:lnTo>
                <a:lnTo>
                  <a:pt x="11318" y="906"/>
                </a:lnTo>
                <a:lnTo>
                  <a:pt x="11316" y="900"/>
                </a:lnTo>
                <a:lnTo>
                  <a:pt x="11306" y="896"/>
                </a:lnTo>
                <a:lnTo>
                  <a:pt x="11280" y="884"/>
                </a:lnTo>
                <a:lnTo>
                  <a:pt x="11252" y="876"/>
                </a:lnTo>
                <a:lnTo>
                  <a:pt x="11240" y="872"/>
                </a:lnTo>
                <a:lnTo>
                  <a:pt x="11232" y="874"/>
                </a:lnTo>
                <a:lnTo>
                  <a:pt x="11224" y="878"/>
                </a:lnTo>
                <a:lnTo>
                  <a:pt x="11218" y="882"/>
                </a:lnTo>
                <a:lnTo>
                  <a:pt x="11214" y="888"/>
                </a:lnTo>
                <a:lnTo>
                  <a:pt x="11210" y="890"/>
                </a:lnTo>
                <a:lnTo>
                  <a:pt x="11208" y="888"/>
                </a:lnTo>
                <a:lnTo>
                  <a:pt x="11204" y="882"/>
                </a:lnTo>
                <a:lnTo>
                  <a:pt x="11200" y="874"/>
                </a:lnTo>
                <a:lnTo>
                  <a:pt x="11196" y="870"/>
                </a:lnTo>
                <a:lnTo>
                  <a:pt x="11190" y="868"/>
                </a:lnTo>
                <a:lnTo>
                  <a:pt x="11184" y="868"/>
                </a:lnTo>
                <a:lnTo>
                  <a:pt x="11168" y="866"/>
                </a:lnTo>
                <a:lnTo>
                  <a:pt x="11158" y="862"/>
                </a:lnTo>
                <a:lnTo>
                  <a:pt x="11146" y="858"/>
                </a:lnTo>
                <a:lnTo>
                  <a:pt x="11134" y="854"/>
                </a:lnTo>
                <a:lnTo>
                  <a:pt x="11120" y="854"/>
                </a:lnTo>
                <a:lnTo>
                  <a:pt x="11104" y="856"/>
                </a:lnTo>
                <a:lnTo>
                  <a:pt x="11092" y="860"/>
                </a:lnTo>
                <a:lnTo>
                  <a:pt x="11082" y="866"/>
                </a:lnTo>
                <a:lnTo>
                  <a:pt x="11076" y="872"/>
                </a:lnTo>
                <a:lnTo>
                  <a:pt x="11074" y="876"/>
                </a:lnTo>
                <a:lnTo>
                  <a:pt x="11074" y="880"/>
                </a:lnTo>
                <a:lnTo>
                  <a:pt x="11076" y="884"/>
                </a:lnTo>
                <a:lnTo>
                  <a:pt x="11080" y="888"/>
                </a:lnTo>
                <a:lnTo>
                  <a:pt x="11082" y="892"/>
                </a:lnTo>
                <a:lnTo>
                  <a:pt x="11084" y="896"/>
                </a:lnTo>
                <a:lnTo>
                  <a:pt x="11084" y="898"/>
                </a:lnTo>
                <a:lnTo>
                  <a:pt x="11084" y="902"/>
                </a:lnTo>
                <a:lnTo>
                  <a:pt x="11078" y="906"/>
                </a:lnTo>
                <a:lnTo>
                  <a:pt x="11072" y="910"/>
                </a:lnTo>
                <a:lnTo>
                  <a:pt x="11068" y="914"/>
                </a:lnTo>
                <a:lnTo>
                  <a:pt x="11066" y="916"/>
                </a:lnTo>
                <a:lnTo>
                  <a:pt x="11068" y="920"/>
                </a:lnTo>
                <a:lnTo>
                  <a:pt x="11080" y="922"/>
                </a:lnTo>
                <a:close/>
                <a:moveTo>
                  <a:pt x="10628" y="824"/>
                </a:moveTo>
                <a:lnTo>
                  <a:pt x="10628" y="824"/>
                </a:lnTo>
                <a:lnTo>
                  <a:pt x="10644" y="828"/>
                </a:lnTo>
                <a:lnTo>
                  <a:pt x="10656" y="828"/>
                </a:lnTo>
                <a:lnTo>
                  <a:pt x="10666" y="824"/>
                </a:lnTo>
                <a:lnTo>
                  <a:pt x="10672" y="818"/>
                </a:lnTo>
                <a:lnTo>
                  <a:pt x="10674" y="810"/>
                </a:lnTo>
                <a:lnTo>
                  <a:pt x="10674" y="808"/>
                </a:lnTo>
                <a:lnTo>
                  <a:pt x="10672" y="804"/>
                </a:lnTo>
                <a:lnTo>
                  <a:pt x="10670" y="802"/>
                </a:lnTo>
                <a:lnTo>
                  <a:pt x="10666" y="800"/>
                </a:lnTo>
                <a:lnTo>
                  <a:pt x="10652" y="796"/>
                </a:lnTo>
                <a:lnTo>
                  <a:pt x="10636" y="796"/>
                </a:lnTo>
                <a:lnTo>
                  <a:pt x="10624" y="798"/>
                </a:lnTo>
                <a:lnTo>
                  <a:pt x="10614" y="800"/>
                </a:lnTo>
                <a:lnTo>
                  <a:pt x="10608" y="804"/>
                </a:lnTo>
                <a:lnTo>
                  <a:pt x="10606" y="808"/>
                </a:lnTo>
                <a:lnTo>
                  <a:pt x="10608" y="812"/>
                </a:lnTo>
                <a:lnTo>
                  <a:pt x="10616" y="818"/>
                </a:lnTo>
                <a:lnTo>
                  <a:pt x="10628" y="824"/>
                </a:lnTo>
                <a:close/>
                <a:moveTo>
                  <a:pt x="10148" y="522"/>
                </a:moveTo>
                <a:lnTo>
                  <a:pt x="10148" y="522"/>
                </a:lnTo>
                <a:lnTo>
                  <a:pt x="10174" y="514"/>
                </a:lnTo>
                <a:lnTo>
                  <a:pt x="10202" y="510"/>
                </a:lnTo>
                <a:lnTo>
                  <a:pt x="10238" y="506"/>
                </a:lnTo>
                <a:lnTo>
                  <a:pt x="10286" y="502"/>
                </a:lnTo>
                <a:lnTo>
                  <a:pt x="10312" y="500"/>
                </a:lnTo>
                <a:lnTo>
                  <a:pt x="10330" y="498"/>
                </a:lnTo>
                <a:lnTo>
                  <a:pt x="10344" y="492"/>
                </a:lnTo>
                <a:lnTo>
                  <a:pt x="10352" y="486"/>
                </a:lnTo>
                <a:lnTo>
                  <a:pt x="10354" y="484"/>
                </a:lnTo>
                <a:lnTo>
                  <a:pt x="10354" y="480"/>
                </a:lnTo>
                <a:lnTo>
                  <a:pt x="10352" y="472"/>
                </a:lnTo>
                <a:lnTo>
                  <a:pt x="10344" y="464"/>
                </a:lnTo>
                <a:lnTo>
                  <a:pt x="10332" y="456"/>
                </a:lnTo>
                <a:lnTo>
                  <a:pt x="10308" y="440"/>
                </a:lnTo>
                <a:lnTo>
                  <a:pt x="10300" y="434"/>
                </a:lnTo>
                <a:lnTo>
                  <a:pt x="10294" y="432"/>
                </a:lnTo>
                <a:lnTo>
                  <a:pt x="10286" y="432"/>
                </a:lnTo>
                <a:lnTo>
                  <a:pt x="10276" y="436"/>
                </a:lnTo>
                <a:lnTo>
                  <a:pt x="10264" y="442"/>
                </a:lnTo>
                <a:lnTo>
                  <a:pt x="10248" y="454"/>
                </a:lnTo>
                <a:lnTo>
                  <a:pt x="10236" y="462"/>
                </a:lnTo>
                <a:lnTo>
                  <a:pt x="10232" y="462"/>
                </a:lnTo>
                <a:lnTo>
                  <a:pt x="10244" y="448"/>
                </a:lnTo>
                <a:lnTo>
                  <a:pt x="10254" y="436"/>
                </a:lnTo>
                <a:lnTo>
                  <a:pt x="10260" y="426"/>
                </a:lnTo>
                <a:lnTo>
                  <a:pt x="10264" y="416"/>
                </a:lnTo>
                <a:lnTo>
                  <a:pt x="10264" y="414"/>
                </a:lnTo>
                <a:lnTo>
                  <a:pt x="10260" y="412"/>
                </a:lnTo>
                <a:lnTo>
                  <a:pt x="10242" y="406"/>
                </a:lnTo>
                <a:lnTo>
                  <a:pt x="10234" y="406"/>
                </a:lnTo>
                <a:lnTo>
                  <a:pt x="10224" y="404"/>
                </a:lnTo>
                <a:lnTo>
                  <a:pt x="10214" y="406"/>
                </a:lnTo>
                <a:lnTo>
                  <a:pt x="10204" y="412"/>
                </a:lnTo>
                <a:lnTo>
                  <a:pt x="10194" y="422"/>
                </a:lnTo>
                <a:lnTo>
                  <a:pt x="10184" y="436"/>
                </a:lnTo>
                <a:lnTo>
                  <a:pt x="10174" y="448"/>
                </a:lnTo>
                <a:lnTo>
                  <a:pt x="10166" y="456"/>
                </a:lnTo>
                <a:lnTo>
                  <a:pt x="10154" y="464"/>
                </a:lnTo>
                <a:lnTo>
                  <a:pt x="10148" y="468"/>
                </a:lnTo>
                <a:lnTo>
                  <a:pt x="10140" y="478"/>
                </a:lnTo>
                <a:lnTo>
                  <a:pt x="10130" y="492"/>
                </a:lnTo>
                <a:lnTo>
                  <a:pt x="10118" y="514"/>
                </a:lnTo>
                <a:lnTo>
                  <a:pt x="10114" y="524"/>
                </a:lnTo>
                <a:lnTo>
                  <a:pt x="10114" y="526"/>
                </a:lnTo>
                <a:lnTo>
                  <a:pt x="10116" y="528"/>
                </a:lnTo>
                <a:lnTo>
                  <a:pt x="10128" y="528"/>
                </a:lnTo>
                <a:lnTo>
                  <a:pt x="10148" y="522"/>
                </a:lnTo>
                <a:close/>
                <a:moveTo>
                  <a:pt x="10046" y="348"/>
                </a:moveTo>
                <a:lnTo>
                  <a:pt x="10046" y="348"/>
                </a:lnTo>
                <a:lnTo>
                  <a:pt x="10020" y="348"/>
                </a:lnTo>
                <a:lnTo>
                  <a:pt x="9990" y="348"/>
                </a:lnTo>
                <a:lnTo>
                  <a:pt x="9972" y="350"/>
                </a:lnTo>
                <a:lnTo>
                  <a:pt x="9956" y="352"/>
                </a:lnTo>
                <a:lnTo>
                  <a:pt x="9942" y="356"/>
                </a:lnTo>
                <a:lnTo>
                  <a:pt x="9930" y="362"/>
                </a:lnTo>
                <a:lnTo>
                  <a:pt x="9904" y="376"/>
                </a:lnTo>
                <a:lnTo>
                  <a:pt x="9878" y="390"/>
                </a:lnTo>
                <a:lnTo>
                  <a:pt x="9870" y="396"/>
                </a:lnTo>
                <a:lnTo>
                  <a:pt x="9866" y="400"/>
                </a:lnTo>
                <a:lnTo>
                  <a:pt x="9866" y="402"/>
                </a:lnTo>
                <a:lnTo>
                  <a:pt x="9868" y="404"/>
                </a:lnTo>
                <a:lnTo>
                  <a:pt x="9872" y="404"/>
                </a:lnTo>
                <a:lnTo>
                  <a:pt x="9884" y="404"/>
                </a:lnTo>
                <a:lnTo>
                  <a:pt x="9900" y="406"/>
                </a:lnTo>
                <a:lnTo>
                  <a:pt x="9908" y="406"/>
                </a:lnTo>
                <a:lnTo>
                  <a:pt x="9912" y="410"/>
                </a:lnTo>
                <a:lnTo>
                  <a:pt x="9914" y="414"/>
                </a:lnTo>
                <a:lnTo>
                  <a:pt x="9914" y="418"/>
                </a:lnTo>
                <a:lnTo>
                  <a:pt x="9914" y="424"/>
                </a:lnTo>
                <a:lnTo>
                  <a:pt x="9918" y="428"/>
                </a:lnTo>
                <a:lnTo>
                  <a:pt x="9926" y="434"/>
                </a:lnTo>
                <a:lnTo>
                  <a:pt x="9934" y="436"/>
                </a:lnTo>
                <a:lnTo>
                  <a:pt x="9944" y="438"/>
                </a:lnTo>
                <a:lnTo>
                  <a:pt x="9962" y="440"/>
                </a:lnTo>
                <a:lnTo>
                  <a:pt x="9988" y="442"/>
                </a:lnTo>
                <a:lnTo>
                  <a:pt x="10006" y="446"/>
                </a:lnTo>
                <a:lnTo>
                  <a:pt x="10026" y="452"/>
                </a:lnTo>
                <a:lnTo>
                  <a:pt x="10048" y="458"/>
                </a:lnTo>
                <a:lnTo>
                  <a:pt x="10068" y="460"/>
                </a:lnTo>
                <a:lnTo>
                  <a:pt x="10088" y="460"/>
                </a:lnTo>
                <a:lnTo>
                  <a:pt x="10106" y="456"/>
                </a:lnTo>
                <a:lnTo>
                  <a:pt x="10120" y="452"/>
                </a:lnTo>
                <a:lnTo>
                  <a:pt x="10130" y="446"/>
                </a:lnTo>
                <a:lnTo>
                  <a:pt x="10132" y="444"/>
                </a:lnTo>
                <a:lnTo>
                  <a:pt x="10132" y="440"/>
                </a:lnTo>
                <a:lnTo>
                  <a:pt x="10132" y="438"/>
                </a:lnTo>
                <a:lnTo>
                  <a:pt x="10128" y="434"/>
                </a:lnTo>
                <a:lnTo>
                  <a:pt x="10126" y="430"/>
                </a:lnTo>
                <a:lnTo>
                  <a:pt x="10124" y="426"/>
                </a:lnTo>
                <a:lnTo>
                  <a:pt x="10124" y="418"/>
                </a:lnTo>
                <a:lnTo>
                  <a:pt x="10128" y="410"/>
                </a:lnTo>
                <a:lnTo>
                  <a:pt x="10132" y="400"/>
                </a:lnTo>
                <a:lnTo>
                  <a:pt x="10138" y="392"/>
                </a:lnTo>
                <a:lnTo>
                  <a:pt x="10140" y="384"/>
                </a:lnTo>
                <a:lnTo>
                  <a:pt x="10140" y="380"/>
                </a:lnTo>
                <a:lnTo>
                  <a:pt x="10140" y="376"/>
                </a:lnTo>
                <a:lnTo>
                  <a:pt x="10138" y="372"/>
                </a:lnTo>
                <a:lnTo>
                  <a:pt x="10134" y="370"/>
                </a:lnTo>
                <a:lnTo>
                  <a:pt x="10126" y="366"/>
                </a:lnTo>
                <a:lnTo>
                  <a:pt x="10122" y="362"/>
                </a:lnTo>
                <a:lnTo>
                  <a:pt x="10118" y="358"/>
                </a:lnTo>
                <a:lnTo>
                  <a:pt x="10114" y="356"/>
                </a:lnTo>
                <a:lnTo>
                  <a:pt x="10108" y="356"/>
                </a:lnTo>
                <a:lnTo>
                  <a:pt x="10102" y="356"/>
                </a:lnTo>
                <a:lnTo>
                  <a:pt x="10074" y="364"/>
                </a:lnTo>
                <a:lnTo>
                  <a:pt x="10058" y="368"/>
                </a:lnTo>
                <a:lnTo>
                  <a:pt x="10050" y="370"/>
                </a:lnTo>
                <a:lnTo>
                  <a:pt x="10050" y="368"/>
                </a:lnTo>
                <a:lnTo>
                  <a:pt x="10048" y="366"/>
                </a:lnTo>
                <a:lnTo>
                  <a:pt x="10050" y="362"/>
                </a:lnTo>
                <a:lnTo>
                  <a:pt x="10052" y="358"/>
                </a:lnTo>
                <a:lnTo>
                  <a:pt x="10054" y="352"/>
                </a:lnTo>
                <a:lnTo>
                  <a:pt x="10052" y="350"/>
                </a:lnTo>
                <a:lnTo>
                  <a:pt x="10046" y="348"/>
                </a:lnTo>
                <a:close/>
                <a:moveTo>
                  <a:pt x="9818" y="352"/>
                </a:moveTo>
                <a:lnTo>
                  <a:pt x="9818" y="352"/>
                </a:lnTo>
                <a:lnTo>
                  <a:pt x="9802" y="352"/>
                </a:lnTo>
                <a:lnTo>
                  <a:pt x="9790" y="354"/>
                </a:lnTo>
                <a:lnTo>
                  <a:pt x="9784" y="356"/>
                </a:lnTo>
                <a:lnTo>
                  <a:pt x="9780" y="360"/>
                </a:lnTo>
                <a:lnTo>
                  <a:pt x="9778" y="364"/>
                </a:lnTo>
                <a:lnTo>
                  <a:pt x="9782" y="368"/>
                </a:lnTo>
                <a:lnTo>
                  <a:pt x="9788" y="372"/>
                </a:lnTo>
                <a:lnTo>
                  <a:pt x="9798" y="374"/>
                </a:lnTo>
                <a:lnTo>
                  <a:pt x="9808" y="376"/>
                </a:lnTo>
                <a:lnTo>
                  <a:pt x="9814" y="380"/>
                </a:lnTo>
                <a:lnTo>
                  <a:pt x="9820" y="386"/>
                </a:lnTo>
                <a:lnTo>
                  <a:pt x="9822" y="388"/>
                </a:lnTo>
                <a:lnTo>
                  <a:pt x="9826" y="388"/>
                </a:lnTo>
                <a:lnTo>
                  <a:pt x="9844" y="386"/>
                </a:lnTo>
                <a:lnTo>
                  <a:pt x="9872" y="380"/>
                </a:lnTo>
                <a:lnTo>
                  <a:pt x="9884" y="374"/>
                </a:lnTo>
                <a:lnTo>
                  <a:pt x="9888" y="372"/>
                </a:lnTo>
                <a:lnTo>
                  <a:pt x="9888" y="370"/>
                </a:lnTo>
                <a:lnTo>
                  <a:pt x="9886" y="366"/>
                </a:lnTo>
                <a:lnTo>
                  <a:pt x="9882" y="364"/>
                </a:lnTo>
                <a:lnTo>
                  <a:pt x="9870" y="362"/>
                </a:lnTo>
                <a:lnTo>
                  <a:pt x="9854" y="358"/>
                </a:lnTo>
                <a:lnTo>
                  <a:pt x="9818" y="352"/>
                </a:lnTo>
                <a:close/>
                <a:moveTo>
                  <a:pt x="9850" y="306"/>
                </a:moveTo>
                <a:lnTo>
                  <a:pt x="9850" y="306"/>
                </a:lnTo>
                <a:lnTo>
                  <a:pt x="9838" y="314"/>
                </a:lnTo>
                <a:lnTo>
                  <a:pt x="9826" y="318"/>
                </a:lnTo>
                <a:lnTo>
                  <a:pt x="9804" y="328"/>
                </a:lnTo>
                <a:lnTo>
                  <a:pt x="9798" y="330"/>
                </a:lnTo>
                <a:lnTo>
                  <a:pt x="9794" y="334"/>
                </a:lnTo>
                <a:lnTo>
                  <a:pt x="9798" y="336"/>
                </a:lnTo>
                <a:lnTo>
                  <a:pt x="9806" y="336"/>
                </a:lnTo>
                <a:lnTo>
                  <a:pt x="9818" y="338"/>
                </a:lnTo>
                <a:lnTo>
                  <a:pt x="9826" y="340"/>
                </a:lnTo>
                <a:lnTo>
                  <a:pt x="9840" y="346"/>
                </a:lnTo>
                <a:lnTo>
                  <a:pt x="9858" y="352"/>
                </a:lnTo>
                <a:lnTo>
                  <a:pt x="9868" y="354"/>
                </a:lnTo>
                <a:lnTo>
                  <a:pt x="9884" y="356"/>
                </a:lnTo>
                <a:lnTo>
                  <a:pt x="9898" y="358"/>
                </a:lnTo>
                <a:lnTo>
                  <a:pt x="9906" y="358"/>
                </a:lnTo>
                <a:lnTo>
                  <a:pt x="9908" y="354"/>
                </a:lnTo>
                <a:lnTo>
                  <a:pt x="9910" y="352"/>
                </a:lnTo>
                <a:lnTo>
                  <a:pt x="9912" y="348"/>
                </a:lnTo>
                <a:lnTo>
                  <a:pt x="9916" y="346"/>
                </a:lnTo>
                <a:lnTo>
                  <a:pt x="9928" y="342"/>
                </a:lnTo>
                <a:lnTo>
                  <a:pt x="9946" y="340"/>
                </a:lnTo>
                <a:lnTo>
                  <a:pt x="9990" y="340"/>
                </a:lnTo>
                <a:lnTo>
                  <a:pt x="10018" y="340"/>
                </a:lnTo>
                <a:lnTo>
                  <a:pt x="10026" y="338"/>
                </a:lnTo>
                <a:lnTo>
                  <a:pt x="10030" y="336"/>
                </a:lnTo>
                <a:lnTo>
                  <a:pt x="10030" y="330"/>
                </a:lnTo>
                <a:lnTo>
                  <a:pt x="10026" y="322"/>
                </a:lnTo>
                <a:lnTo>
                  <a:pt x="10022" y="314"/>
                </a:lnTo>
                <a:lnTo>
                  <a:pt x="10022" y="312"/>
                </a:lnTo>
                <a:lnTo>
                  <a:pt x="10022" y="308"/>
                </a:lnTo>
                <a:lnTo>
                  <a:pt x="10028" y="306"/>
                </a:lnTo>
                <a:lnTo>
                  <a:pt x="10036" y="306"/>
                </a:lnTo>
                <a:lnTo>
                  <a:pt x="10050" y="304"/>
                </a:lnTo>
                <a:lnTo>
                  <a:pt x="10054" y="300"/>
                </a:lnTo>
                <a:lnTo>
                  <a:pt x="10054" y="298"/>
                </a:lnTo>
                <a:lnTo>
                  <a:pt x="10052" y="296"/>
                </a:lnTo>
                <a:lnTo>
                  <a:pt x="10048" y="292"/>
                </a:lnTo>
                <a:lnTo>
                  <a:pt x="10044" y="288"/>
                </a:lnTo>
                <a:lnTo>
                  <a:pt x="10032" y="288"/>
                </a:lnTo>
                <a:lnTo>
                  <a:pt x="10024" y="286"/>
                </a:lnTo>
                <a:lnTo>
                  <a:pt x="10016" y="284"/>
                </a:lnTo>
                <a:lnTo>
                  <a:pt x="10008" y="280"/>
                </a:lnTo>
                <a:lnTo>
                  <a:pt x="9998" y="274"/>
                </a:lnTo>
                <a:lnTo>
                  <a:pt x="9980" y="260"/>
                </a:lnTo>
                <a:lnTo>
                  <a:pt x="9972" y="254"/>
                </a:lnTo>
                <a:lnTo>
                  <a:pt x="9964" y="252"/>
                </a:lnTo>
                <a:lnTo>
                  <a:pt x="9956" y="250"/>
                </a:lnTo>
                <a:lnTo>
                  <a:pt x="9948" y="250"/>
                </a:lnTo>
                <a:lnTo>
                  <a:pt x="9940" y="252"/>
                </a:lnTo>
                <a:lnTo>
                  <a:pt x="9932" y="258"/>
                </a:lnTo>
                <a:lnTo>
                  <a:pt x="9922" y="262"/>
                </a:lnTo>
                <a:lnTo>
                  <a:pt x="9914" y="264"/>
                </a:lnTo>
                <a:lnTo>
                  <a:pt x="9898" y="268"/>
                </a:lnTo>
                <a:lnTo>
                  <a:pt x="9878" y="272"/>
                </a:lnTo>
                <a:lnTo>
                  <a:pt x="9866" y="276"/>
                </a:lnTo>
                <a:lnTo>
                  <a:pt x="9852" y="284"/>
                </a:lnTo>
                <a:lnTo>
                  <a:pt x="9842" y="290"/>
                </a:lnTo>
                <a:lnTo>
                  <a:pt x="9840" y="294"/>
                </a:lnTo>
                <a:lnTo>
                  <a:pt x="9842" y="296"/>
                </a:lnTo>
                <a:lnTo>
                  <a:pt x="9848" y="296"/>
                </a:lnTo>
                <a:lnTo>
                  <a:pt x="9854" y="296"/>
                </a:lnTo>
                <a:lnTo>
                  <a:pt x="9856" y="298"/>
                </a:lnTo>
                <a:lnTo>
                  <a:pt x="9858" y="298"/>
                </a:lnTo>
                <a:lnTo>
                  <a:pt x="9856" y="300"/>
                </a:lnTo>
                <a:lnTo>
                  <a:pt x="9850" y="306"/>
                </a:lnTo>
                <a:close/>
                <a:moveTo>
                  <a:pt x="9800" y="264"/>
                </a:moveTo>
                <a:lnTo>
                  <a:pt x="9800" y="264"/>
                </a:lnTo>
                <a:lnTo>
                  <a:pt x="9798" y="260"/>
                </a:lnTo>
                <a:lnTo>
                  <a:pt x="9792" y="258"/>
                </a:lnTo>
                <a:lnTo>
                  <a:pt x="9772" y="254"/>
                </a:lnTo>
                <a:lnTo>
                  <a:pt x="9750" y="254"/>
                </a:lnTo>
                <a:lnTo>
                  <a:pt x="9744" y="256"/>
                </a:lnTo>
                <a:lnTo>
                  <a:pt x="9740" y="258"/>
                </a:lnTo>
                <a:lnTo>
                  <a:pt x="9740" y="260"/>
                </a:lnTo>
                <a:lnTo>
                  <a:pt x="9740" y="264"/>
                </a:lnTo>
                <a:lnTo>
                  <a:pt x="9746" y="266"/>
                </a:lnTo>
                <a:lnTo>
                  <a:pt x="9756" y="268"/>
                </a:lnTo>
                <a:lnTo>
                  <a:pt x="9768" y="270"/>
                </a:lnTo>
                <a:lnTo>
                  <a:pt x="9790" y="268"/>
                </a:lnTo>
                <a:lnTo>
                  <a:pt x="9798" y="266"/>
                </a:lnTo>
                <a:lnTo>
                  <a:pt x="9800" y="264"/>
                </a:lnTo>
                <a:close/>
                <a:moveTo>
                  <a:pt x="9948" y="604"/>
                </a:moveTo>
                <a:lnTo>
                  <a:pt x="9948" y="604"/>
                </a:lnTo>
                <a:lnTo>
                  <a:pt x="9956" y="608"/>
                </a:lnTo>
                <a:lnTo>
                  <a:pt x="9966" y="608"/>
                </a:lnTo>
                <a:lnTo>
                  <a:pt x="9976" y="606"/>
                </a:lnTo>
                <a:lnTo>
                  <a:pt x="9984" y="602"/>
                </a:lnTo>
                <a:lnTo>
                  <a:pt x="9992" y="598"/>
                </a:lnTo>
                <a:lnTo>
                  <a:pt x="9998" y="594"/>
                </a:lnTo>
                <a:lnTo>
                  <a:pt x="10000" y="590"/>
                </a:lnTo>
                <a:lnTo>
                  <a:pt x="10000" y="586"/>
                </a:lnTo>
                <a:lnTo>
                  <a:pt x="9996" y="586"/>
                </a:lnTo>
                <a:lnTo>
                  <a:pt x="9988" y="586"/>
                </a:lnTo>
                <a:lnTo>
                  <a:pt x="9968" y="590"/>
                </a:lnTo>
                <a:lnTo>
                  <a:pt x="9952" y="598"/>
                </a:lnTo>
                <a:lnTo>
                  <a:pt x="9948" y="602"/>
                </a:lnTo>
                <a:lnTo>
                  <a:pt x="9948" y="604"/>
                </a:lnTo>
                <a:close/>
                <a:moveTo>
                  <a:pt x="12072" y="7092"/>
                </a:moveTo>
                <a:lnTo>
                  <a:pt x="12072" y="7092"/>
                </a:lnTo>
                <a:lnTo>
                  <a:pt x="12074" y="7094"/>
                </a:lnTo>
                <a:lnTo>
                  <a:pt x="12080" y="7094"/>
                </a:lnTo>
                <a:lnTo>
                  <a:pt x="12086" y="7096"/>
                </a:lnTo>
                <a:lnTo>
                  <a:pt x="12090" y="7094"/>
                </a:lnTo>
                <a:lnTo>
                  <a:pt x="12090" y="7090"/>
                </a:lnTo>
                <a:lnTo>
                  <a:pt x="12088" y="7088"/>
                </a:lnTo>
                <a:lnTo>
                  <a:pt x="12082" y="7086"/>
                </a:lnTo>
                <a:lnTo>
                  <a:pt x="12076" y="7088"/>
                </a:lnTo>
                <a:lnTo>
                  <a:pt x="12072" y="7090"/>
                </a:lnTo>
                <a:lnTo>
                  <a:pt x="12072" y="7092"/>
                </a:lnTo>
                <a:close/>
                <a:moveTo>
                  <a:pt x="11908" y="7044"/>
                </a:moveTo>
                <a:lnTo>
                  <a:pt x="11908" y="7044"/>
                </a:lnTo>
                <a:lnTo>
                  <a:pt x="11906" y="7052"/>
                </a:lnTo>
                <a:lnTo>
                  <a:pt x="11906" y="7062"/>
                </a:lnTo>
                <a:lnTo>
                  <a:pt x="11908" y="7070"/>
                </a:lnTo>
                <a:lnTo>
                  <a:pt x="11910" y="7072"/>
                </a:lnTo>
                <a:lnTo>
                  <a:pt x="11912" y="7072"/>
                </a:lnTo>
                <a:lnTo>
                  <a:pt x="11916" y="7068"/>
                </a:lnTo>
                <a:lnTo>
                  <a:pt x="11916" y="7064"/>
                </a:lnTo>
                <a:lnTo>
                  <a:pt x="11916" y="7054"/>
                </a:lnTo>
                <a:lnTo>
                  <a:pt x="11912" y="7046"/>
                </a:lnTo>
                <a:lnTo>
                  <a:pt x="11910" y="7044"/>
                </a:lnTo>
                <a:lnTo>
                  <a:pt x="11908" y="7044"/>
                </a:lnTo>
                <a:close/>
                <a:moveTo>
                  <a:pt x="12082" y="7064"/>
                </a:moveTo>
                <a:lnTo>
                  <a:pt x="12082" y="7064"/>
                </a:lnTo>
                <a:lnTo>
                  <a:pt x="12080" y="7062"/>
                </a:lnTo>
                <a:lnTo>
                  <a:pt x="12076" y="7060"/>
                </a:lnTo>
                <a:lnTo>
                  <a:pt x="12074" y="7054"/>
                </a:lnTo>
                <a:lnTo>
                  <a:pt x="12072" y="7054"/>
                </a:lnTo>
                <a:lnTo>
                  <a:pt x="12070" y="7052"/>
                </a:lnTo>
                <a:lnTo>
                  <a:pt x="12066" y="7056"/>
                </a:lnTo>
                <a:lnTo>
                  <a:pt x="12062" y="7062"/>
                </a:lnTo>
                <a:lnTo>
                  <a:pt x="12064" y="7064"/>
                </a:lnTo>
                <a:lnTo>
                  <a:pt x="12068" y="7066"/>
                </a:lnTo>
                <a:lnTo>
                  <a:pt x="12068" y="7068"/>
                </a:lnTo>
                <a:lnTo>
                  <a:pt x="12072" y="7076"/>
                </a:lnTo>
                <a:lnTo>
                  <a:pt x="12072" y="7080"/>
                </a:lnTo>
                <a:lnTo>
                  <a:pt x="12076" y="7082"/>
                </a:lnTo>
                <a:lnTo>
                  <a:pt x="12080" y="7082"/>
                </a:lnTo>
                <a:lnTo>
                  <a:pt x="12084" y="7080"/>
                </a:lnTo>
                <a:lnTo>
                  <a:pt x="12086" y="7078"/>
                </a:lnTo>
                <a:lnTo>
                  <a:pt x="12084" y="7076"/>
                </a:lnTo>
                <a:lnTo>
                  <a:pt x="12082" y="7074"/>
                </a:lnTo>
                <a:lnTo>
                  <a:pt x="12082" y="7072"/>
                </a:lnTo>
                <a:lnTo>
                  <a:pt x="12084" y="7068"/>
                </a:lnTo>
                <a:lnTo>
                  <a:pt x="12086" y="7066"/>
                </a:lnTo>
                <a:lnTo>
                  <a:pt x="12082" y="7064"/>
                </a:lnTo>
                <a:close/>
                <a:moveTo>
                  <a:pt x="11654" y="6830"/>
                </a:moveTo>
                <a:lnTo>
                  <a:pt x="11654" y="6830"/>
                </a:lnTo>
                <a:lnTo>
                  <a:pt x="11650" y="6828"/>
                </a:lnTo>
                <a:lnTo>
                  <a:pt x="11644" y="6828"/>
                </a:lnTo>
                <a:lnTo>
                  <a:pt x="11636" y="6828"/>
                </a:lnTo>
                <a:lnTo>
                  <a:pt x="11628" y="6830"/>
                </a:lnTo>
                <a:lnTo>
                  <a:pt x="11622" y="6834"/>
                </a:lnTo>
                <a:lnTo>
                  <a:pt x="11616" y="6838"/>
                </a:lnTo>
                <a:lnTo>
                  <a:pt x="11612" y="6842"/>
                </a:lnTo>
                <a:lnTo>
                  <a:pt x="11610" y="6848"/>
                </a:lnTo>
                <a:lnTo>
                  <a:pt x="11614" y="6850"/>
                </a:lnTo>
                <a:lnTo>
                  <a:pt x="11618" y="6852"/>
                </a:lnTo>
                <a:lnTo>
                  <a:pt x="11630" y="6852"/>
                </a:lnTo>
                <a:lnTo>
                  <a:pt x="11644" y="6852"/>
                </a:lnTo>
                <a:lnTo>
                  <a:pt x="11652" y="6850"/>
                </a:lnTo>
                <a:lnTo>
                  <a:pt x="11660" y="6848"/>
                </a:lnTo>
                <a:lnTo>
                  <a:pt x="11668" y="6846"/>
                </a:lnTo>
                <a:lnTo>
                  <a:pt x="11674" y="6846"/>
                </a:lnTo>
                <a:lnTo>
                  <a:pt x="11674" y="6844"/>
                </a:lnTo>
                <a:lnTo>
                  <a:pt x="11674" y="6840"/>
                </a:lnTo>
                <a:lnTo>
                  <a:pt x="11670" y="6838"/>
                </a:lnTo>
                <a:lnTo>
                  <a:pt x="11666" y="6838"/>
                </a:lnTo>
                <a:lnTo>
                  <a:pt x="11660" y="6836"/>
                </a:lnTo>
                <a:lnTo>
                  <a:pt x="11654" y="6830"/>
                </a:lnTo>
                <a:close/>
                <a:moveTo>
                  <a:pt x="12084" y="7156"/>
                </a:moveTo>
                <a:lnTo>
                  <a:pt x="12084" y="7156"/>
                </a:lnTo>
                <a:lnTo>
                  <a:pt x="12086" y="7146"/>
                </a:lnTo>
                <a:lnTo>
                  <a:pt x="12086" y="7136"/>
                </a:lnTo>
                <a:lnTo>
                  <a:pt x="12084" y="7128"/>
                </a:lnTo>
                <a:lnTo>
                  <a:pt x="12082" y="7120"/>
                </a:lnTo>
                <a:lnTo>
                  <a:pt x="12078" y="7114"/>
                </a:lnTo>
                <a:lnTo>
                  <a:pt x="12076" y="7112"/>
                </a:lnTo>
                <a:lnTo>
                  <a:pt x="12074" y="7112"/>
                </a:lnTo>
                <a:lnTo>
                  <a:pt x="12072" y="7114"/>
                </a:lnTo>
                <a:lnTo>
                  <a:pt x="12070" y="7116"/>
                </a:lnTo>
                <a:lnTo>
                  <a:pt x="12068" y="7118"/>
                </a:lnTo>
                <a:lnTo>
                  <a:pt x="12064" y="7116"/>
                </a:lnTo>
                <a:lnTo>
                  <a:pt x="12058" y="7116"/>
                </a:lnTo>
                <a:lnTo>
                  <a:pt x="12056" y="7116"/>
                </a:lnTo>
                <a:lnTo>
                  <a:pt x="12054" y="7120"/>
                </a:lnTo>
                <a:lnTo>
                  <a:pt x="12050" y="7122"/>
                </a:lnTo>
                <a:lnTo>
                  <a:pt x="12048" y="7122"/>
                </a:lnTo>
                <a:lnTo>
                  <a:pt x="12040" y="7122"/>
                </a:lnTo>
                <a:lnTo>
                  <a:pt x="12022" y="7128"/>
                </a:lnTo>
                <a:lnTo>
                  <a:pt x="12010" y="7132"/>
                </a:lnTo>
                <a:lnTo>
                  <a:pt x="12002" y="7132"/>
                </a:lnTo>
                <a:lnTo>
                  <a:pt x="11996" y="7130"/>
                </a:lnTo>
                <a:lnTo>
                  <a:pt x="11990" y="7128"/>
                </a:lnTo>
                <a:lnTo>
                  <a:pt x="11980" y="7120"/>
                </a:lnTo>
                <a:lnTo>
                  <a:pt x="11974" y="7116"/>
                </a:lnTo>
                <a:lnTo>
                  <a:pt x="11966" y="7114"/>
                </a:lnTo>
                <a:lnTo>
                  <a:pt x="11958" y="7114"/>
                </a:lnTo>
                <a:lnTo>
                  <a:pt x="11952" y="7110"/>
                </a:lnTo>
                <a:lnTo>
                  <a:pt x="11944" y="7104"/>
                </a:lnTo>
                <a:lnTo>
                  <a:pt x="11942" y="7104"/>
                </a:lnTo>
                <a:lnTo>
                  <a:pt x="11940" y="7104"/>
                </a:lnTo>
                <a:lnTo>
                  <a:pt x="11936" y="7118"/>
                </a:lnTo>
                <a:lnTo>
                  <a:pt x="11936" y="7126"/>
                </a:lnTo>
                <a:lnTo>
                  <a:pt x="11938" y="7134"/>
                </a:lnTo>
                <a:lnTo>
                  <a:pt x="11946" y="7158"/>
                </a:lnTo>
                <a:lnTo>
                  <a:pt x="11950" y="7168"/>
                </a:lnTo>
                <a:lnTo>
                  <a:pt x="11954" y="7172"/>
                </a:lnTo>
                <a:lnTo>
                  <a:pt x="11958" y="7176"/>
                </a:lnTo>
                <a:lnTo>
                  <a:pt x="11958" y="7184"/>
                </a:lnTo>
                <a:lnTo>
                  <a:pt x="11960" y="7198"/>
                </a:lnTo>
                <a:lnTo>
                  <a:pt x="11962" y="7212"/>
                </a:lnTo>
                <a:lnTo>
                  <a:pt x="11966" y="7226"/>
                </a:lnTo>
                <a:lnTo>
                  <a:pt x="11970" y="7232"/>
                </a:lnTo>
                <a:lnTo>
                  <a:pt x="11976" y="7236"/>
                </a:lnTo>
                <a:lnTo>
                  <a:pt x="11980" y="7240"/>
                </a:lnTo>
                <a:lnTo>
                  <a:pt x="11984" y="7246"/>
                </a:lnTo>
                <a:lnTo>
                  <a:pt x="11988" y="7256"/>
                </a:lnTo>
                <a:lnTo>
                  <a:pt x="11992" y="7264"/>
                </a:lnTo>
                <a:lnTo>
                  <a:pt x="11996" y="7266"/>
                </a:lnTo>
                <a:lnTo>
                  <a:pt x="11998" y="7266"/>
                </a:lnTo>
                <a:lnTo>
                  <a:pt x="12004" y="7264"/>
                </a:lnTo>
                <a:lnTo>
                  <a:pt x="12008" y="7266"/>
                </a:lnTo>
                <a:lnTo>
                  <a:pt x="12022" y="7270"/>
                </a:lnTo>
                <a:lnTo>
                  <a:pt x="12026" y="7270"/>
                </a:lnTo>
                <a:lnTo>
                  <a:pt x="12028" y="7270"/>
                </a:lnTo>
                <a:lnTo>
                  <a:pt x="12030" y="7264"/>
                </a:lnTo>
                <a:lnTo>
                  <a:pt x="12032" y="7258"/>
                </a:lnTo>
                <a:lnTo>
                  <a:pt x="12038" y="7254"/>
                </a:lnTo>
                <a:lnTo>
                  <a:pt x="12040" y="7250"/>
                </a:lnTo>
                <a:lnTo>
                  <a:pt x="12042" y="7246"/>
                </a:lnTo>
                <a:lnTo>
                  <a:pt x="12046" y="7238"/>
                </a:lnTo>
                <a:lnTo>
                  <a:pt x="12046" y="7234"/>
                </a:lnTo>
                <a:lnTo>
                  <a:pt x="12048" y="7232"/>
                </a:lnTo>
                <a:lnTo>
                  <a:pt x="12050" y="7234"/>
                </a:lnTo>
                <a:lnTo>
                  <a:pt x="12050" y="7236"/>
                </a:lnTo>
                <a:lnTo>
                  <a:pt x="12052" y="7238"/>
                </a:lnTo>
                <a:lnTo>
                  <a:pt x="12054" y="7234"/>
                </a:lnTo>
                <a:lnTo>
                  <a:pt x="12056" y="7228"/>
                </a:lnTo>
                <a:lnTo>
                  <a:pt x="12060" y="7228"/>
                </a:lnTo>
                <a:lnTo>
                  <a:pt x="12062" y="7230"/>
                </a:lnTo>
                <a:lnTo>
                  <a:pt x="12064" y="7234"/>
                </a:lnTo>
                <a:lnTo>
                  <a:pt x="12064" y="7236"/>
                </a:lnTo>
                <a:lnTo>
                  <a:pt x="12062" y="7236"/>
                </a:lnTo>
                <a:lnTo>
                  <a:pt x="12058" y="7238"/>
                </a:lnTo>
                <a:lnTo>
                  <a:pt x="12058" y="7240"/>
                </a:lnTo>
                <a:lnTo>
                  <a:pt x="12060" y="7246"/>
                </a:lnTo>
                <a:lnTo>
                  <a:pt x="12068" y="7248"/>
                </a:lnTo>
                <a:lnTo>
                  <a:pt x="12072" y="7248"/>
                </a:lnTo>
                <a:lnTo>
                  <a:pt x="12074" y="7244"/>
                </a:lnTo>
                <a:lnTo>
                  <a:pt x="12072" y="7232"/>
                </a:lnTo>
                <a:lnTo>
                  <a:pt x="12070" y="7218"/>
                </a:lnTo>
                <a:lnTo>
                  <a:pt x="12070" y="7214"/>
                </a:lnTo>
                <a:lnTo>
                  <a:pt x="12072" y="7210"/>
                </a:lnTo>
                <a:lnTo>
                  <a:pt x="12074" y="7208"/>
                </a:lnTo>
                <a:lnTo>
                  <a:pt x="12074" y="7204"/>
                </a:lnTo>
                <a:lnTo>
                  <a:pt x="12074" y="7198"/>
                </a:lnTo>
                <a:lnTo>
                  <a:pt x="12072" y="7192"/>
                </a:lnTo>
                <a:lnTo>
                  <a:pt x="12072" y="7188"/>
                </a:lnTo>
                <a:lnTo>
                  <a:pt x="12076" y="7186"/>
                </a:lnTo>
                <a:lnTo>
                  <a:pt x="12078" y="7184"/>
                </a:lnTo>
                <a:lnTo>
                  <a:pt x="12080" y="7184"/>
                </a:lnTo>
                <a:lnTo>
                  <a:pt x="12082" y="7190"/>
                </a:lnTo>
                <a:lnTo>
                  <a:pt x="12082" y="7194"/>
                </a:lnTo>
                <a:lnTo>
                  <a:pt x="12084" y="7194"/>
                </a:lnTo>
                <a:lnTo>
                  <a:pt x="12086" y="7192"/>
                </a:lnTo>
                <a:lnTo>
                  <a:pt x="12086" y="7188"/>
                </a:lnTo>
                <a:lnTo>
                  <a:pt x="12086" y="7186"/>
                </a:lnTo>
                <a:lnTo>
                  <a:pt x="12084" y="7180"/>
                </a:lnTo>
                <a:lnTo>
                  <a:pt x="12082" y="7170"/>
                </a:lnTo>
                <a:lnTo>
                  <a:pt x="12082" y="7164"/>
                </a:lnTo>
                <a:lnTo>
                  <a:pt x="12084" y="7156"/>
                </a:lnTo>
                <a:close/>
                <a:moveTo>
                  <a:pt x="12280" y="6382"/>
                </a:moveTo>
                <a:lnTo>
                  <a:pt x="12280" y="6382"/>
                </a:lnTo>
                <a:lnTo>
                  <a:pt x="12284" y="6378"/>
                </a:lnTo>
                <a:lnTo>
                  <a:pt x="12284" y="6372"/>
                </a:lnTo>
                <a:lnTo>
                  <a:pt x="12282" y="6364"/>
                </a:lnTo>
                <a:lnTo>
                  <a:pt x="12280" y="6352"/>
                </a:lnTo>
                <a:lnTo>
                  <a:pt x="12280" y="6344"/>
                </a:lnTo>
                <a:lnTo>
                  <a:pt x="12280" y="6334"/>
                </a:lnTo>
                <a:lnTo>
                  <a:pt x="12280" y="6318"/>
                </a:lnTo>
                <a:lnTo>
                  <a:pt x="12278" y="6316"/>
                </a:lnTo>
                <a:lnTo>
                  <a:pt x="12276" y="6314"/>
                </a:lnTo>
                <a:lnTo>
                  <a:pt x="12274" y="6312"/>
                </a:lnTo>
                <a:lnTo>
                  <a:pt x="12272" y="6310"/>
                </a:lnTo>
                <a:lnTo>
                  <a:pt x="12268" y="6304"/>
                </a:lnTo>
                <a:lnTo>
                  <a:pt x="12266" y="6296"/>
                </a:lnTo>
                <a:lnTo>
                  <a:pt x="12264" y="6284"/>
                </a:lnTo>
                <a:lnTo>
                  <a:pt x="12260" y="6276"/>
                </a:lnTo>
                <a:lnTo>
                  <a:pt x="12252" y="6264"/>
                </a:lnTo>
                <a:lnTo>
                  <a:pt x="12242" y="6252"/>
                </a:lnTo>
                <a:lnTo>
                  <a:pt x="12230" y="6236"/>
                </a:lnTo>
                <a:lnTo>
                  <a:pt x="12222" y="6224"/>
                </a:lnTo>
                <a:lnTo>
                  <a:pt x="12218" y="6222"/>
                </a:lnTo>
                <a:lnTo>
                  <a:pt x="12216" y="6222"/>
                </a:lnTo>
                <a:lnTo>
                  <a:pt x="12214" y="6220"/>
                </a:lnTo>
                <a:lnTo>
                  <a:pt x="12210" y="6218"/>
                </a:lnTo>
                <a:lnTo>
                  <a:pt x="12204" y="6214"/>
                </a:lnTo>
                <a:lnTo>
                  <a:pt x="12196" y="6206"/>
                </a:lnTo>
                <a:lnTo>
                  <a:pt x="12190" y="6194"/>
                </a:lnTo>
                <a:lnTo>
                  <a:pt x="12186" y="6184"/>
                </a:lnTo>
                <a:lnTo>
                  <a:pt x="12184" y="6174"/>
                </a:lnTo>
                <a:lnTo>
                  <a:pt x="12184" y="6166"/>
                </a:lnTo>
                <a:lnTo>
                  <a:pt x="12184" y="6150"/>
                </a:lnTo>
                <a:lnTo>
                  <a:pt x="12184" y="6144"/>
                </a:lnTo>
                <a:lnTo>
                  <a:pt x="12182" y="6138"/>
                </a:lnTo>
                <a:lnTo>
                  <a:pt x="12178" y="6136"/>
                </a:lnTo>
                <a:lnTo>
                  <a:pt x="12176" y="6136"/>
                </a:lnTo>
                <a:lnTo>
                  <a:pt x="12172" y="6140"/>
                </a:lnTo>
                <a:lnTo>
                  <a:pt x="12172" y="6142"/>
                </a:lnTo>
                <a:lnTo>
                  <a:pt x="12170" y="6144"/>
                </a:lnTo>
                <a:lnTo>
                  <a:pt x="12166" y="6140"/>
                </a:lnTo>
                <a:lnTo>
                  <a:pt x="12160" y="6134"/>
                </a:lnTo>
                <a:lnTo>
                  <a:pt x="12154" y="6130"/>
                </a:lnTo>
                <a:lnTo>
                  <a:pt x="12152" y="6128"/>
                </a:lnTo>
                <a:lnTo>
                  <a:pt x="12150" y="6132"/>
                </a:lnTo>
                <a:lnTo>
                  <a:pt x="12150" y="6136"/>
                </a:lnTo>
                <a:lnTo>
                  <a:pt x="12150" y="6142"/>
                </a:lnTo>
                <a:lnTo>
                  <a:pt x="12148" y="6144"/>
                </a:lnTo>
                <a:lnTo>
                  <a:pt x="12146" y="6144"/>
                </a:lnTo>
                <a:lnTo>
                  <a:pt x="12140" y="6140"/>
                </a:lnTo>
                <a:lnTo>
                  <a:pt x="12134" y="6132"/>
                </a:lnTo>
                <a:lnTo>
                  <a:pt x="12132" y="6126"/>
                </a:lnTo>
                <a:lnTo>
                  <a:pt x="12132" y="6120"/>
                </a:lnTo>
                <a:lnTo>
                  <a:pt x="12132" y="6114"/>
                </a:lnTo>
                <a:lnTo>
                  <a:pt x="12134" y="6104"/>
                </a:lnTo>
                <a:lnTo>
                  <a:pt x="12134" y="6100"/>
                </a:lnTo>
                <a:lnTo>
                  <a:pt x="12132" y="6092"/>
                </a:lnTo>
                <a:lnTo>
                  <a:pt x="12128" y="6086"/>
                </a:lnTo>
                <a:lnTo>
                  <a:pt x="12122" y="6078"/>
                </a:lnTo>
                <a:lnTo>
                  <a:pt x="12110" y="6062"/>
                </a:lnTo>
                <a:lnTo>
                  <a:pt x="12100" y="6050"/>
                </a:lnTo>
                <a:lnTo>
                  <a:pt x="12100" y="6048"/>
                </a:lnTo>
                <a:lnTo>
                  <a:pt x="12102" y="6046"/>
                </a:lnTo>
                <a:lnTo>
                  <a:pt x="12106" y="6046"/>
                </a:lnTo>
                <a:lnTo>
                  <a:pt x="12110" y="6044"/>
                </a:lnTo>
                <a:lnTo>
                  <a:pt x="12110" y="6042"/>
                </a:lnTo>
                <a:lnTo>
                  <a:pt x="12110" y="6038"/>
                </a:lnTo>
                <a:lnTo>
                  <a:pt x="12106" y="6034"/>
                </a:lnTo>
                <a:lnTo>
                  <a:pt x="12100" y="6028"/>
                </a:lnTo>
                <a:lnTo>
                  <a:pt x="12092" y="6022"/>
                </a:lnTo>
                <a:lnTo>
                  <a:pt x="12080" y="6018"/>
                </a:lnTo>
                <a:lnTo>
                  <a:pt x="12070" y="6012"/>
                </a:lnTo>
                <a:lnTo>
                  <a:pt x="12062" y="6008"/>
                </a:lnTo>
                <a:lnTo>
                  <a:pt x="12058" y="6004"/>
                </a:lnTo>
                <a:lnTo>
                  <a:pt x="12056" y="6000"/>
                </a:lnTo>
                <a:lnTo>
                  <a:pt x="12054" y="5996"/>
                </a:lnTo>
                <a:lnTo>
                  <a:pt x="12050" y="5992"/>
                </a:lnTo>
                <a:lnTo>
                  <a:pt x="12044" y="5988"/>
                </a:lnTo>
                <a:lnTo>
                  <a:pt x="12034" y="5986"/>
                </a:lnTo>
                <a:lnTo>
                  <a:pt x="12024" y="5982"/>
                </a:lnTo>
                <a:lnTo>
                  <a:pt x="12016" y="5978"/>
                </a:lnTo>
                <a:lnTo>
                  <a:pt x="12012" y="5972"/>
                </a:lnTo>
                <a:lnTo>
                  <a:pt x="12008" y="5968"/>
                </a:lnTo>
                <a:lnTo>
                  <a:pt x="12004" y="5954"/>
                </a:lnTo>
                <a:lnTo>
                  <a:pt x="12002" y="5948"/>
                </a:lnTo>
                <a:lnTo>
                  <a:pt x="11998" y="5942"/>
                </a:lnTo>
                <a:lnTo>
                  <a:pt x="11996" y="5934"/>
                </a:lnTo>
                <a:lnTo>
                  <a:pt x="11994" y="5926"/>
                </a:lnTo>
                <a:lnTo>
                  <a:pt x="11994" y="5904"/>
                </a:lnTo>
                <a:lnTo>
                  <a:pt x="11992" y="5892"/>
                </a:lnTo>
                <a:lnTo>
                  <a:pt x="11990" y="5880"/>
                </a:lnTo>
                <a:lnTo>
                  <a:pt x="11986" y="5868"/>
                </a:lnTo>
                <a:lnTo>
                  <a:pt x="11978" y="5856"/>
                </a:lnTo>
                <a:lnTo>
                  <a:pt x="11974" y="5852"/>
                </a:lnTo>
                <a:lnTo>
                  <a:pt x="11972" y="5846"/>
                </a:lnTo>
                <a:lnTo>
                  <a:pt x="11968" y="5832"/>
                </a:lnTo>
                <a:lnTo>
                  <a:pt x="11968" y="5818"/>
                </a:lnTo>
                <a:lnTo>
                  <a:pt x="11968" y="5804"/>
                </a:lnTo>
                <a:lnTo>
                  <a:pt x="11966" y="5790"/>
                </a:lnTo>
                <a:lnTo>
                  <a:pt x="11964" y="5776"/>
                </a:lnTo>
                <a:lnTo>
                  <a:pt x="11960" y="5766"/>
                </a:lnTo>
                <a:lnTo>
                  <a:pt x="11958" y="5760"/>
                </a:lnTo>
                <a:lnTo>
                  <a:pt x="11952" y="5758"/>
                </a:lnTo>
                <a:lnTo>
                  <a:pt x="11944" y="5750"/>
                </a:lnTo>
                <a:lnTo>
                  <a:pt x="11938" y="5744"/>
                </a:lnTo>
                <a:lnTo>
                  <a:pt x="11932" y="5732"/>
                </a:lnTo>
                <a:lnTo>
                  <a:pt x="11930" y="5728"/>
                </a:lnTo>
                <a:lnTo>
                  <a:pt x="11928" y="5728"/>
                </a:lnTo>
                <a:lnTo>
                  <a:pt x="11924" y="5730"/>
                </a:lnTo>
                <a:lnTo>
                  <a:pt x="11920" y="5736"/>
                </a:lnTo>
                <a:lnTo>
                  <a:pt x="11914" y="5742"/>
                </a:lnTo>
                <a:lnTo>
                  <a:pt x="11910" y="5744"/>
                </a:lnTo>
                <a:lnTo>
                  <a:pt x="11906" y="5740"/>
                </a:lnTo>
                <a:lnTo>
                  <a:pt x="11902" y="5736"/>
                </a:lnTo>
                <a:lnTo>
                  <a:pt x="11898" y="5728"/>
                </a:lnTo>
                <a:lnTo>
                  <a:pt x="11896" y="5720"/>
                </a:lnTo>
                <a:lnTo>
                  <a:pt x="11894" y="5704"/>
                </a:lnTo>
                <a:lnTo>
                  <a:pt x="11894" y="5690"/>
                </a:lnTo>
                <a:lnTo>
                  <a:pt x="11894" y="5674"/>
                </a:lnTo>
                <a:lnTo>
                  <a:pt x="11890" y="5660"/>
                </a:lnTo>
                <a:lnTo>
                  <a:pt x="11886" y="5652"/>
                </a:lnTo>
                <a:lnTo>
                  <a:pt x="11882" y="5646"/>
                </a:lnTo>
                <a:lnTo>
                  <a:pt x="11878" y="5640"/>
                </a:lnTo>
                <a:lnTo>
                  <a:pt x="11876" y="5636"/>
                </a:lnTo>
                <a:lnTo>
                  <a:pt x="11878" y="5628"/>
                </a:lnTo>
                <a:lnTo>
                  <a:pt x="11878" y="5622"/>
                </a:lnTo>
                <a:lnTo>
                  <a:pt x="11878" y="5620"/>
                </a:lnTo>
                <a:lnTo>
                  <a:pt x="11874" y="5618"/>
                </a:lnTo>
                <a:lnTo>
                  <a:pt x="11870" y="5616"/>
                </a:lnTo>
                <a:lnTo>
                  <a:pt x="11868" y="5612"/>
                </a:lnTo>
                <a:lnTo>
                  <a:pt x="11864" y="5602"/>
                </a:lnTo>
                <a:lnTo>
                  <a:pt x="11862" y="5588"/>
                </a:lnTo>
                <a:lnTo>
                  <a:pt x="11860" y="5572"/>
                </a:lnTo>
                <a:lnTo>
                  <a:pt x="11858" y="5566"/>
                </a:lnTo>
                <a:lnTo>
                  <a:pt x="11854" y="5562"/>
                </a:lnTo>
                <a:lnTo>
                  <a:pt x="11850" y="5560"/>
                </a:lnTo>
                <a:lnTo>
                  <a:pt x="11846" y="5560"/>
                </a:lnTo>
                <a:lnTo>
                  <a:pt x="11842" y="5562"/>
                </a:lnTo>
                <a:lnTo>
                  <a:pt x="11840" y="5566"/>
                </a:lnTo>
                <a:lnTo>
                  <a:pt x="11838" y="5570"/>
                </a:lnTo>
                <a:lnTo>
                  <a:pt x="11836" y="5578"/>
                </a:lnTo>
                <a:lnTo>
                  <a:pt x="11834" y="5592"/>
                </a:lnTo>
                <a:lnTo>
                  <a:pt x="11832" y="5602"/>
                </a:lnTo>
                <a:lnTo>
                  <a:pt x="11820" y="5632"/>
                </a:lnTo>
                <a:lnTo>
                  <a:pt x="11816" y="5642"/>
                </a:lnTo>
                <a:lnTo>
                  <a:pt x="11816" y="5648"/>
                </a:lnTo>
                <a:lnTo>
                  <a:pt x="11818" y="5650"/>
                </a:lnTo>
                <a:lnTo>
                  <a:pt x="11820" y="5652"/>
                </a:lnTo>
                <a:lnTo>
                  <a:pt x="11824" y="5654"/>
                </a:lnTo>
                <a:lnTo>
                  <a:pt x="11822" y="5656"/>
                </a:lnTo>
                <a:lnTo>
                  <a:pt x="11820" y="5660"/>
                </a:lnTo>
                <a:lnTo>
                  <a:pt x="11814" y="5668"/>
                </a:lnTo>
                <a:lnTo>
                  <a:pt x="11814" y="5676"/>
                </a:lnTo>
                <a:lnTo>
                  <a:pt x="11814" y="5684"/>
                </a:lnTo>
                <a:lnTo>
                  <a:pt x="11810" y="5698"/>
                </a:lnTo>
                <a:lnTo>
                  <a:pt x="11808" y="5706"/>
                </a:lnTo>
                <a:lnTo>
                  <a:pt x="11808" y="5716"/>
                </a:lnTo>
                <a:lnTo>
                  <a:pt x="11810" y="5738"/>
                </a:lnTo>
                <a:lnTo>
                  <a:pt x="11814" y="5762"/>
                </a:lnTo>
                <a:lnTo>
                  <a:pt x="11814" y="5776"/>
                </a:lnTo>
                <a:lnTo>
                  <a:pt x="11812" y="5788"/>
                </a:lnTo>
                <a:lnTo>
                  <a:pt x="11808" y="5808"/>
                </a:lnTo>
                <a:lnTo>
                  <a:pt x="11806" y="5820"/>
                </a:lnTo>
                <a:lnTo>
                  <a:pt x="11806" y="5830"/>
                </a:lnTo>
                <a:lnTo>
                  <a:pt x="11800" y="5844"/>
                </a:lnTo>
                <a:lnTo>
                  <a:pt x="11794" y="5856"/>
                </a:lnTo>
                <a:lnTo>
                  <a:pt x="11790" y="5864"/>
                </a:lnTo>
                <a:lnTo>
                  <a:pt x="11788" y="5878"/>
                </a:lnTo>
                <a:lnTo>
                  <a:pt x="11784" y="5890"/>
                </a:lnTo>
                <a:lnTo>
                  <a:pt x="11780" y="5896"/>
                </a:lnTo>
                <a:lnTo>
                  <a:pt x="11774" y="5902"/>
                </a:lnTo>
                <a:lnTo>
                  <a:pt x="11766" y="5906"/>
                </a:lnTo>
                <a:lnTo>
                  <a:pt x="11758" y="5906"/>
                </a:lnTo>
                <a:lnTo>
                  <a:pt x="11748" y="5904"/>
                </a:lnTo>
                <a:lnTo>
                  <a:pt x="11738" y="5900"/>
                </a:lnTo>
                <a:lnTo>
                  <a:pt x="11730" y="5894"/>
                </a:lnTo>
                <a:lnTo>
                  <a:pt x="11722" y="5888"/>
                </a:lnTo>
                <a:lnTo>
                  <a:pt x="11716" y="5880"/>
                </a:lnTo>
                <a:lnTo>
                  <a:pt x="11714" y="5876"/>
                </a:lnTo>
                <a:lnTo>
                  <a:pt x="11710" y="5870"/>
                </a:lnTo>
                <a:lnTo>
                  <a:pt x="11708" y="5866"/>
                </a:lnTo>
                <a:lnTo>
                  <a:pt x="11698" y="5862"/>
                </a:lnTo>
                <a:lnTo>
                  <a:pt x="11692" y="5862"/>
                </a:lnTo>
                <a:lnTo>
                  <a:pt x="11684" y="5858"/>
                </a:lnTo>
                <a:lnTo>
                  <a:pt x="11674" y="5850"/>
                </a:lnTo>
                <a:lnTo>
                  <a:pt x="11662" y="5840"/>
                </a:lnTo>
                <a:lnTo>
                  <a:pt x="11648" y="5828"/>
                </a:lnTo>
                <a:lnTo>
                  <a:pt x="11640" y="5822"/>
                </a:lnTo>
                <a:lnTo>
                  <a:pt x="11632" y="5818"/>
                </a:lnTo>
                <a:lnTo>
                  <a:pt x="11626" y="5816"/>
                </a:lnTo>
                <a:lnTo>
                  <a:pt x="11618" y="5814"/>
                </a:lnTo>
                <a:lnTo>
                  <a:pt x="11612" y="5812"/>
                </a:lnTo>
                <a:lnTo>
                  <a:pt x="11604" y="5804"/>
                </a:lnTo>
                <a:lnTo>
                  <a:pt x="11592" y="5792"/>
                </a:lnTo>
                <a:lnTo>
                  <a:pt x="11582" y="5784"/>
                </a:lnTo>
                <a:lnTo>
                  <a:pt x="11570" y="5772"/>
                </a:lnTo>
                <a:lnTo>
                  <a:pt x="11566" y="5766"/>
                </a:lnTo>
                <a:lnTo>
                  <a:pt x="11568" y="5760"/>
                </a:lnTo>
                <a:lnTo>
                  <a:pt x="11572" y="5752"/>
                </a:lnTo>
                <a:lnTo>
                  <a:pt x="11578" y="5738"/>
                </a:lnTo>
                <a:lnTo>
                  <a:pt x="11586" y="5724"/>
                </a:lnTo>
                <a:lnTo>
                  <a:pt x="11590" y="5714"/>
                </a:lnTo>
                <a:lnTo>
                  <a:pt x="11590" y="5710"/>
                </a:lnTo>
                <a:lnTo>
                  <a:pt x="11588" y="5708"/>
                </a:lnTo>
                <a:lnTo>
                  <a:pt x="11586" y="5708"/>
                </a:lnTo>
                <a:lnTo>
                  <a:pt x="11584" y="5706"/>
                </a:lnTo>
                <a:lnTo>
                  <a:pt x="11584" y="5702"/>
                </a:lnTo>
                <a:lnTo>
                  <a:pt x="11588" y="5692"/>
                </a:lnTo>
                <a:lnTo>
                  <a:pt x="11594" y="5682"/>
                </a:lnTo>
                <a:lnTo>
                  <a:pt x="11598" y="5680"/>
                </a:lnTo>
                <a:lnTo>
                  <a:pt x="11602" y="5682"/>
                </a:lnTo>
                <a:lnTo>
                  <a:pt x="11604" y="5684"/>
                </a:lnTo>
                <a:lnTo>
                  <a:pt x="11606" y="5688"/>
                </a:lnTo>
                <a:lnTo>
                  <a:pt x="11608" y="5690"/>
                </a:lnTo>
                <a:lnTo>
                  <a:pt x="11608" y="5686"/>
                </a:lnTo>
                <a:lnTo>
                  <a:pt x="11610" y="5676"/>
                </a:lnTo>
                <a:lnTo>
                  <a:pt x="11612" y="5664"/>
                </a:lnTo>
                <a:lnTo>
                  <a:pt x="11616" y="5656"/>
                </a:lnTo>
                <a:lnTo>
                  <a:pt x="11620" y="5650"/>
                </a:lnTo>
                <a:lnTo>
                  <a:pt x="11626" y="5646"/>
                </a:lnTo>
                <a:lnTo>
                  <a:pt x="11630" y="5644"/>
                </a:lnTo>
                <a:lnTo>
                  <a:pt x="11630" y="5640"/>
                </a:lnTo>
                <a:lnTo>
                  <a:pt x="11630" y="5638"/>
                </a:lnTo>
                <a:lnTo>
                  <a:pt x="11626" y="5634"/>
                </a:lnTo>
                <a:lnTo>
                  <a:pt x="11620" y="5630"/>
                </a:lnTo>
                <a:lnTo>
                  <a:pt x="11616" y="5626"/>
                </a:lnTo>
                <a:lnTo>
                  <a:pt x="11614" y="5620"/>
                </a:lnTo>
                <a:lnTo>
                  <a:pt x="11612" y="5618"/>
                </a:lnTo>
                <a:lnTo>
                  <a:pt x="11610" y="5616"/>
                </a:lnTo>
                <a:lnTo>
                  <a:pt x="11604" y="5620"/>
                </a:lnTo>
                <a:lnTo>
                  <a:pt x="11600" y="5624"/>
                </a:lnTo>
                <a:lnTo>
                  <a:pt x="11598" y="5628"/>
                </a:lnTo>
                <a:lnTo>
                  <a:pt x="11598" y="5632"/>
                </a:lnTo>
                <a:lnTo>
                  <a:pt x="11600" y="5636"/>
                </a:lnTo>
                <a:lnTo>
                  <a:pt x="11598" y="5640"/>
                </a:lnTo>
                <a:lnTo>
                  <a:pt x="11596" y="5642"/>
                </a:lnTo>
                <a:lnTo>
                  <a:pt x="11592" y="5644"/>
                </a:lnTo>
                <a:lnTo>
                  <a:pt x="11590" y="5642"/>
                </a:lnTo>
                <a:lnTo>
                  <a:pt x="11588" y="5638"/>
                </a:lnTo>
                <a:lnTo>
                  <a:pt x="11588" y="5632"/>
                </a:lnTo>
                <a:lnTo>
                  <a:pt x="11588" y="5630"/>
                </a:lnTo>
                <a:lnTo>
                  <a:pt x="11586" y="5628"/>
                </a:lnTo>
                <a:lnTo>
                  <a:pt x="11584" y="5628"/>
                </a:lnTo>
                <a:lnTo>
                  <a:pt x="11584" y="5624"/>
                </a:lnTo>
                <a:lnTo>
                  <a:pt x="11584" y="5616"/>
                </a:lnTo>
                <a:lnTo>
                  <a:pt x="11584" y="5614"/>
                </a:lnTo>
                <a:lnTo>
                  <a:pt x="11582" y="5614"/>
                </a:lnTo>
                <a:lnTo>
                  <a:pt x="11576" y="5616"/>
                </a:lnTo>
                <a:lnTo>
                  <a:pt x="11568" y="5622"/>
                </a:lnTo>
                <a:lnTo>
                  <a:pt x="11558" y="5630"/>
                </a:lnTo>
                <a:lnTo>
                  <a:pt x="11552" y="5632"/>
                </a:lnTo>
                <a:lnTo>
                  <a:pt x="11548" y="5632"/>
                </a:lnTo>
                <a:lnTo>
                  <a:pt x="11544" y="5630"/>
                </a:lnTo>
                <a:lnTo>
                  <a:pt x="11540" y="5624"/>
                </a:lnTo>
                <a:lnTo>
                  <a:pt x="11536" y="5622"/>
                </a:lnTo>
                <a:lnTo>
                  <a:pt x="11530" y="5624"/>
                </a:lnTo>
                <a:lnTo>
                  <a:pt x="11524" y="5626"/>
                </a:lnTo>
                <a:lnTo>
                  <a:pt x="11518" y="5624"/>
                </a:lnTo>
                <a:lnTo>
                  <a:pt x="11514" y="5622"/>
                </a:lnTo>
                <a:lnTo>
                  <a:pt x="11512" y="5618"/>
                </a:lnTo>
                <a:lnTo>
                  <a:pt x="11506" y="5612"/>
                </a:lnTo>
                <a:lnTo>
                  <a:pt x="11500" y="5610"/>
                </a:lnTo>
                <a:lnTo>
                  <a:pt x="11494" y="5608"/>
                </a:lnTo>
                <a:lnTo>
                  <a:pt x="11484" y="5608"/>
                </a:lnTo>
                <a:lnTo>
                  <a:pt x="11478" y="5606"/>
                </a:lnTo>
                <a:lnTo>
                  <a:pt x="11474" y="5604"/>
                </a:lnTo>
                <a:lnTo>
                  <a:pt x="11472" y="5600"/>
                </a:lnTo>
                <a:lnTo>
                  <a:pt x="11468" y="5594"/>
                </a:lnTo>
                <a:lnTo>
                  <a:pt x="11466" y="5592"/>
                </a:lnTo>
                <a:lnTo>
                  <a:pt x="11462" y="5592"/>
                </a:lnTo>
                <a:lnTo>
                  <a:pt x="11458" y="5594"/>
                </a:lnTo>
                <a:lnTo>
                  <a:pt x="11456" y="5594"/>
                </a:lnTo>
                <a:lnTo>
                  <a:pt x="11452" y="5590"/>
                </a:lnTo>
                <a:lnTo>
                  <a:pt x="11448" y="5586"/>
                </a:lnTo>
                <a:lnTo>
                  <a:pt x="11444" y="5584"/>
                </a:lnTo>
                <a:lnTo>
                  <a:pt x="11438" y="5582"/>
                </a:lnTo>
                <a:lnTo>
                  <a:pt x="11428" y="5582"/>
                </a:lnTo>
                <a:lnTo>
                  <a:pt x="11422" y="5584"/>
                </a:lnTo>
                <a:lnTo>
                  <a:pt x="11420" y="5586"/>
                </a:lnTo>
                <a:lnTo>
                  <a:pt x="11420" y="5588"/>
                </a:lnTo>
                <a:lnTo>
                  <a:pt x="11424" y="5596"/>
                </a:lnTo>
                <a:lnTo>
                  <a:pt x="11428" y="5598"/>
                </a:lnTo>
                <a:lnTo>
                  <a:pt x="11432" y="5600"/>
                </a:lnTo>
                <a:lnTo>
                  <a:pt x="11444" y="5600"/>
                </a:lnTo>
                <a:lnTo>
                  <a:pt x="11448" y="5600"/>
                </a:lnTo>
                <a:lnTo>
                  <a:pt x="11452" y="5604"/>
                </a:lnTo>
                <a:lnTo>
                  <a:pt x="11454" y="5608"/>
                </a:lnTo>
                <a:lnTo>
                  <a:pt x="11452" y="5618"/>
                </a:lnTo>
                <a:lnTo>
                  <a:pt x="11448" y="5634"/>
                </a:lnTo>
                <a:lnTo>
                  <a:pt x="11448" y="5636"/>
                </a:lnTo>
                <a:lnTo>
                  <a:pt x="11446" y="5636"/>
                </a:lnTo>
                <a:lnTo>
                  <a:pt x="11438" y="5634"/>
                </a:lnTo>
                <a:lnTo>
                  <a:pt x="11432" y="5634"/>
                </a:lnTo>
                <a:lnTo>
                  <a:pt x="11422" y="5634"/>
                </a:lnTo>
                <a:lnTo>
                  <a:pt x="11412" y="5636"/>
                </a:lnTo>
                <a:lnTo>
                  <a:pt x="11406" y="5636"/>
                </a:lnTo>
                <a:lnTo>
                  <a:pt x="11400" y="5632"/>
                </a:lnTo>
                <a:lnTo>
                  <a:pt x="11396" y="5632"/>
                </a:lnTo>
                <a:lnTo>
                  <a:pt x="11390" y="5634"/>
                </a:lnTo>
                <a:lnTo>
                  <a:pt x="11370" y="5648"/>
                </a:lnTo>
                <a:lnTo>
                  <a:pt x="11358" y="5658"/>
                </a:lnTo>
                <a:lnTo>
                  <a:pt x="11350" y="5666"/>
                </a:lnTo>
                <a:lnTo>
                  <a:pt x="11348" y="5672"/>
                </a:lnTo>
                <a:lnTo>
                  <a:pt x="11346" y="5678"/>
                </a:lnTo>
                <a:lnTo>
                  <a:pt x="11346" y="5684"/>
                </a:lnTo>
                <a:lnTo>
                  <a:pt x="11344" y="5690"/>
                </a:lnTo>
                <a:lnTo>
                  <a:pt x="11340" y="5700"/>
                </a:lnTo>
                <a:lnTo>
                  <a:pt x="11332" y="5714"/>
                </a:lnTo>
                <a:lnTo>
                  <a:pt x="11324" y="5728"/>
                </a:lnTo>
                <a:lnTo>
                  <a:pt x="11320" y="5738"/>
                </a:lnTo>
                <a:lnTo>
                  <a:pt x="11322" y="5744"/>
                </a:lnTo>
                <a:lnTo>
                  <a:pt x="11324" y="5750"/>
                </a:lnTo>
                <a:lnTo>
                  <a:pt x="11332" y="5756"/>
                </a:lnTo>
                <a:lnTo>
                  <a:pt x="11332" y="5760"/>
                </a:lnTo>
                <a:lnTo>
                  <a:pt x="11328" y="5764"/>
                </a:lnTo>
                <a:lnTo>
                  <a:pt x="11322" y="5768"/>
                </a:lnTo>
                <a:lnTo>
                  <a:pt x="11318" y="5770"/>
                </a:lnTo>
                <a:lnTo>
                  <a:pt x="11314" y="5768"/>
                </a:lnTo>
                <a:lnTo>
                  <a:pt x="11310" y="5766"/>
                </a:lnTo>
                <a:lnTo>
                  <a:pt x="11302" y="5762"/>
                </a:lnTo>
                <a:lnTo>
                  <a:pt x="11296" y="5760"/>
                </a:lnTo>
                <a:lnTo>
                  <a:pt x="11288" y="5760"/>
                </a:lnTo>
                <a:lnTo>
                  <a:pt x="11284" y="5760"/>
                </a:lnTo>
                <a:lnTo>
                  <a:pt x="11278" y="5758"/>
                </a:lnTo>
                <a:lnTo>
                  <a:pt x="11268" y="5750"/>
                </a:lnTo>
                <a:lnTo>
                  <a:pt x="11244" y="5726"/>
                </a:lnTo>
                <a:lnTo>
                  <a:pt x="11232" y="5716"/>
                </a:lnTo>
                <a:lnTo>
                  <a:pt x="11224" y="5708"/>
                </a:lnTo>
                <a:lnTo>
                  <a:pt x="11220" y="5706"/>
                </a:lnTo>
                <a:lnTo>
                  <a:pt x="11218" y="5706"/>
                </a:lnTo>
                <a:lnTo>
                  <a:pt x="11216" y="5710"/>
                </a:lnTo>
                <a:lnTo>
                  <a:pt x="11214" y="5714"/>
                </a:lnTo>
                <a:lnTo>
                  <a:pt x="11214" y="5722"/>
                </a:lnTo>
                <a:lnTo>
                  <a:pt x="11210" y="5724"/>
                </a:lnTo>
                <a:lnTo>
                  <a:pt x="11206" y="5724"/>
                </a:lnTo>
                <a:lnTo>
                  <a:pt x="11202" y="5720"/>
                </a:lnTo>
                <a:lnTo>
                  <a:pt x="11196" y="5718"/>
                </a:lnTo>
                <a:lnTo>
                  <a:pt x="11192" y="5718"/>
                </a:lnTo>
                <a:lnTo>
                  <a:pt x="11188" y="5720"/>
                </a:lnTo>
                <a:lnTo>
                  <a:pt x="11186" y="5730"/>
                </a:lnTo>
                <a:lnTo>
                  <a:pt x="11186" y="5738"/>
                </a:lnTo>
                <a:lnTo>
                  <a:pt x="11184" y="5740"/>
                </a:lnTo>
                <a:lnTo>
                  <a:pt x="11180" y="5740"/>
                </a:lnTo>
                <a:lnTo>
                  <a:pt x="11178" y="5738"/>
                </a:lnTo>
                <a:lnTo>
                  <a:pt x="11174" y="5736"/>
                </a:lnTo>
                <a:lnTo>
                  <a:pt x="11168" y="5738"/>
                </a:lnTo>
                <a:lnTo>
                  <a:pt x="11162" y="5744"/>
                </a:lnTo>
                <a:lnTo>
                  <a:pt x="11154" y="5756"/>
                </a:lnTo>
                <a:lnTo>
                  <a:pt x="11146" y="5772"/>
                </a:lnTo>
                <a:lnTo>
                  <a:pt x="11138" y="5780"/>
                </a:lnTo>
                <a:lnTo>
                  <a:pt x="11128" y="5792"/>
                </a:lnTo>
                <a:lnTo>
                  <a:pt x="11124" y="5796"/>
                </a:lnTo>
                <a:lnTo>
                  <a:pt x="11122" y="5800"/>
                </a:lnTo>
                <a:lnTo>
                  <a:pt x="11120" y="5808"/>
                </a:lnTo>
                <a:lnTo>
                  <a:pt x="11120" y="5820"/>
                </a:lnTo>
                <a:lnTo>
                  <a:pt x="11118" y="5834"/>
                </a:lnTo>
                <a:lnTo>
                  <a:pt x="11116" y="5838"/>
                </a:lnTo>
                <a:lnTo>
                  <a:pt x="11114" y="5838"/>
                </a:lnTo>
                <a:lnTo>
                  <a:pt x="11110" y="5838"/>
                </a:lnTo>
                <a:lnTo>
                  <a:pt x="11104" y="5834"/>
                </a:lnTo>
                <a:lnTo>
                  <a:pt x="11098" y="5832"/>
                </a:lnTo>
                <a:lnTo>
                  <a:pt x="11096" y="5832"/>
                </a:lnTo>
                <a:lnTo>
                  <a:pt x="11094" y="5834"/>
                </a:lnTo>
                <a:lnTo>
                  <a:pt x="11090" y="5838"/>
                </a:lnTo>
                <a:lnTo>
                  <a:pt x="11088" y="5842"/>
                </a:lnTo>
                <a:lnTo>
                  <a:pt x="11086" y="5864"/>
                </a:lnTo>
                <a:lnTo>
                  <a:pt x="11084" y="5878"/>
                </a:lnTo>
                <a:lnTo>
                  <a:pt x="11084" y="5882"/>
                </a:lnTo>
                <a:lnTo>
                  <a:pt x="11078" y="5866"/>
                </a:lnTo>
                <a:lnTo>
                  <a:pt x="11074" y="5856"/>
                </a:lnTo>
                <a:lnTo>
                  <a:pt x="11070" y="5852"/>
                </a:lnTo>
                <a:lnTo>
                  <a:pt x="11066" y="5850"/>
                </a:lnTo>
                <a:lnTo>
                  <a:pt x="11062" y="5848"/>
                </a:lnTo>
                <a:lnTo>
                  <a:pt x="11058" y="5850"/>
                </a:lnTo>
                <a:lnTo>
                  <a:pt x="11052" y="5854"/>
                </a:lnTo>
                <a:lnTo>
                  <a:pt x="11046" y="5862"/>
                </a:lnTo>
                <a:lnTo>
                  <a:pt x="11036" y="5878"/>
                </a:lnTo>
                <a:lnTo>
                  <a:pt x="11032" y="5892"/>
                </a:lnTo>
                <a:lnTo>
                  <a:pt x="11030" y="5902"/>
                </a:lnTo>
                <a:lnTo>
                  <a:pt x="11032" y="5912"/>
                </a:lnTo>
                <a:lnTo>
                  <a:pt x="11034" y="5918"/>
                </a:lnTo>
                <a:lnTo>
                  <a:pt x="11032" y="5926"/>
                </a:lnTo>
                <a:lnTo>
                  <a:pt x="11030" y="5932"/>
                </a:lnTo>
                <a:lnTo>
                  <a:pt x="11020" y="5942"/>
                </a:lnTo>
                <a:lnTo>
                  <a:pt x="11014" y="5948"/>
                </a:lnTo>
                <a:lnTo>
                  <a:pt x="11010" y="5954"/>
                </a:lnTo>
                <a:lnTo>
                  <a:pt x="11004" y="5970"/>
                </a:lnTo>
                <a:lnTo>
                  <a:pt x="11000" y="5978"/>
                </a:lnTo>
                <a:lnTo>
                  <a:pt x="10994" y="5988"/>
                </a:lnTo>
                <a:lnTo>
                  <a:pt x="10986" y="5998"/>
                </a:lnTo>
                <a:lnTo>
                  <a:pt x="10974" y="6006"/>
                </a:lnTo>
                <a:lnTo>
                  <a:pt x="10960" y="6014"/>
                </a:lnTo>
                <a:lnTo>
                  <a:pt x="10948" y="6020"/>
                </a:lnTo>
                <a:lnTo>
                  <a:pt x="10936" y="6020"/>
                </a:lnTo>
                <a:lnTo>
                  <a:pt x="10926" y="6020"/>
                </a:lnTo>
                <a:lnTo>
                  <a:pt x="10910" y="6020"/>
                </a:lnTo>
                <a:lnTo>
                  <a:pt x="10906" y="6020"/>
                </a:lnTo>
                <a:lnTo>
                  <a:pt x="10902" y="6024"/>
                </a:lnTo>
                <a:lnTo>
                  <a:pt x="10898" y="6030"/>
                </a:lnTo>
                <a:lnTo>
                  <a:pt x="10894" y="6032"/>
                </a:lnTo>
                <a:lnTo>
                  <a:pt x="10884" y="6038"/>
                </a:lnTo>
                <a:lnTo>
                  <a:pt x="10868" y="6042"/>
                </a:lnTo>
                <a:lnTo>
                  <a:pt x="10850" y="6052"/>
                </a:lnTo>
                <a:lnTo>
                  <a:pt x="10840" y="6056"/>
                </a:lnTo>
                <a:lnTo>
                  <a:pt x="10832" y="6056"/>
                </a:lnTo>
                <a:lnTo>
                  <a:pt x="10820" y="6052"/>
                </a:lnTo>
                <a:lnTo>
                  <a:pt x="10812" y="6050"/>
                </a:lnTo>
                <a:lnTo>
                  <a:pt x="10804" y="6052"/>
                </a:lnTo>
                <a:lnTo>
                  <a:pt x="10794" y="6060"/>
                </a:lnTo>
                <a:lnTo>
                  <a:pt x="10782" y="6074"/>
                </a:lnTo>
                <a:lnTo>
                  <a:pt x="10768" y="6088"/>
                </a:lnTo>
                <a:lnTo>
                  <a:pt x="10758" y="6096"/>
                </a:lnTo>
                <a:lnTo>
                  <a:pt x="10748" y="6102"/>
                </a:lnTo>
                <a:lnTo>
                  <a:pt x="10742" y="6106"/>
                </a:lnTo>
                <a:lnTo>
                  <a:pt x="10736" y="6108"/>
                </a:lnTo>
                <a:lnTo>
                  <a:pt x="10730" y="6112"/>
                </a:lnTo>
                <a:lnTo>
                  <a:pt x="10726" y="6120"/>
                </a:lnTo>
                <a:lnTo>
                  <a:pt x="10720" y="6134"/>
                </a:lnTo>
                <a:lnTo>
                  <a:pt x="10714" y="6144"/>
                </a:lnTo>
                <a:lnTo>
                  <a:pt x="10712" y="6144"/>
                </a:lnTo>
                <a:lnTo>
                  <a:pt x="10710" y="6140"/>
                </a:lnTo>
                <a:lnTo>
                  <a:pt x="10710" y="6132"/>
                </a:lnTo>
                <a:lnTo>
                  <a:pt x="10708" y="6124"/>
                </a:lnTo>
                <a:lnTo>
                  <a:pt x="10706" y="6118"/>
                </a:lnTo>
                <a:lnTo>
                  <a:pt x="10704" y="6116"/>
                </a:lnTo>
                <a:lnTo>
                  <a:pt x="10702" y="6118"/>
                </a:lnTo>
                <a:lnTo>
                  <a:pt x="10694" y="6128"/>
                </a:lnTo>
                <a:lnTo>
                  <a:pt x="10688" y="6140"/>
                </a:lnTo>
                <a:lnTo>
                  <a:pt x="10686" y="6150"/>
                </a:lnTo>
                <a:lnTo>
                  <a:pt x="10688" y="6158"/>
                </a:lnTo>
                <a:lnTo>
                  <a:pt x="10690" y="6166"/>
                </a:lnTo>
                <a:lnTo>
                  <a:pt x="10692" y="6174"/>
                </a:lnTo>
                <a:lnTo>
                  <a:pt x="10692" y="6182"/>
                </a:lnTo>
                <a:lnTo>
                  <a:pt x="10690" y="6194"/>
                </a:lnTo>
                <a:lnTo>
                  <a:pt x="10682" y="6210"/>
                </a:lnTo>
                <a:lnTo>
                  <a:pt x="10678" y="6218"/>
                </a:lnTo>
                <a:lnTo>
                  <a:pt x="10676" y="6226"/>
                </a:lnTo>
                <a:lnTo>
                  <a:pt x="10674" y="6236"/>
                </a:lnTo>
                <a:lnTo>
                  <a:pt x="10674" y="6244"/>
                </a:lnTo>
                <a:lnTo>
                  <a:pt x="10680" y="6260"/>
                </a:lnTo>
                <a:lnTo>
                  <a:pt x="10686" y="6276"/>
                </a:lnTo>
                <a:lnTo>
                  <a:pt x="10704" y="6306"/>
                </a:lnTo>
                <a:lnTo>
                  <a:pt x="10710" y="6320"/>
                </a:lnTo>
                <a:lnTo>
                  <a:pt x="10712" y="6326"/>
                </a:lnTo>
                <a:lnTo>
                  <a:pt x="10712" y="6334"/>
                </a:lnTo>
                <a:lnTo>
                  <a:pt x="10710" y="6342"/>
                </a:lnTo>
                <a:lnTo>
                  <a:pt x="10708" y="6344"/>
                </a:lnTo>
                <a:lnTo>
                  <a:pt x="10706" y="6342"/>
                </a:lnTo>
                <a:lnTo>
                  <a:pt x="10702" y="6338"/>
                </a:lnTo>
                <a:lnTo>
                  <a:pt x="10696" y="6328"/>
                </a:lnTo>
                <a:lnTo>
                  <a:pt x="10686" y="6308"/>
                </a:lnTo>
                <a:lnTo>
                  <a:pt x="10680" y="6302"/>
                </a:lnTo>
                <a:lnTo>
                  <a:pt x="10678" y="6304"/>
                </a:lnTo>
                <a:lnTo>
                  <a:pt x="10676" y="6310"/>
                </a:lnTo>
                <a:lnTo>
                  <a:pt x="10678" y="6316"/>
                </a:lnTo>
                <a:lnTo>
                  <a:pt x="10684" y="6330"/>
                </a:lnTo>
                <a:lnTo>
                  <a:pt x="10692" y="6344"/>
                </a:lnTo>
                <a:lnTo>
                  <a:pt x="10692" y="6350"/>
                </a:lnTo>
                <a:lnTo>
                  <a:pt x="10692" y="6354"/>
                </a:lnTo>
                <a:lnTo>
                  <a:pt x="10692" y="6356"/>
                </a:lnTo>
                <a:lnTo>
                  <a:pt x="10690" y="6356"/>
                </a:lnTo>
                <a:lnTo>
                  <a:pt x="10686" y="6352"/>
                </a:lnTo>
                <a:lnTo>
                  <a:pt x="10680" y="6338"/>
                </a:lnTo>
                <a:lnTo>
                  <a:pt x="10676" y="6332"/>
                </a:lnTo>
                <a:lnTo>
                  <a:pt x="10674" y="6328"/>
                </a:lnTo>
                <a:lnTo>
                  <a:pt x="10672" y="6328"/>
                </a:lnTo>
                <a:lnTo>
                  <a:pt x="10670" y="6336"/>
                </a:lnTo>
                <a:lnTo>
                  <a:pt x="10672" y="6346"/>
                </a:lnTo>
                <a:lnTo>
                  <a:pt x="10676" y="6354"/>
                </a:lnTo>
                <a:lnTo>
                  <a:pt x="10688" y="6374"/>
                </a:lnTo>
                <a:lnTo>
                  <a:pt x="10700" y="6394"/>
                </a:lnTo>
                <a:lnTo>
                  <a:pt x="10704" y="6404"/>
                </a:lnTo>
                <a:lnTo>
                  <a:pt x="10706" y="6414"/>
                </a:lnTo>
                <a:lnTo>
                  <a:pt x="10706" y="6430"/>
                </a:lnTo>
                <a:lnTo>
                  <a:pt x="10710" y="6440"/>
                </a:lnTo>
                <a:lnTo>
                  <a:pt x="10718" y="6454"/>
                </a:lnTo>
                <a:lnTo>
                  <a:pt x="10732" y="6478"/>
                </a:lnTo>
                <a:lnTo>
                  <a:pt x="10736" y="6490"/>
                </a:lnTo>
                <a:lnTo>
                  <a:pt x="10738" y="6502"/>
                </a:lnTo>
                <a:lnTo>
                  <a:pt x="10740" y="6522"/>
                </a:lnTo>
                <a:lnTo>
                  <a:pt x="10740" y="6534"/>
                </a:lnTo>
                <a:lnTo>
                  <a:pt x="10742" y="6550"/>
                </a:lnTo>
                <a:lnTo>
                  <a:pt x="10746" y="6570"/>
                </a:lnTo>
                <a:lnTo>
                  <a:pt x="10756" y="6594"/>
                </a:lnTo>
                <a:lnTo>
                  <a:pt x="10766" y="6620"/>
                </a:lnTo>
                <a:lnTo>
                  <a:pt x="10770" y="6638"/>
                </a:lnTo>
                <a:lnTo>
                  <a:pt x="10772" y="6650"/>
                </a:lnTo>
                <a:lnTo>
                  <a:pt x="10772" y="6658"/>
                </a:lnTo>
                <a:lnTo>
                  <a:pt x="10766" y="6670"/>
                </a:lnTo>
                <a:lnTo>
                  <a:pt x="10764" y="6676"/>
                </a:lnTo>
                <a:lnTo>
                  <a:pt x="10766" y="6686"/>
                </a:lnTo>
                <a:lnTo>
                  <a:pt x="10766" y="6696"/>
                </a:lnTo>
                <a:lnTo>
                  <a:pt x="10766" y="6704"/>
                </a:lnTo>
                <a:lnTo>
                  <a:pt x="10764" y="6712"/>
                </a:lnTo>
                <a:lnTo>
                  <a:pt x="10762" y="6716"/>
                </a:lnTo>
                <a:lnTo>
                  <a:pt x="10758" y="6720"/>
                </a:lnTo>
                <a:lnTo>
                  <a:pt x="10754" y="6724"/>
                </a:lnTo>
                <a:lnTo>
                  <a:pt x="10750" y="6724"/>
                </a:lnTo>
                <a:lnTo>
                  <a:pt x="10744" y="6722"/>
                </a:lnTo>
                <a:lnTo>
                  <a:pt x="10740" y="6722"/>
                </a:lnTo>
                <a:lnTo>
                  <a:pt x="10738" y="6726"/>
                </a:lnTo>
                <a:lnTo>
                  <a:pt x="10736" y="6734"/>
                </a:lnTo>
                <a:lnTo>
                  <a:pt x="10736" y="6742"/>
                </a:lnTo>
                <a:lnTo>
                  <a:pt x="10738" y="6750"/>
                </a:lnTo>
                <a:lnTo>
                  <a:pt x="10742" y="6756"/>
                </a:lnTo>
                <a:lnTo>
                  <a:pt x="10746" y="6760"/>
                </a:lnTo>
                <a:lnTo>
                  <a:pt x="10752" y="6762"/>
                </a:lnTo>
                <a:lnTo>
                  <a:pt x="10758" y="6762"/>
                </a:lnTo>
                <a:lnTo>
                  <a:pt x="10764" y="6766"/>
                </a:lnTo>
                <a:lnTo>
                  <a:pt x="10776" y="6778"/>
                </a:lnTo>
                <a:lnTo>
                  <a:pt x="10784" y="6786"/>
                </a:lnTo>
                <a:lnTo>
                  <a:pt x="10794" y="6792"/>
                </a:lnTo>
                <a:lnTo>
                  <a:pt x="10808" y="6798"/>
                </a:lnTo>
                <a:lnTo>
                  <a:pt x="10826" y="6802"/>
                </a:lnTo>
                <a:lnTo>
                  <a:pt x="10844" y="6802"/>
                </a:lnTo>
                <a:lnTo>
                  <a:pt x="10858" y="6800"/>
                </a:lnTo>
                <a:lnTo>
                  <a:pt x="10870" y="6794"/>
                </a:lnTo>
                <a:lnTo>
                  <a:pt x="10878" y="6788"/>
                </a:lnTo>
                <a:lnTo>
                  <a:pt x="10894" y="6776"/>
                </a:lnTo>
                <a:lnTo>
                  <a:pt x="10900" y="6772"/>
                </a:lnTo>
                <a:lnTo>
                  <a:pt x="10908" y="6770"/>
                </a:lnTo>
                <a:lnTo>
                  <a:pt x="10916" y="6768"/>
                </a:lnTo>
                <a:lnTo>
                  <a:pt x="10922" y="6764"/>
                </a:lnTo>
                <a:lnTo>
                  <a:pt x="10926" y="6760"/>
                </a:lnTo>
                <a:lnTo>
                  <a:pt x="10928" y="6754"/>
                </a:lnTo>
                <a:lnTo>
                  <a:pt x="10930" y="6748"/>
                </a:lnTo>
                <a:lnTo>
                  <a:pt x="10934" y="6744"/>
                </a:lnTo>
                <a:lnTo>
                  <a:pt x="10940" y="6740"/>
                </a:lnTo>
                <a:lnTo>
                  <a:pt x="10948" y="6740"/>
                </a:lnTo>
                <a:lnTo>
                  <a:pt x="10960" y="6740"/>
                </a:lnTo>
                <a:lnTo>
                  <a:pt x="10972" y="6738"/>
                </a:lnTo>
                <a:lnTo>
                  <a:pt x="10986" y="6734"/>
                </a:lnTo>
                <a:lnTo>
                  <a:pt x="10994" y="6734"/>
                </a:lnTo>
                <a:lnTo>
                  <a:pt x="11000" y="6732"/>
                </a:lnTo>
                <a:lnTo>
                  <a:pt x="11006" y="6734"/>
                </a:lnTo>
                <a:lnTo>
                  <a:pt x="11014" y="6738"/>
                </a:lnTo>
                <a:lnTo>
                  <a:pt x="11024" y="6742"/>
                </a:lnTo>
                <a:lnTo>
                  <a:pt x="11030" y="6744"/>
                </a:lnTo>
                <a:lnTo>
                  <a:pt x="11036" y="6742"/>
                </a:lnTo>
                <a:lnTo>
                  <a:pt x="11038" y="6740"/>
                </a:lnTo>
                <a:lnTo>
                  <a:pt x="11042" y="6738"/>
                </a:lnTo>
                <a:lnTo>
                  <a:pt x="11048" y="6736"/>
                </a:lnTo>
                <a:lnTo>
                  <a:pt x="11056" y="6738"/>
                </a:lnTo>
                <a:lnTo>
                  <a:pt x="11068" y="6740"/>
                </a:lnTo>
                <a:lnTo>
                  <a:pt x="11076" y="6742"/>
                </a:lnTo>
                <a:lnTo>
                  <a:pt x="11082" y="6742"/>
                </a:lnTo>
                <a:lnTo>
                  <a:pt x="11086" y="6740"/>
                </a:lnTo>
                <a:lnTo>
                  <a:pt x="11090" y="6738"/>
                </a:lnTo>
                <a:lnTo>
                  <a:pt x="11096" y="6730"/>
                </a:lnTo>
                <a:lnTo>
                  <a:pt x="11100" y="6718"/>
                </a:lnTo>
                <a:lnTo>
                  <a:pt x="11104" y="6706"/>
                </a:lnTo>
                <a:lnTo>
                  <a:pt x="11110" y="6696"/>
                </a:lnTo>
                <a:lnTo>
                  <a:pt x="11116" y="6688"/>
                </a:lnTo>
                <a:lnTo>
                  <a:pt x="11120" y="6686"/>
                </a:lnTo>
                <a:lnTo>
                  <a:pt x="11126" y="6686"/>
                </a:lnTo>
                <a:lnTo>
                  <a:pt x="11136" y="6684"/>
                </a:lnTo>
                <a:lnTo>
                  <a:pt x="11142" y="6680"/>
                </a:lnTo>
                <a:lnTo>
                  <a:pt x="11156" y="6666"/>
                </a:lnTo>
                <a:lnTo>
                  <a:pt x="11162" y="6660"/>
                </a:lnTo>
                <a:lnTo>
                  <a:pt x="11172" y="6656"/>
                </a:lnTo>
                <a:lnTo>
                  <a:pt x="11184" y="6652"/>
                </a:lnTo>
                <a:lnTo>
                  <a:pt x="11200" y="6654"/>
                </a:lnTo>
                <a:lnTo>
                  <a:pt x="11214" y="6654"/>
                </a:lnTo>
                <a:lnTo>
                  <a:pt x="11226" y="6654"/>
                </a:lnTo>
                <a:lnTo>
                  <a:pt x="11248" y="6650"/>
                </a:lnTo>
                <a:lnTo>
                  <a:pt x="11268" y="6642"/>
                </a:lnTo>
                <a:lnTo>
                  <a:pt x="11284" y="6634"/>
                </a:lnTo>
                <a:lnTo>
                  <a:pt x="11300" y="6626"/>
                </a:lnTo>
                <a:lnTo>
                  <a:pt x="11316" y="6618"/>
                </a:lnTo>
                <a:lnTo>
                  <a:pt x="11330" y="6614"/>
                </a:lnTo>
                <a:lnTo>
                  <a:pt x="11338" y="6614"/>
                </a:lnTo>
                <a:lnTo>
                  <a:pt x="11346" y="6614"/>
                </a:lnTo>
                <a:lnTo>
                  <a:pt x="11366" y="6616"/>
                </a:lnTo>
                <a:lnTo>
                  <a:pt x="11378" y="6616"/>
                </a:lnTo>
                <a:lnTo>
                  <a:pt x="11384" y="6614"/>
                </a:lnTo>
                <a:lnTo>
                  <a:pt x="11386" y="6612"/>
                </a:lnTo>
                <a:lnTo>
                  <a:pt x="11390" y="6610"/>
                </a:lnTo>
                <a:lnTo>
                  <a:pt x="11394" y="6612"/>
                </a:lnTo>
                <a:lnTo>
                  <a:pt x="11422" y="6626"/>
                </a:lnTo>
                <a:lnTo>
                  <a:pt x="11442" y="6636"/>
                </a:lnTo>
                <a:lnTo>
                  <a:pt x="11456" y="6642"/>
                </a:lnTo>
                <a:lnTo>
                  <a:pt x="11468" y="6644"/>
                </a:lnTo>
                <a:lnTo>
                  <a:pt x="11478" y="6646"/>
                </a:lnTo>
                <a:lnTo>
                  <a:pt x="11492" y="6648"/>
                </a:lnTo>
                <a:lnTo>
                  <a:pt x="11500" y="6652"/>
                </a:lnTo>
                <a:lnTo>
                  <a:pt x="11508" y="6658"/>
                </a:lnTo>
                <a:lnTo>
                  <a:pt x="11516" y="6664"/>
                </a:lnTo>
                <a:lnTo>
                  <a:pt x="11518" y="6670"/>
                </a:lnTo>
                <a:lnTo>
                  <a:pt x="11518" y="6676"/>
                </a:lnTo>
                <a:lnTo>
                  <a:pt x="11516" y="6680"/>
                </a:lnTo>
                <a:lnTo>
                  <a:pt x="11514" y="6684"/>
                </a:lnTo>
                <a:lnTo>
                  <a:pt x="11514" y="6690"/>
                </a:lnTo>
                <a:lnTo>
                  <a:pt x="11520" y="6696"/>
                </a:lnTo>
                <a:lnTo>
                  <a:pt x="11530" y="6702"/>
                </a:lnTo>
                <a:lnTo>
                  <a:pt x="11536" y="6706"/>
                </a:lnTo>
                <a:lnTo>
                  <a:pt x="11540" y="6710"/>
                </a:lnTo>
                <a:lnTo>
                  <a:pt x="11546" y="6722"/>
                </a:lnTo>
                <a:lnTo>
                  <a:pt x="11550" y="6734"/>
                </a:lnTo>
                <a:lnTo>
                  <a:pt x="11552" y="6748"/>
                </a:lnTo>
                <a:lnTo>
                  <a:pt x="11554" y="6760"/>
                </a:lnTo>
                <a:lnTo>
                  <a:pt x="11558" y="6772"/>
                </a:lnTo>
                <a:lnTo>
                  <a:pt x="11562" y="6782"/>
                </a:lnTo>
                <a:lnTo>
                  <a:pt x="11566" y="6786"/>
                </a:lnTo>
                <a:lnTo>
                  <a:pt x="11570" y="6788"/>
                </a:lnTo>
                <a:lnTo>
                  <a:pt x="11584" y="6796"/>
                </a:lnTo>
                <a:lnTo>
                  <a:pt x="11586" y="6796"/>
                </a:lnTo>
                <a:lnTo>
                  <a:pt x="11584" y="6794"/>
                </a:lnTo>
                <a:lnTo>
                  <a:pt x="11584" y="6790"/>
                </a:lnTo>
                <a:lnTo>
                  <a:pt x="11586" y="6782"/>
                </a:lnTo>
                <a:lnTo>
                  <a:pt x="11592" y="6770"/>
                </a:lnTo>
                <a:lnTo>
                  <a:pt x="11602" y="6754"/>
                </a:lnTo>
                <a:lnTo>
                  <a:pt x="11614" y="6740"/>
                </a:lnTo>
                <a:lnTo>
                  <a:pt x="11622" y="6732"/>
                </a:lnTo>
                <a:lnTo>
                  <a:pt x="11628" y="6730"/>
                </a:lnTo>
                <a:lnTo>
                  <a:pt x="11632" y="6730"/>
                </a:lnTo>
                <a:lnTo>
                  <a:pt x="11634" y="6730"/>
                </a:lnTo>
                <a:lnTo>
                  <a:pt x="11636" y="6720"/>
                </a:lnTo>
                <a:lnTo>
                  <a:pt x="11640" y="6712"/>
                </a:lnTo>
                <a:lnTo>
                  <a:pt x="11642" y="6706"/>
                </a:lnTo>
                <a:lnTo>
                  <a:pt x="11650" y="6698"/>
                </a:lnTo>
                <a:lnTo>
                  <a:pt x="11656" y="6690"/>
                </a:lnTo>
                <a:lnTo>
                  <a:pt x="11658" y="6686"/>
                </a:lnTo>
                <a:lnTo>
                  <a:pt x="11660" y="6680"/>
                </a:lnTo>
                <a:lnTo>
                  <a:pt x="11660" y="6670"/>
                </a:lnTo>
                <a:lnTo>
                  <a:pt x="11668" y="6686"/>
                </a:lnTo>
                <a:lnTo>
                  <a:pt x="11668" y="6694"/>
                </a:lnTo>
                <a:lnTo>
                  <a:pt x="11666" y="6702"/>
                </a:lnTo>
                <a:lnTo>
                  <a:pt x="11658" y="6726"/>
                </a:lnTo>
                <a:lnTo>
                  <a:pt x="11650" y="6748"/>
                </a:lnTo>
                <a:lnTo>
                  <a:pt x="11648" y="6758"/>
                </a:lnTo>
                <a:lnTo>
                  <a:pt x="11648" y="6766"/>
                </a:lnTo>
                <a:lnTo>
                  <a:pt x="11652" y="6776"/>
                </a:lnTo>
                <a:lnTo>
                  <a:pt x="11650" y="6784"/>
                </a:lnTo>
                <a:lnTo>
                  <a:pt x="11646" y="6790"/>
                </a:lnTo>
                <a:lnTo>
                  <a:pt x="11642" y="6792"/>
                </a:lnTo>
                <a:lnTo>
                  <a:pt x="11638" y="6792"/>
                </a:lnTo>
                <a:lnTo>
                  <a:pt x="11634" y="6792"/>
                </a:lnTo>
                <a:lnTo>
                  <a:pt x="11630" y="6794"/>
                </a:lnTo>
                <a:lnTo>
                  <a:pt x="11626" y="6798"/>
                </a:lnTo>
                <a:lnTo>
                  <a:pt x="11624" y="6802"/>
                </a:lnTo>
                <a:lnTo>
                  <a:pt x="11624" y="6806"/>
                </a:lnTo>
                <a:lnTo>
                  <a:pt x="11628" y="6808"/>
                </a:lnTo>
                <a:lnTo>
                  <a:pt x="11634" y="6810"/>
                </a:lnTo>
                <a:lnTo>
                  <a:pt x="11642" y="6810"/>
                </a:lnTo>
                <a:lnTo>
                  <a:pt x="11648" y="6808"/>
                </a:lnTo>
                <a:lnTo>
                  <a:pt x="11652" y="6806"/>
                </a:lnTo>
                <a:lnTo>
                  <a:pt x="11660" y="6798"/>
                </a:lnTo>
                <a:lnTo>
                  <a:pt x="11664" y="6788"/>
                </a:lnTo>
                <a:lnTo>
                  <a:pt x="11668" y="6778"/>
                </a:lnTo>
                <a:lnTo>
                  <a:pt x="11670" y="6770"/>
                </a:lnTo>
                <a:lnTo>
                  <a:pt x="11672" y="6764"/>
                </a:lnTo>
                <a:lnTo>
                  <a:pt x="11674" y="6764"/>
                </a:lnTo>
                <a:lnTo>
                  <a:pt x="11676" y="6766"/>
                </a:lnTo>
                <a:lnTo>
                  <a:pt x="11682" y="6772"/>
                </a:lnTo>
                <a:lnTo>
                  <a:pt x="11688" y="6784"/>
                </a:lnTo>
                <a:lnTo>
                  <a:pt x="11688" y="6794"/>
                </a:lnTo>
                <a:lnTo>
                  <a:pt x="11688" y="6802"/>
                </a:lnTo>
                <a:lnTo>
                  <a:pt x="11684" y="6810"/>
                </a:lnTo>
                <a:lnTo>
                  <a:pt x="11676" y="6822"/>
                </a:lnTo>
                <a:lnTo>
                  <a:pt x="11676" y="6828"/>
                </a:lnTo>
                <a:lnTo>
                  <a:pt x="11676" y="6832"/>
                </a:lnTo>
                <a:lnTo>
                  <a:pt x="11678" y="6834"/>
                </a:lnTo>
                <a:lnTo>
                  <a:pt x="11682" y="6834"/>
                </a:lnTo>
                <a:lnTo>
                  <a:pt x="11690" y="6832"/>
                </a:lnTo>
                <a:lnTo>
                  <a:pt x="11700" y="6830"/>
                </a:lnTo>
                <a:lnTo>
                  <a:pt x="11706" y="6832"/>
                </a:lnTo>
                <a:lnTo>
                  <a:pt x="11712" y="6834"/>
                </a:lnTo>
                <a:lnTo>
                  <a:pt x="11718" y="6838"/>
                </a:lnTo>
                <a:lnTo>
                  <a:pt x="11726" y="6846"/>
                </a:lnTo>
                <a:lnTo>
                  <a:pt x="11732" y="6854"/>
                </a:lnTo>
                <a:lnTo>
                  <a:pt x="11736" y="6862"/>
                </a:lnTo>
                <a:lnTo>
                  <a:pt x="11740" y="6872"/>
                </a:lnTo>
                <a:lnTo>
                  <a:pt x="11742" y="6882"/>
                </a:lnTo>
                <a:lnTo>
                  <a:pt x="11742" y="6890"/>
                </a:lnTo>
                <a:lnTo>
                  <a:pt x="11740" y="6898"/>
                </a:lnTo>
                <a:lnTo>
                  <a:pt x="11738" y="6904"/>
                </a:lnTo>
                <a:lnTo>
                  <a:pt x="11740" y="6914"/>
                </a:lnTo>
                <a:lnTo>
                  <a:pt x="11744" y="6924"/>
                </a:lnTo>
                <a:lnTo>
                  <a:pt x="11750" y="6934"/>
                </a:lnTo>
                <a:lnTo>
                  <a:pt x="11758" y="6944"/>
                </a:lnTo>
                <a:lnTo>
                  <a:pt x="11768" y="6952"/>
                </a:lnTo>
                <a:lnTo>
                  <a:pt x="11776" y="6958"/>
                </a:lnTo>
                <a:lnTo>
                  <a:pt x="11784" y="6962"/>
                </a:lnTo>
                <a:lnTo>
                  <a:pt x="11792" y="6966"/>
                </a:lnTo>
                <a:lnTo>
                  <a:pt x="11796" y="6968"/>
                </a:lnTo>
                <a:lnTo>
                  <a:pt x="11804" y="6978"/>
                </a:lnTo>
                <a:lnTo>
                  <a:pt x="11810" y="6982"/>
                </a:lnTo>
                <a:lnTo>
                  <a:pt x="11812" y="6982"/>
                </a:lnTo>
                <a:lnTo>
                  <a:pt x="11816" y="6980"/>
                </a:lnTo>
                <a:lnTo>
                  <a:pt x="11822" y="6976"/>
                </a:lnTo>
                <a:lnTo>
                  <a:pt x="11826" y="6976"/>
                </a:lnTo>
                <a:lnTo>
                  <a:pt x="11832" y="6976"/>
                </a:lnTo>
                <a:lnTo>
                  <a:pt x="11846" y="6982"/>
                </a:lnTo>
                <a:lnTo>
                  <a:pt x="11868" y="6994"/>
                </a:lnTo>
                <a:lnTo>
                  <a:pt x="11880" y="7000"/>
                </a:lnTo>
                <a:lnTo>
                  <a:pt x="11890" y="7004"/>
                </a:lnTo>
                <a:lnTo>
                  <a:pt x="11896" y="7002"/>
                </a:lnTo>
                <a:lnTo>
                  <a:pt x="11900" y="7000"/>
                </a:lnTo>
                <a:lnTo>
                  <a:pt x="11908" y="6990"/>
                </a:lnTo>
                <a:lnTo>
                  <a:pt x="11914" y="6986"/>
                </a:lnTo>
                <a:lnTo>
                  <a:pt x="11922" y="6980"/>
                </a:lnTo>
                <a:lnTo>
                  <a:pt x="11930" y="6976"/>
                </a:lnTo>
                <a:lnTo>
                  <a:pt x="11936" y="6970"/>
                </a:lnTo>
                <a:lnTo>
                  <a:pt x="11940" y="6960"/>
                </a:lnTo>
                <a:lnTo>
                  <a:pt x="11942" y="6956"/>
                </a:lnTo>
                <a:lnTo>
                  <a:pt x="11944" y="6954"/>
                </a:lnTo>
                <a:lnTo>
                  <a:pt x="11946" y="6956"/>
                </a:lnTo>
                <a:lnTo>
                  <a:pt x="11952" y="6958"/>
                </a:lnTo>
                <a:lnTo>
                  <a:pt x="11958" y="6962"/>
                </a:lnTo>
                <a:lnTo>
                  <a:pt x="11958" y="6966"/>
                </a:lnTo>
                <a:lnTo>
                  <a:pt x="11956" y="6970"/>
                </a:lnTo>
                <a:lnTo>
                  <a:pt x="11952" y="6974"/>
                </a:lnTo>
                <a:lnTo>
                  <a:pt x="11944" y="6980"/>
                </a:lnTo>
                <a:lnTo>
                  <a:pt x="11944" y="6982"/>
                </a:lnTo>
                <a:lnTo>
                  <a:pt x="11948" y="6986"/>
                </a:lnTo>
                <a:lnTo>
                  <a:pt x="11954" y="6988"/>
                </a:lnTo>
                <a:lnTo>
                  <a:pt x="11958" y="6986"/>
                </a:lnTo>
                <a:lnTo>
                  <a:pt x="11960" y="6984"/>
                </a:lnTo>
                <a:lnTo>
                  <a:pt x="11964" y="6980"/>
                </a:lnTo>
                <a:lnTo>
                  <a:pt x="11966" y="6976"/>
                </a:lnTo>
                <a:lnTo>
                  <a:pt x="11966" y="6982"/>
                </a:lnTo>
                <a:lnTo>
                  <a:pt x="11968" y="6986"/>
                </a:lnTo>
                <a:lnTo>
                  <a:pt x="11970" y="6990"/>
                </a:lnTo>
                <a:lnTo>
                  <a:pt x="11976" y="6996"/>
                </a:lnTo>
                <a:lnTo>
                  <a:pt x="11988" y="7004"/>
                </a:lnTo>
                <a:lnTo>
                  <a:pt x="11994" y="7010"/>
                </a:lnTo>
                <a:lnTo>
                  <a:pt x="12004" y="7020"/>
                </a:lnTo>
                <a:lnTo>
                  <a:pt x="12008" y="7026"/>
                </a:lnTo>
                <a:lnTo>
                  <a:pt x="12010" y="7028"/>
                </a:lnTo>
                <a:lnTo>
                  <a:pt x="12010" y="7020"/>
                </a:lnTo>
                <a:lnTo>
                  <a:pt x="12010" y="7014"/>
                </a:lnTo>
                <a:lnTo>
                  <a:pt x="12010" y="7008"/>
                </a:lnTo>
                <a:lnTo>
                  <a:pt x="12012" y="7002"/>
                </a:lnTo>
                <a:lnTo>
                  <a:pt x="12016" y="6998"/>
                </a:lnTo>
                <a:lnTo>
                  <a:pt x="12024" y="6996"/>
                </a:lnTo>
                <a:lnTo>
                  <a:pt x="12034" y="6988"/>
                </a:lnTo>
                <a:lnTo>
                  <a:pt x="12056" y="6970"/>
                </a:lnTo>
                <a:lnTo>
                  <a:pt x="12070" y="6960"/>
                </a:lnTo>
                <a:lnTo>
                  <a:pt x="12084" y="6952"/>
                </a:lnTo>
                <a:lnTo>
                  <a:pt x="12098" y="6948"/>
                </a:lnTo>
                <a:lnTo>
                  <a:pt x="12104" y="6948"/>
                </a:lnTo>
                <a:lnTo>
                  <a:pt x="12112" y="6948"/>
                </a:lnTo>
                <a:lnTo>
                  <a:pt x="12126" y="6948"/>
                </a:lnTo>
                <a:lnTo>
                  <a:pt x="12136" y="6946"/>
                </a:lnTo>
                <a:lnTo>
                  <a:pt x="12144" y="6942"/>
                </a:lnTo>
                <a:lnTo>
                  <a:pt x="12150" y="6936"/>
                </a:lnTo>
                <a:lnTo>
                  <a:pt x="12152" y="6930"/>
                </a:lnTo>
                <a:lnTo>
                  <a:pt x="12154" y="6922"/>
                </a:lnTo>
                <a:lnTo>
                  <a:pt x="12152" y="6918"/>
                </a:lnTo>
                <a:lnTo>
                  <a:pt x="12150" y="6914"/>
                </a:lnTo>
                <a:lnTo>
                  <a:pt x="12146" y="6910"/>
                </a:lnTo>
                <a:lnTo>
                  <a:pt x="12146" y="6906"/>
                </a:lnTo>
                <a:lnTo>
                  <a:pt x="12150" y="6894"/>
                </a:lnTo>
                <a:lnTo>
                  <a:pt x="12156" y="6882"/>
                </a:lnTo>
                <a:lnTo>
                  <a:pt x="12158" y="6876"/>
                </a:lnTo>
                <a:lnTo>
                  <a:pt x="12158" y="6868"/>
                </a:lnTo>
                <a:lnTo>
                  <a:pt x="12160" y="6852"/>
                </a:lnTo>
                <a:lnTo>
                  <a:pt x="12164" y="6832"/>
                </a:lnTo>
                <a:lnTo>
                  <a:pt x="12172" y="6816"/>
                </a:lnTo>
                <a:lnTo>
                  <a:pt x="12176" y="6810"/>
                </a:lnTo>
                <a:lnTo>
                  <a:pt x="12180" y="6806"/>
                </a:lnTo>
                <a:lnTo>
                  <a:pt x="12186" y="6800"/>
                </a:lnTo>
                <a:lnTo>
                  <a:pt x="12188" y="6790"/>
                </a:lnTo>
                <a:lnTo>
                  <a:pt x="12196" y="6758"/>
                </a:lnTo>
                <a:lnTo>
                  <a:pt x="12200" y="6738"/>
                </a:lnTo>
                <a:lnTo>
                  <a:pt x="12208" y="6720"/>
                </a:lnTo>
                <a:lnTo>
                  <a:pt x="12218" y="6702"/>
                </a:lnTo>
                <a:lnTo>
                  <a:pt x="12224" y="6694"/>
                </a:lnTo>
                <a:lnTo>
                  <a:pt x="12232" y="6686"/>
                </a:lnTo>
                <a:lnTo>
                  <a:pt x="12244" y="6674"/>
                </a:lnTo>
                <a:lnTo>
                  <a:pt x="12252" y="6664"/>
                </a:lnTo>
                <a:lnTo>
                  <a:pt x="12256" y="6658"/>
                </a:lnTo>
                <a:lnTo>
                  <a:pt x="12258" y="6652"/>
                </a:lnTo>
                <a:lnTo>
                  <a:pt x="12260" y="6642"/>
                </a:lnTo>
                <a:lnTo>
                  <a:pt x="12260" y="6636"/>
                </a:lnTo>
                <a:lnTo>
                  <a:pt x="12264" y="6628"/>
                </a:lnTo>
                <a:lnTo>
                  <a:pt x="12270" y="6616"/>
                </a:lnTo>
                <a:lnTo>
                  <a:pt x="12272" y="6604"/>
                </a:lnTo>
                <a:lnTo>
                  <a:pt x="12274" y="6596"/>
                </a:lnTo>
                <a:lnTo>
                  <a:pt x="12272" y="6586"/>
                </a:lnTo>
                <a:lnTo>
                  <a:pt x="12272" y="6570"/>
                </a:lnTo>
                <a:lnTo>
                  <a:pt x="12274" y="6562"/>
                </a:lnTo>
                <a:lnTo>
                  <a:pt x="12276" y="6554"/>
                </a:lnTo>
                <a:lnTo>
                  <a:pt x="12282" y="6544"/>
                </a:lnTo>
                <a:lnTo>
                  <a:pt x="12284" y="6532"/>
                </a:lnTo>
                <a:lnTo>
                  <a:pt x="12286" y="6514"/>
                </a:lnTo>
                <a:lnTo>
                  <a:pt x="12288" y="6496"/>
                </a:lnTo>
                <a:lnTo>
                  <a:pt x="12292" y="6488"/>
                </a:lnTo>
                <a:lnTo>
                  <a:pt x="12296" y="6476"/>
                </a:lnTo>
                <a:lnTo>
                  <a:pt x="12298" y="6472"/>
                </a:lnTo>
                <a:lnTo>
                  <a:pt x="12300" y="6464"/>
                </a:lnTo>
                <a:lnTo>
                  <a:pt x="12300" y="6452"/>
                </a:lnTo>
                <a:lnTo>
                  <a:pt x="12296" y="6438"/>
                </a:lnTo>
                <a:lnTo>
                  <a:pt x="12292" y="6422"/>
                </a:lnTo>
                <a:lnTo>
                  <a:pt x="12282" y="6398"/>
                </a:lnTo>
                <a:lnTo>
                  <a:pt x="12280" y="6388"/>
                </a:lnTo>
                <a:lnTo>
                  <a:pt x="12280" y="6382"/>
                </a:lnTo>
                <a:close/>
                <a:moveTo>
                  <a:pt x="11380" y="5618"/>
                </a:moveTo>
                <a:lnTo>
                  <a:pt x="11380" y="5618"/>
                </a:lnTo>
                <a:lnTo>
                  <a:pt x="11384" y="5618"/>
                </a:lnTo>
                <a:lnTo>
                  <a:pt x="11388" y="5618"/>
                </a:lnTo>
                <a:lnTo>
                  <a:pt x="11394" y="5616"/>
                </a:lnTo>
                <a:lnTo>
                  <a:pt x="11400" y="5612"/>
                </a:lnTo>
                <a:lnTo>
                  <a:pt x="11404" y="5608"/>
                </a:lnTo>
                <a:lnTo>
                  <a:pt x="11406" y="5602"/>
                </a:lnTo>
                <a:lnTo>
                  <a:pt x="11408" y="5596"/>
                </a:lnTo>
                <a:lnTo>
                  <a:pt x="11406" y="5592"/>
                </a:lnTo>
                <a:lnTo>
                  <a:pt x="11402" y="5586"/>
                </a:lnTo>
                <a:lnTo>
                  <a:pt x="11398" y="5584"/>
                </a:lnTo>
                <a:lnTo>
                  <a:pt x="11396" y="5586"/>
                </a:lnTo>
                <a:lnTo>
                  <a:pt x="11392" y="5588"/>
                </a:lnTo>
                <a:lnTo>
                  <a:pt x="11388" y="5592"/>
                </a:lnTo>
                <a:lnTo>
                  <a:pt x="11382" y="5594"/>
                </a:lnTo>
                <a:lnTo>
                  <a:pt x="11376" y="5592"/>
                </a:lnTo>
                <a:lnTo>
                  <a:pt x="11366" y="5588"/>
                </a:lnTo>
                <a:lnTo>
                  <a:pt x="11362" y="5588"/>
                </a:lnTo>
                <a:lnTo>
                  <a:pt x="11360" y="5588"/>
                </a:lnTo>
                <a:lnTo>
                  <a:pt x="11360" y="5590"/>
                </a:lnTo>
                <a:lnTo>
                  <a:pt x="11362" y="5596"/>
                </a:lnTo>
                <a:lnTo>
                  <a:pt x="11370" y="5606"/>
                </a:lnTo>
                <a:lnTo>
                  <a:pt x="11380" y="5618"/>
                </a:lnTo>
                <a:close/>
                <a:moveTo>
                  <a:pt x="11350" y="5602"/>
                </a:moveTo>
                <a:lnTo>
                  <a:pt x="11350" y="5602"/>
                </a:lnTo>
                <a:lnTo>
                  <a:pt x="11350" y="5608"/>
                </a:lnTo>
                <a:lnTo>
                  <a:pt x="11350" y="5612"/>
                </a:lnTo>
                <a:lnTo>
                  <a:pt x="11354" y="5614"/>
                </a:lnTo>
                <a:lnTo>
                  <a:pt x="11360" y="5616"/>
                </a:lnTo>
                <a:lnTo>
                  <a:pt x="11364" y="5618"/>
                </a:lnTo>
                <a:lnTo>
                  <a:pt x="11366" y="5616"/>
                </a:lnTo>
                <a:lnTo>
                  <a:pt x="11366" y="5610"/>
                </a:lnTo>
                <a:lnTo>
                  <a:pt x="11362" y="5604"/>
                </a:lnTo>
                <a:lnTo>
                  <a:pt x="11356" y="5596"/>
                </a:lnTo>
                <a:lnTo>
                  <a:pt x="11352" y="5594"/>
                </a:lnTo>
                <a:lnTo>
                  <a:pt x="11350" y="5596"/>
                </a:lnTo>
                <a:lnTo>
                  <a:pt x="11350" y="5602"/>
                </a:lnTo>
                <a:close/>
                <a:moveTo>
                  <a:pt x="11606" y="5728"/>
                </a:moveTo>
                <a:lnTo>
                  <a:pt x="11606" y="5728"/>
                </a:lnTo>
                <a:lnTo>
                  <a:pt x="11608" y="5734"/>
                </a:lnTo>
                <a:lnTo>
                  <a:pt x="11610" y="5736"/>
                </a:lnTo>
                <a:lnTo>
                  <a:pt x="11612" y="5736"/>
                </a:lnTo>
                <a:lnTo>
                  <a:pt x="11616" y="5732"/>
                </a:lnTo>
                <a:lnTo>
                  <a:pt x="11620" y="5724"/>
                </a:lnTo>
                <a:lnTo>
                  <a:pt x="11622" y="5720"/>
                </a:lnTo>
                <a:lnTo>
                  <a:pt x="11620" y="5716"/>
                </a:lnTo>
                <a:lnTo>
                  <a:pt x="11616" y="5716"/>
                </a:lnTo>
                <a:lnTo>
                  <a:pt x="11614" y="5714"/>
                </a:lnTo>
                <a:lnTo>
                  <a:pt x="11610" y="5716"/>
                </a:lnTo>
                <a:lnTo>
                  <a:pt x="11606" y="5718"/>
                </a:lnTo>
                <a:lnTo>
                  <a:pt x="11606" y="5722"/>
                </a:lnTo>
                <a:lnTo>
                  <a:pt x="11606" y="5728"/>
                </a:lnTo>
                <a:close/>
                <a:moveTo>
                  <a:pt x="12276" y="6286"/>
                </a:moveTo>
                <a:lnTo>
                  <a:pt x="12276" y="6286"/>
                </a:lnTo>
                <a:lnTo>
                  <a:pt x="12276" y="6292"/>
                </a:lnTo>
                <a:lnTo>
                  <a:pt x="12274" y="6300"/>
                </a:lnTo>
                <a:lnTo>
                  <a:pt x="12274" y="6308"/>
                </a:lnTo>
                <a:lnTo>
                  <a:pt x="12274" y="6310"/>
                </a:lnTo>
                <a:lnTo>
                  <a:pt x="12276" y="6312"/>
                </a:lnTo>
                <a:lnTo>
                  <a:pt x="12280" y="6314"/>
                </a:lnTo>
                <a:lnTo>
                  <a:pt x="12280" y="6310"/>
                </a:lnTo>
                <a:lnTo>
                  <a:pt x="12282" y="6300"/>
                </a:lnTo>
                <a:lnTo>
                  <a:pt x="12284" y="6290"/>
                </a:lnTo>
                <a:lnTo>
                  <a:pt x="12290" y="6280"/>
                </a:lnTo>
                <a:lnTo>
                  <a:pt x="12290" y="6276"/>
                </a:lnTo>
                <a:lnTo>
                  <a:pt x="12290" y="6272"/>
                </a:lnTo>
                <a:lnTo>
                  <a:pt x="12288" y="6268"/>
                </a:lnTo>
                <a:lnTo>
                  <a:pt x="12288" y="6262"/>
                </a:lnTo>
                <a:lnTo>
                  <a:pt x="12286" y="6258"/>
                </a:lnTo>
                <a:lnTo>
                  <a:pt x="12284" y="6260"/>
                </a:lnTo>
                <a:lnTo>
                  <a:pt x="12282" y="6264"/>
                </a:lnTo>
                <a:lnTo>
                  <a:pt x="12282" y="6270"/>
                </a:lnTo>
                <a:lnTo>
                  <a:pt x="12284" y="6272"/>
                </a:lnTo>
                <a:lnTo>
                  <a:pt x="12282" y="6276"/>
                </a:lnTo>
                <a:lnTo>
                  <a:pt x="12280" y="6280"/>
                </a:lnTo>
                <a:lnTo>
                  <a:pt x="12276" y="6284"/>
                </a:lnTo>
                <a:lnTo>
                  <a:pt x="12276" y="6286"/>
                </a:lnTo>
                <a:close/>
                <a:moveTo>
                  <a:pt x="11714" y="5858"/>
                </a:moveTo>
                <a:lnTo>
                  <a:pt x="11714" y="5858"/>
                </a:lnTo>
                <a:lnTo>
                  <a:pt x="11716" y="5860"/>
                </a:lnTo>
                <a:lnTo>
                  <a:pt x="11720" y="5858"/>
                </a:lnTo>
                <a:lnTo>
                  <a:pt x="11724" y="5856"/>
                </a:lnTo>
                <a:lnTo>
                  <a:pt x="11728" y="5852"/>
                </a:lnTo>
                <a:lnTo>
                  <a:pt x="11730" y="5850"/>
                </a:lnTo>
                <a:lnTo>
                  <a:pt x="11736" y="5850"/>
                </a:lnTo>
                <a:lnTo>
                  <a:pt x="11738" y="5848"/>
                </a:lnTo>
                <a:lnTo>
                  <a:pt x="11738" y="5846"/>
                </a:lnTo>
                <a:lnTo>
                  <a:pt x="11738" y="5844"/>
                </a:lnTo>
                <a:lnTo>
                  <a:pt x="11734" y="5842"/>
                </a:lnTo>
                <a:lnTo>
                  <a:pt x="11730" y="5842"/>
                </a:lnTo>
                <a:lnTo>
                  <a:pt x="11722" y="5846"/>
                </a:lnTo>
                <a:lnTo>
                  <a:pt x="11716" y="5854"/>
                </a:lnTo>
                <a:lnTo>
                  <a:pt x="11714" y="5856"/>
                </a:lnTo>
                <a:lnTo>
                  <a:pt x="11714" y="5858"/>
                </a:lnTo>
                <a:close/>
                <a:moveTo>
                  <a:pt x="7856" y="5622"/>
                </a:moveTo>
                <a:lnTo>
                  <a:pt x="7856" y="5622"/>
                </a:lnTo>
                <a:lnTo>
                  <a:pt x="7858" y="5620"/>
                </a:lnTo>
                <a:lnTo>
                  <a:pt x="7860" y="5616"/>
                </a:lnTo>
                <a:lnTo>
                  <a:pt x="7860" y="5606"/>
                </a:lnTo>
                <a:lnTo>
                  <a:pt x="7856" y="5596"/>
                </a:lnTo>
                <a:lnTo>
                  <a:pt x="7854" y="5594"/>
                </a:lnTo>
                <a:lnTo>
                  <a:pt x="7852" y="5594"/>
                </a:lnTo>
                <a:lnTo>
                  <a:pt x="7848" y="5600"/>
                </a:lnTo>
                <a:lnTo>
                  <a:pt x="7848" y="5608"/>
                </a:lnTo>
                <a:lnTo>
                  <a:pt x="7850" y="5618"/>
                </a:lnTo>
                <a:lnTo>
                  <a:pt x="7854" y="5620"/>
                </a:lnTo>
                <a:lnTo>
                  <a:pt x="7856" y="5622"/>
                </a:lnTo>
                <a:close/>
                <a:moveTo>
                  <a:pt x="7924" y="5658"/>
                </a:moveTo>
                <a:lnTo>
                  <a:pt x="7924" y="5658"/>
                </a:lnTo>
                <a:lnTo>
                  <a:pt x="7920" y="5658"/>
                </a:lnTo>
                <a:lnTo>
                  <a:pt x="7920" y="5660"/>
                </a:lnTo>
                <a:lnTo>
                  <a:pt x="7920" y="5664"/>
                </a:lnTo>
                <a:lnTo>
                  <a:pt x="7924" y="5670"/>
                </a:lnTo>
                <a:lnTo>
                  <a:pt x="7926" y="5672"/>
                </a:lnTo>
                <a:lnTo>
                  <a:pt x="7928" y="5670"/>
                </a:lnTo>
                <a:lnTo>
                  <a:pt x="7928" y="5666"/>
                </a:lnTo>
                <a:lnTo>
                  <a:pt x="7928" y="5662"/>
                </a:lnTo>
                <a:lnTo>
                  <a:pt x="7924" y="5658"/>
                </a:lnTo>
                <a:close/>
                <a:moveTo>
                  <a:pt x="7902" y="5642"/>
                </a:moveTo>
                <a:lnTo>
                  <a:pt x="7902" y="5642"/>
                </a:lnTo>
                <a:lnTo>
                  <a:pt x="7902" y="5638"/>
                </a:lnTo>
                <a:lnTo>
                  <a:pt x="7902" y="5634"/>
                </a:lnTo>
                <a:lnTo>
                  <a:pt x="7900" y="5630"/>
                </a:lnTo>
                <a:lnTo>
                  <a:pt x="7898" y="5630"/>
                </a:lnTo>
                <a:lnTo>
                  <a:pt x="7896" y="5630"/>
                </a:lnTo>
                <a:lnTo>
                  <a:pt x="7894" y="5632"/>
                </a:lnTo>
                <a:lnTo>
                  <a:pt x="7894" y="5634"/>
                </a:lnTo>
                <a:lnTo>
                  <a:pt x="7896" y="5640"/>
                </a:lnTo>
                <a:lnTo>
                  <a:pt x="7898" y="5642"/>
                </a:lnTo>
                <a:lnTo>
                  <a:pt x="7902" y="5642"/>
                </a:lnTo>
                <a:close/>
                <a:moveTo>
                  <a:pt x="7690" y="5324"/>
                </a:moveTo>
                <a:lnTo>
                  <a:pt x="7690" y="5324"/>
                </a:lnTo>
                <a:lnTo>
                  <a:pt x="7688" y="5328"/>
                </a:lnTo>
                <a:lnTo>
                  <a:pt x="7688" y="5334"/>
                </a:lnTo>
                <a:lnTo>
                  <a:pt x="7692" y="5342"/>
                </a:lnTo>
                <a:lnTo>
                  <a:pt x="7696" y="5348"/>
                </a:lnTo>
                <a:lnTo>
                  <a:pt x="7702" y="5352"/>
                </a:lnTo>
                <a:lnTo>
                  <a:pt x="7704" y="5352"/>
                </a:lnTo>
                <a:lnTo>
                  <a:pt x="7704" y="5348"/>
                </a:lnTo>
                <a:lnTo>
                  <a:pt x="7704" y="5342"/>
                </a:lnTo>
                <a:lnTo>
                  <a:pt x="7702" y="5338"/>
                </a:lnTo>
                <a:lnTo>
                  <a:pt x="7700" y="5336"/>
                </a:lnTo>
                <a:lnTo>
                  <a:pt x="7698" y="5332"/>
                </a:lnTo>
                <a:lnTo>
                  <a:pt x="7696" y="5326"/>
                </a:lnTo>
                <a:lnTo>
                  <a:pt x="7694" y="5318"/>
                </a:lnTo>
                <a:lnTo>
                  <a:pt x="7694" y="5316"/>
                </a:lnTo>
                <a:lnTo>
                  <a:pt x="7690" y="5324"/>
                </a:lnTo>
                <a:close/>
                <a:moveTo>
                  <a:pt x="7710" y="5302"/>
                </a:moveTo>
                <a:lnTo>
                  <a:pt x="7710" y="5302"/>
                </a:lnTo>
                <a:lnTo>
                  <a:pt x="7712" y="5304"/>
                </a:lnTo>
                <a:lnTo>
                  <a:pt x="7712" y="5302"/>
                </a:lnTo>
                <a:lnTo>
                  <a:pt x="7716" y="5292"/>
                </a:lnTo>
                <a:lnTo>
                  <a:pt x="7716" y="5282"/>
                </a:lnTo>
                <a:lnTo>
                  <a:pt x="7716" y="5280"/>
                </a:lnTo>
                <a:lnTo>
                  <a:pt x="7712" y="5276"/>
                </a:lnTo>
                <a:lnTo>
                  <a:pt x="7710" y="5276"/>
                </a:lnTo>
                <a:lnTo>
                  <a:pt x="7708" y="5278"/>
                </a:lnTo>
                <a:lnTo>
                  <a:pt x="7710" y="5288"/>
                </a:lnTo>
                <a:lnTo>
                  <a:pt x="7710" y="5292"/>
                </a:lnTo>
                <a:lnTo>
                  <a:pt x="7708" y="5296"/>
                </a:lnTo>
                <a:lnTo>
                  <a:pt x="7708" y="5300"/>
                </a:lnTo>
                <a:lnTo>
                  <a:pt x="7710" y="5302"/>
                </a:lnTo>
                <a:close/>
                <a:moveTo>
                  <a:pt x="7710" y="5426"/>
                </a:moveTo>
                <a:lnTo>
                  <a:pt x="7710" y="5426"/>
                </a:lnTo>
                <a:lnTo>
                  <a:pt x="7714" y="5424"/>
                </a:lnTo>
                <a:lnTo>
                  <a:pt x="7716" y="5422"/>
                </a:lnTo>
                <a:lnTo>
                  <a:pt x="7718" y="5412"/>
                </a:lnTo>
                <a:lnTo>
                  <a:pt x="7718" y="5410"/>
                </a:lnTo>
                <a:lnTo>
                  <a:pt x="7716" y="5410"/>
                </a:lnTo>
                <a:lnTo>
                  <a:pt x="7710" y="5416"/>
                </a:lnTo>
                <a:lnTo>
                  <a:pt x="7706" y="5424"/>
                </a:lnTo>
                <a:lnTo>
                  <a:pt x="7708" y="5426"/>
                </a:lnTo>
                <a:lnTo>
                  <a:pt x="7710" y="5426"/>
                </a:lnTo>
                <a:close/>
                <a:moveTo>
                  <a:pt x="8334" y="6072"/>
                </a:moveTo>
                <a:lnTo>
                  <a:pt x="8334" y="6072"/>
                </a:lnTo>
                <a:lnTo>
                  <a:pt x="8332" y="6076"/>
                </a:lnTo>
                <a:lnTo>
                  <a:pt x="8334" y="6080"/>
                </a:lnTo>
                <a:lnTo>
                  <a:pt x="8340" y="6088"/>
                </a:lnTo>
                <a:lnTo>
                  <a:pt x="8344" y="6090"/>
                </a:lnTo>
                <a:lnTo>
                  <a:pt x="8348" y="6090"/>
                </a:lnTo>
                <a:lnTo>
                  <a:pt x="8354" y="6090"/>
                </a:lnTo>
                <a:lnTo>
                  <a:pt x="8358" y="6088"/>
                </a:lnTo>
                <a:lnTo>
                  <a:pt x="8358" y="6084"/>
                </a:lnTo>
                <a:lnTo>
                  <a:pt x="8358" y="6080"/>
                </a:lnTo>
                <a:lnTo>
                  <a:pt x="8356" y="6074"/>
                </a:lnTo>
                <a:lnTo>
                  <a:pt x="8350" y="6072"/>
                </a:lnTo>
                <a:lnTo>
                  <a:pt x="8346" y="6068"/>
                </a:lnTo>
                <a:lnTo>
                  <a:pt x="8340" y="6068"/>
                </a:lnTo>
                <a:lnTo>
                  <a:pt x="8336" y="6068"/>
                </a:lnTo>
                <a:lnTo>
                  <a:pt x="8334" y="6072"/>
                </a:lnTo>
                <a:close/>
                <a:moveTo>
                  <a:pt x="8428" y="6048"/>
                </a:moveTo>
                <a:lnTo>
                  <a:pt x="8428" y="6048"/>
                </a:lnTo>
                <a:lnTo>
                  <a:pt x="8432" y="6046"/>
                </a:lnTo>
                <a:lnTo>
                  <a:pt x="8436" y="6044"/>
                </a:lnTo>
                <a:lnTo>
                  <a:pt x="8436" y="6042"/>
                </a:lnTo>
                <a:lnTo>
                  <a:pt x="8436" y="6038"/>
                </a:lnTo>
                <a:lnTo>
                  <a:pt x="8434" y="6032"/>
                </a:lnTo>
                <a:lnTo>
                  <a:pt x="8432" y="6022"/>
                </a:lnTo>
                <a:lnTo>
                  <a:pt x="8430" y="6018"/>
                </a:lnTo>
                <a:lnTo>
                  <a:pt x="8428" y="6020"/>
                </a:lnTo>
                <a:lnTo>
                  <a:pt x="8420" y="6030"/>
                </a:lnTo>
                <a:lnTo>
                  <a:pt x="8418" y="6038"/>
                </a:lnTo>
                <a:lnTo>
                  <a:pt x="8418" y="6042"/>
                </a:lnTo>
                <a:lnTo>
                  <a:pt x="8422" y="6046"/>
                </a:lnTo>
                <a:lnTo>
                  <a:pt x="8428" y="6048"/>
                </a:lnTo>
                <a:close/>
                <a:moveTo>
                  <a:pt x="6776" y="2836"/>
                </a:moveTo>
                <a:lnTo>
                  <a:pt x="6776" y="2836"/>
                </a:lnTo>
                <a:lnTo>
                  <a:pt x="6792" y="2836"/>
                </a:lnTo>
                <a:lnTo>
                  <a:pt x="6794" y="2836"/>
                </a:lnTo>
                <a:lnTo>
                  <a:pt x="6794" y="2834"/>
                </a:lnTo>
                <a:lnTo>
                  <a:pt x="6784" y="2832"/>
                </a:lnTo>
                <a:lnTo>
                  <a:pt x="6772" y="2830"/>
                </a:lnTo>
                <a:lnTo>
                  <a:pt x="6768" y="2832"/>
                </a:lnTo>
                <a:lnTo>
                  <a:pt x="6776" y="2836"/>
                </a:lnTo>
                <a:close/>
                <a:moveTo>
                  <a:pt x="6786" y="2826"/>
                </a:moveTo>
                <a:lnTo>
                  <a:pt x="6786" y="2826"/>
                </a:lnTo>
                <a:lnTo>
                  <a:pt x="6786" y="2824"/>
                </a:lnTo>
                <a:lnTo>
                  <a:pt x="6784" y="2824"/>
                </a:lnTo>
                <a:lnTo>
                  <a:pt x="6778" y="2822"/>
                </a:lnTo>
                <a:lnTo>
                  <a:pt x="6770" y="2822"/>
                </a:lnTo>
                <a:lnTo>
                  <a:pt x="6768" y="2822"/>
                </a:lnTo>
                <a:lnTo>
                  <a:pt x="6768" y="2824"/>
                </a:lnTo>
                <a:lnTo>
                  <a:pt x="6772" y="2826"/>
                </a:lnTo>
                <a:lnTo>
                  <a:pt x="6776" y="2826"/>
                </a:lnTo>
                <a:lnTo>
                  <a:pt x="6780" y="2826"/>
                </a:lnTo>
                <a:lnTo>
                  <a:pt x="6786" y="2826"/>
                </a:lnTo>
                <a:close/>
                <a:moveTo>
                  <a:pt x="6786" y="2850"/>
                </a:moveTo>
                <a:lnTo>
                  <a:pt x="6786" y="2850"/>
                </a:lnTo>
                <a:lnTo>
                  <a:pt x="6794" y="2848"/>
                </a:lnTo>
                <a:lnTo>
                  <a:pt x="6796" y="2848"/>
                </a:lnTo>
                <a:lnTo>
                  <a:pt x="6796" y="2846"/>
                </a:lnTo>
                <a:lnTo>
                  <a:pt x="6782" y="2844"/>
                </a:lnTo>
                <a:lnTo>
                  <a:pt x="6778" y="2844"/>
                </a:lnTo>
                <a:lnTo>
                  <a:pt x="6776" y="2846"/>
                </a:lnTo>
                <a:lnTo>
                  <a:pt x="6778" y="2848"/>
                </a:lnTo>
                <a:lnTo>
                  <a:pt x="6780" y="2850"/>
                </a:lnTo>
                <a:lnTo>
                  <a:pt x="6786" y="2850"/>
                </a:lnTo>
                <a:close/>
                <a:moveTo>
                  <a:pt x="6698" y="2726"/>
                </a:moveTo>
                <a:lnTo>
                  <a:pt x="6698" y="2726"/>
                </a:lnTo>
                <a:lnTo>
                  <a:pt x="6696" y="2720"/>
                </a:lnTo>
                <a:lnTo>
                  <a:pt x="6694" y="2718"/>
                </a:lnTo>
                <a:lnTo>
                  <a:pt x="6692" y="2718"/>
                </a:lnTo>
                <a:lnTo>
                  <a:pt x="6690" y="2718"/>
                </a:lnTo>
                <a:lnTo>
                  <a:pt x="6690" y="2720"/>
                </a:lnTo>
                <a:lnTo>
                  <a:pt x="6690" y="2724"/>
                </a:lnTo>
                <a:lnTo>
                  <a:pt x="6690" y="2726"/>
                </a:lnTo>
                <a:lnTo>
                  <a:pt x="6692" y="2728"/>
                </a:lnTo>
                <a:lnTo>
                  <a:pt x="6698" y="2730"/>
                </a:lnTo>
                <a:lnTo>
                  <a:pt x="6702" y="2730"/>
                </a:lnTo>
                <a:lnTo>
                  <a:pt x="6698" y="2726"/>
                </a:lnTo>
                <a:close/>
                <a:moveTo>
                  <a:pt x="6682" y="2734"/>
                </a:moveTo>
                <a:lnTo>
                  <a:pt x="6682" y="2734"/>
                </a:lnTo>
                <a:lnTo>
                  <a:pt x="6682" y="2738"/>
                </a:lnTo>
                <a:lnTo>
                  <a:pt x="6684" y="2740"/>
                </a:lnTo>
                <a:lnTo>
                  <a:pt x="6692" y="2750"/>
                </a:lnTo>
                <a:lnTo>
                  <a:pt x="6692" y="2748"/>
                </a:lnTo>
                <a:lnTo>
                  <a:pt x="6690" y="2738"/>
                </a:lnTo>
                <a:lnTo>
                  <a:pt x="6686" y="2720"/>
                </a:lnTo>
                <a:lnTo>
                  <a:pt x="6684" y="2718"/>
                </a:lnTo>
                <a:lnTo>
                  <a:pt x="6682" y="2720"/>
                </a:lnTo>
                <a:lnTo>
                  <a:pt x="6682" y="2724"/>
                </a:lnTo>
                <a:lnTo>
                  <a:pt x="6684" y="2730"/>
                </a:lnTo>
                <a:lnTo>
                  <a:pt x="6686" y="2734"/>
                </a:lnTo>
                <a:lnTo>
                  <a:pt x="6684" y="2734"/>
                </a:lnTo>
                <a:lnTo>
                  <a:pt x="6682" y="2734"/>
                </a:lnTo>
                <a:close/>
                <a:moveTo>
                  <a:pt x="6714" y="2766"/>
                </a:moveTo>
                <a:lnTo>
                  <a:pt x="6714" y="2766"/>
                </a:lnTo>
                <a:lnTo>
                  <a:pt x="6716" y="2768"/>
                </a:lnTo>
                <a:lnTo>
                  <a:pt x="6714" y="2764"/>
                </a:lnTo>
                <a:lnTo>
                  <a:pt x="6706" y="2754"/>
                </a:lnTo>
                <a:lnTo>
                  <a:pt x="6698" y="2748"/>
                </a:lnTo>
                <a:lnTo>
                  <a:pt x="6698" y="2746"/>
                </a:lnTo>
                <a:lnTo>
                  <a:pt x="6698" y="2750"/>
                </a:lnTo>
                <a:lnTo>
                  <a:pt x="6704" y="2758"/>
                </a:lnTo>
                <a:lnTo>
                  <a:pt x="6714" y="2766"/>
                </a:lnTo>
                <a:close/>
                <a:moveTo>
                  <a:pt x="5870" y="2188"/>
                </a:moveTo>
                <a:lnTo>
                  <a:pt x="5870" y="2188"/>
                </a:lnTo>
                <a:lnTo>
                  <a:pt x="5874" y="2184"/>
                </a:lnTo>
                <a:lnTo>
                  <a:pt x="5878" y="2182"/>
                </a:lnTo>
                <a:lnTo>
                  <a:pt x="5880" y="2182"/>
                </a:lnTo>
                <a:lnTo>
                  <a:pt x="5882" y="2180"/>
                </a:lnTo>
                <a:lnTo>
                  <a:pt x="5880" y="2176"/>
                </a:lnTo>
                <a:lnTo>
                  <a:pt x="5878" y="2176"/>
                </a:lnTo>
                <a:lnTo>
                  <a:pt x="5876" y="2176"/>
                </a:lnTo>
                <a:lnTo>
                  <a:pt x="5876" y="2174"/>
                </a:lnTo>
                <a:lnTo>
                  <a:pt x="5878" y="2172"/>
                </a:lnTo>
                <a:lnTo>
                  <a:pt x="5880" y="2168"/>
                </a:lnTo>
                <a:lnTo>
                  <a:pt x="5880" y="2166"/>
                </a:lnTo>
                <a:lnTo>
                  <a:pt x="5882" y="2168"/>
                </a:lnTo>
                <a:lnTo>
                  <a:pt x="5884" y="2174"/>
                </a:lnTo>
                <a:lnTo>
                  <a:pt x="5886" y="2176"/>
                </a:lnTo>
                <a:lnTo>
                  <a:pt x="5888" y="2172"/>
                </a:lnTo>
                <a:lnTo>
                  <a:pt x="5888" y="2168"/>
                </a:lnTo>
                <a:lnTo>
                  <a:pt x="5886" y="2162"/>
                </a:lnTo>
                <a:lnTo>
                  <a:pt x="5884" y="2156"/>
                </a:lnTo>
                <a:lnTo>
                  <a:pt x="5882" y="2156"/>
                </a:lnTo>
                <a:lnTo>
                  <a:pt x="5880" y="2156"/>
                </a:lnTo>
                <a:lnTo>
                  <a:pt x="5870" y="2158"/>
                </a:lnTo>
                <a:lnTo>
                  <a:pt x="5868" y="2158"/>
                </a:lnTo>
                <a:lnTo>
                  <a:pt x="5870" y="2154"/>
                </a:lnTo>
                <a:lnTo>
                  <a:pt x="5876" y="2152"/>
                </a:lnTo>
                <a:lnTo>
                  <a:pt x="5878" y="2148"/>
                </a:lnTo>
                <a:lnTo>
                  <a:pt x="5878" y="2146"/>
                </a:lnTo>
                <a:lnTo>
                  <a:pt x="5874" y="2146"/>
                </a:lnTo>
                <a:lnTo>
                  <a:pt x="5870" y="2144"/>
                </a:lnTo>
                <a:lnTo>
                  <a:pt x="5868" y="2138"/>
                </a:lnTo>
                <a:lnTo>
                  <a:pt x="5860" y="2124"/>
                </a:lnTo>
                <a:lnTo>
                  <a:pt x="5858" y="2122"/>
                </a:lnTo>
                <a:lnTo>
                  <a:pt x="5856" y="2122"/>
                </a:lnTo>
                <a:lnTo>
                  <a:pt x="5848" y="2122"/>
                </a:lnTo>
                <a:lnTo>
                  <a:pt x="5840" y="2124"/>
                </a:lnTo>
                <a:lnTo>
                  <a:pt x="5832" y="2126"/>
                </a:lnTo>
                <a:lnTo>
                  <a:pt x="5826" y="2126"/>
                </a:lnTo>
                <a:lnTo>
                  <a:pt x="5826" y="2130"/>
                </a:lnTo>
                <a:lnTo>
                  <a:pt x="5822" y="2132"/>
                </a:lnTo>
                <a:lnTo>
                  <a:pt x="5816" y="2134"/>
                </a:lnTo>
                <a:lnTo>
                  <a:pt x="5810" y="2136"/>
                </a:lnTo>
                <a:lnTo>
                  <a:pt x="5808" y="2138"/>
                </a:lnTo>
                <a:lnTo>
                  <a:pt x="5806" y="2146"/>
                </a:lnTo>
                <a:lnTo>
                  <a:pt x="5804" y="2150"/>
                </a:lnTo>
                <a:lnTo>
                  <a:pt x="5802" y="2152"/>
                </a:lnTo>
                <a:lnTo>
                  <a:pt x="5796" y="2154"/>
                </a:lnTo>
                <a:lnTo>
                  <a:pt x="5802" y="2152"/>
                </a:lnTo>
                <a:lnTo>
                  <a:pt x="5804" y="2150"/>
                </a:lnTo>
                <a:lnTo>
                  <a:pt x="5806" y="2144"/>
                </a:lnTo>
                <a:lnTo>
                  <a:pt x="5808" y="2136"/>
                </a:lnTo>
                <a:lnTo>
                  <a:pt x="5812" y="2134"/>
                </a:lnTo>
                <a:lnTo>
                  <a:pt x="5816" y="2130"/>
                </a:lnTo>
                <a:lnTo>
                  <a:pt x="5816" y="2128"/>
                </a:lnTo>
                <a:lnTo>
                  <a:pt x="5818" y="2126"/>
                </a:lnTo>
                <a:lnTo>
                  <a:pt x="5822" y="2124"/>
                </a:lnTo>
                <a:lnTo>
                  <a:pt x="5824" y="2122"/>
                </a:lnTo>
                <a:lnTo>
                  <a:pt x="5824" y="2120"/>
                </a:lnTo>
                <a:lnTo>
                  <a:pt x="5818" y="2116"/>
                </a:lnTo>
                <a:lnTo>
                  <a:pt x="5814" y="2114"/>
                </a:lnTo>
                <a:lnTo>
                  <a:pt x="5810" y="2114"/>
                </a:lnTo>
                <a:lnTo>
                  <a:pt x="5808" y="2114"/>
                </a:lnTo>
                <a:lnTo>
                  <a:pt x="5806" y="2116"/>
                </a:lnTo>
                <a:lnTo>
                  <a:pt x="5804" y="2120"/>
                </a:lnTo>
                <a:lnTo>
                  <a:pt x="5800" y="2122"/>
                </a:lnTo>
                <a:lnTo>
                  <a:pt x="5796" y="2122"/>
                </a:lnTo>
                <a:lnTo>
                  <a:pt x="5788" y="2122"/>
                </a:lnTo>
                <a:lnTo>
                  <a:pt x="5778" y="2128"/>
                </a:lnTo>
                <a:lnTo>
                  <a:pt x="5770" y="2134"/>
                </a:lnTo>
                <a:lnTo>
                  <a:pt x="5768" y="2138"/>
                </a:lnTo>
                <a:lnTo>
                  <a:pt x="5768" y="2142"/>
                </a:lnTo>
                <a:lnTo>
                  <a:pt x="5768" y="2144"/>
                </a:lnTo>
                <a:lnTo>
                  <a:pt x="5766" y="2146"/>
                </a:lnTo>
                <a:lnTo>
                  <a:pt x="5760" y="2150"/>
                </a:lnTo>
                <a:lnTo>
                  <a:pt x="5754" y="2154"/>
                </a:lnTo>
                <a:lnTo>
                  <a:pt x="5752" y="2156"/>
                </a:lnTo>
                <a:lnTo>
                  <a:pt x="5752" y="2158"/>
                </a:lnTo>
                <a:lnTo>
                  <a:pt x="5754" y="2160"/>
                </a:lnTo>
                <a:lnTo>
                  <a:pt x="5760" y="2160"/>
                </a:lnTo>
                <a:lnTo>
                  <a:pt x="5770" y="2160"/>
                </a:lnTo>
                <a:lnTo>
                  <a:pt x="5778" y="2160"/>
                </a:lnTo>
                <a:lnTo>
                  <a:pt x="5778" y="2162"/>
                </a:lnTo>
                <a:lnTo>
                  <a:pt x="5774" y="2166"/>
                </a:lnTo>
                <a:lnTo>
                  <a:pt x="5766" y="2174"/>
                </a:lnTo>
                <a:lnTo>
                  <a:pt x="5762" y="2180"/>
                </a:lnTo>
                <a:lnTo>
                  <a:pt x="5758" y="2182"/>
                </a:lnTo>
                <a:lnTo>
                  <a:pt x="5754" y="2182"/>
                </a:lnTo>
                <a:lnTo>
                  <a:pt x="5748" y="2182"/>
                </a:lnTo>
                <a:lnTo>
                  <a:pt x="5742" y="2184"/>
                </a:lnTo>
                <a:lnTo>
                  <a:pt x="5738" y="2184"/>
                </a:lnTo>
                <a:lnTo>
                  <a:pt x="5732" y="2180"/>
                </a:lnTo>
                <a:lnTo>
                  <a:pt x="5724" y="2178"/>
                </a:lnTo>
                <a:lnTo>
                  <a:pt x="5714" y="2178"/>
                </a:lnTo>
                <a:lnTo>
                  <a:pt x="5706" y="2180"/>
                </a:lnTo>
                <a:lnTo>
                  <a:pt x="5700" y="2186"/>
                </a:lnTo>
                <a:lnTo>
                  <a:pt x="5698" y="2188"/>
                </a:lnTo>
                <a:lnTo>
                  <a:pt x="5702" y="2188"/>
                </a:lnTo>
                <a:lnTo>
                  <a:pt x="5704" y="2188"/>
                </a:lnTo>
                <a:lnTo>
                  <a:pt x="5706" y="2188"/>
                </a:lnTo>
                <a:lnTo>
                  <a:pt x="5704" y="2192"/>
                </a:lnTo>
                <a:lnTo>
                  <a:pt x="5702" y="2196"/>
                </a:lnTo>
                <a:lnTo>
                  <a:pt x="5700" y="2200"/>
                </a:lnTo>
                <a:lnTo>
                  <a:pt x="5702" y="2204"/>
                </a:lnTo>
                <a:lnTo>
                  <a:pt x="5708" y="2204"/>
                </a:lnTo>
                <a:lnTo>
                  <a:pt x="5714" y="2206"/>
                </a:lnTo>
                <a:lnTo>
                  <a:pt x="5722" y="2206"/>
                </a:lnTo>
                <a:lnTo>
                  <a:pt x="5722" y="2208"/>
                </a:lnTo>
                <a:lnTo>
                  <a:pt x="5718" y="2210"/>
                </a:lnTo>
                <a:lnTo>
                  <a:pt x="5710" y="2214"/>
                </a:lnTo>
                <a:lnTo>
                  <a:pt x="5706" y="2218"/>
                </a:lnTo>
                <a:lnTo>
                  <a:pt x="5704" y="2222"/>
                </a:lnTo>
                <a:lnTo>
                  <a:pt x="5700" y="2226"/>
                </a:lnTo>
                <a:lnTo>
                  <a:pt x="5698" y="2228"/>
                </a:lnTo>
                <a:lnTo>
                  <a:pt x="5700" y="2232"/>
                </a:lnTo>
                <a:lnTo>
                  <a:pt x="5708" y="2240"/>
                </a:lnTo>
                <a:lnTo>
                  <a:pt x="5720" y="2244"/>
                </a:lnTo>
                <a:lnTo>
                  <a:pt x="5726" y="2246"/>
                </a:lnTo>
                <a:lnTo>
                  <a:pt x="5730" y="2246"/>
                </a:lnTo>
                <a:lnTo>
                  <a:pt x="5736" y="2244"/>
                </a:lnTo>
                <a:lnTo>
                  <a:pt x="5742" y="2244"/>
                </a:lnTo>
                <a:lnTo>
                  <a:pt x="5744" y="2246"/>
                </a:lnTo>
                <a:lnTo>
                  <a:pt x="5744" y="2248"/>
                </a:lnTo>
                <a:lnTo>
                  <a:pt x="5734" y="2250"/>
                </a:lnTo>
                <a:lnTo>
                  <a:pt x="5730" y="2252"/>
                </a:lnTo>
                <a:lnTo>
                  <a:pt x="5726" y="2256"/>
                </a:lnTo>
                <a:lnTo>
                  <a:pt x="5726" y="2258"/>
                </a:lnTo>
                <a:lnTo>
                  <a:pt x="5726" y="2262"/>
                </a:lnTo>
                <a:lnTo>
                  <a:pt x="5726" y="2264"/>
                </a:lnTo>
                <a:lnTo>
                  <a:pt x="5724" y="2268"/>
                </a:lnTo>
                <a:lnTo>
                  <a:pt x="5720" y="2274"/>
                </a:lnTo>
                <a:lnTo>
                  <a:pt x="5714" y="2278"/>
                </a:lnTo>
                <a:lnTo>
                  <a:pt x="5708" y="2284"/>
                </a:lnTo>
                <a:lnTo>
                  <a:pt x="5706" y="2286"/>
                </a:lnTo>
                <a:lnTo>
                  <a:pt x="5710" y="2286"/>
                </a:lnTo>
                <a:lnTo>
                  <a:pt x="5716" y="2286"/>
                </a:lnTo>
                <a:lnTo>
                  <a:pt x="5742" y="2278"/>
                </a:lnTo>
                <a:lnTo>
                  <a:pt x="5748" y="2276"/>
                </a:lnTo>
                <a:lnTo>
                  <a:pt x="5750" y="2278"/>
                </a:lnTo>
                <a:lnTo>
                  <a:pt x="5750" y="2280"/>
                </a:lnTo>
                <a:lnTo>
                  <a:pt x="5750" y="2282"/>
                </a:lnTo>
                <a:lnTo>
                  <a:pt x="5748" y="2284"/>
                </a:lnTo>
                <a:lnTo>
                  <a:pt x="5736" y="2286"/>
                </a:lnTo>
                <a:lnTo>
                  <a:pt x="5720" y="2288"/>
                </a:lnTo>
                <a:lnTo>
                  <a:pt x="5712" y="2292"/>
                </a:lnTo>
                <a:lnTo>
                  <a:pt x="5708" y="2296"/>
                </a:lnTo>
                <a:lnTo>
                  <a:pt x="5710" y="2300"/>
                </a:lnTo>
                <a:lnTo>
                  <a:pt x="5712" y="2302"/>
                </a:lnTo>
                <a:lnTo>
                  <a:pt x="5706" y="2302"/>
                </a:lnTo>
                <a:lnTo>
                  <a:pt x="5698" y="2302"/>
                </a:lnTo>
                <a:lnTo>
                  <a:pt x="5694" y="2302"/>
                </a:lnTo>
                <a:lnTo>
                  <a:pt x="5690" y="2306"/>
                </a:lnTo>
                <a:lnTo>
                  <a:pt x="5684" y="2310"/>
                </a:lnTo>
                <a:lnTo>
                  <a:pt x="5684" y="2314"/>
                </a:lnTo>
                <a:lnTo>
                  <a:pt x="5686" y="2314"/>
                </a:lnTo>
                <a:lnTo>
                  <a:pt x="5690" y="2314"/>
                </a:lnTo>
                <a:lnTo>
                  <a:pt x="5694" y="2314"/>
                </a:lnTo>
                <a:lnTo>
                  <a:pt x="5698" y="2314"/>
                </a:lnTo>
                <a:lnTo>
                  <a:pt x="5698" y="2316"/>
                </a:lnTo>
                <a:lnTo>
                  <a:pt x="5694" y="2322"/>
                </a:lnTo>
                <a:lnTo>
                  <a:pt x="5690" y="2326"/>
                </a:lnTo>
                <a:lnTo>
                  <a:pt x="5690" y="2330"/>
                </a:lnTo>
                <a:lnTo>
                  <a:pt x="5692" y="2332"/>
                </a:lnTo>
                <a:lnTo>
                  <a:pt x="5696" y="2332"/>
                </a:lnTo>
                <a:lnTo>
                  <a:pt x="5702" y="2334"/>
                </a:lnTo>
                <a:lnTo>
                  <a:pt x="5704" y="2336"/>
                </a:lnTo>
                <a:lnTo>
                  <a:pt x="5702" y="2340"/>
                </a:lnTo>
                <a:lnTo>
                  <a:pt x="5700" y="2344"/>
                </a:lnTo>
                <a:lnTo>
                  <a:pt x="5702" y="2344"/>
                </a:lnTo>
                <a:lnTo>
                  <a:pt x="5712" y="2340"/>
                </a:lnTo>
                <a:lnTo>
                  <a:pt x="5720" y="2338"/>
                </a:lnTo>
                <a:lnTo>
                  <a:pt x="5714" y="2344"/>
                </a:lnTo>
                <a:lnTo>
                  <a:pt x="5712" y="2346"/>
                </a:lnTo>
                <a:lnTo>
                  <a:pt x="5712" y="2348"/>
                </a:lnTo>
                <a:lnTo>
                  <a:pt x="5716" y="2350"/>
                </a:lnTo>
                <a:lnTo>
                  <a:pt x="5724" y="2352"/>
                </a:lnTo>
                <a:lnTo>
                  <a:pt x="5734" y="2350"/>
                </a:lnTo>
                <a:lnTo>
                  <a:pt x="5756" y="2344"/>
                </a:lnTo>
                <a:lnTo>
                  <a:pt x="5764" y="2342"/>
                </a:lnTo>
                <a:lnTo>
                  <a:pt x="5768" y="2338"/>
                </a:lnTo>
                <a:lnTo>
                  <a:pt x="5772" y="2326"/>
                </a:lnTo>
                <a:lnTo>
                  <a:pt x="5774" y="2324"/>
                </a:lnTo>
                <a:lnTo>
                  <a:pt x="5776" y="2328"/>
                </a:lnTo>
                <a:lnTo>
                  <a:pt x="5778" y="2330"/>
                </a:lnTo>
                <a:lnTo>
                  <a:pt x="5780" y="2330"/>
                </a:lnTo>
                <a:lnTo>
                  <a:pt x="5792" y="2324"/>
                </a:lnTo>
                <a:lnTo>
                  <a:pt x="5804" y="2316"/>
                </a:lnTo>
                <a:lnTo>
                  <a:pt x="5810" y="2314"/>
                </a:lnTo>
                <a:lnTo>
                  <a:pt x="5818" y="2312"/>
                </a:lnTo>
                <a:lnTo>
                  <a:pt x="5828" y="2310"/>
                </a:lnTo>
                <a:lnTo>
                  <a:pt x="5832" y="2308"/>
                </a:lnTo>
                <a:lnTo>
                  <a:pt x="5838" y="2306"/>
                </a:lnTo>
                <a:lnTo>
                  <a:pt x="5846" y="2308"/>
                </a:lnTo>
                <a:lnTo>
                  <a:pt x="5852" y="2310"/>
                </a:lnTo>
                <a:lnTo>
                  <a:pt x="5852" y="2306"/>
                </a:lnTo>
                <a:lnTo>
                  <a:pt x="5852" y="2298"/>
                </a:lnTo>
                <a:lnTo>
                  <a:pt x="5854" y="2292"/>
                </a:lnTo>
                <a:lnTo>
                  <a:pt x="5856" y="2284"/>
                </a:lnTo>
                <a:lnTo>
                  <a:pt x="5860" y="2276"/>
                </a:lnTo>
                <a:lnTo>
                  <a:pt x="5864" y="2268"/>
                </a:lnTo>
                <a:lnTo>
                  <a:pt x="5866" y="2252"/>
                </a:lnTo>
                <a:lnTo>
                  <a:pt x="5864" y="2236"/>
                </a:lnTo>
                <a:lnTo>
                  <a:pt x="5860" y="2222"/>
                </a:lnTo>
                <a:lnTo>
                  <a:pt x="5852" y="2206"/>
                </a:lnTo>
                <a:lnTo>
                  <a:pt x="5852" y="2202"/>
                </a:lnTo>
                <a:lnTo>
                  <a:pt x="5854" y="2200"/>
                </a:lnTo>
                <a:lnTo>
                  <a:pt x="5858" y="2200"/>
                </a:lnTo>
                <a:lnTo>
                  <a:pt x="5858" y="2196"/>
                </a:lnTo>
                <a:lnTo>
                  <a:pt x="5854" y="2192"/>
                </a:lnTo>
                <a:lnTo>
                  <a:pt x="5856" y="2192"/>
                </a:lnTo>
                <a:lnTo>
                  <a:pt x="5860" y="2192"/>
                </a:lnTo>
                <a:lnTo>
                  <a:pt x="5862" y="2196"/>
                </a:lnTo>
                <a:lnTo>
                  <a:pt x="5864" y="2196"/>
                </a:lnTo>
                <a:lnTo>
                  <a:pt x="5870" y="2188"/>
                </a:lnTo>
                <a:close/>
                <a:moveTo>
                  <a:pt x="6178" y="2288"/>
                </a:moveTo>
                <a:lnTo>
                  <a:pt x="6178" y="2288"/>
                </a:lnTo>
                <a:lnTo>
                  <a:pt x="6176" y="2278"/>
                </a:lnTo>
                <a:lnTo>
                  <a:pt x="6170" y="2270"/>
                </a:lnTo>
                <a:lnTo>
                  <a:pt x="6162" y="2266"/>
                </a:lnTo>
                <a:lnTo>
                  <a:pt x="6154" y="2262"/>
                </a:lnTo>
                <a:lnTo>
                  <a:pt x="6146" y="2260"/>
                </a:lnTo>
                <a:lnTo>
                  <a:pt x="6136" y="2260"/>
                </a:lnTo>
                <a:lnTo>
                  <a:pt x="6130" y="2262"/>
                </a:lnTo>
                <a:lnTo>
                  <a:pt x="6126" y="2266"/>
                </a:lnTo>
                <a:lnTo>
                  <a:pt x="6122" y="2272"/>
                </a:lnTo>
                <a:lnTo>
                  <a:pt x="6118" y="2272"/>
                </a:lnTo>
                <a:lnTo>
                  <a:pt x="6116" y="2268"/>
                </a:lnTo>
                <a:lnTo>
                  <a:pt x="6112" y="2268"/>
                </a:lnTo>
                <a:lnTo>
                  <a:pt x="6108" y="2266"/>
                </a:lnTo>
                <a:lnTo>
                  <a:pt x="6110" y="2262"/>
                </a:lnTo>
                <a:lnTo>
                  <a:pt x="6114" y="2258"/>
                </a:lnTo>
                <a:lnTo>
                  <a:pt x="6120" y="2256"/>
                </a:lnTo>
                <a:lnTo>
                  <a:pt x="6122" y="2254"/>
                </a:lnTo>
                <a:lnTo>
                  <a:pt x="6122" y="2250"/>
                </a:lnTo>
                <a:lnTo>
                  <a:pt x="6120" y="2242"/>
                </a:lnTo>
                <a:lnTo>
                  <a:pt x="6112" y="2232"/>
                </a:lnTo>
                <a:lnTo>
                  <a:pt x="6102" y="2224"/>
                </a:lnTo>
                <a:lnTo>
                  <a:pt x="6094" y="2218"/>
                </a:lnTo>
                <a:lnTo>
                  <a:pt x="6092" y="2216"/>
                </a:lnTo>
                <a:lnTo>
                  <a:pt x="6096" y="2216"/>
                </a:lnTo>
                <a:lnTo>
                  <a:pt x="6102" y="2218"/>
                </a:lnTo>
                <a:lnTo>
                  <a:pt x="6108" y="2222"/>
                </a:lnTo>
                <a:lnTo>
                  <a:pt x="6114" y="2224"/>
                </a:lnTo>
                <a:lnTo>
                  <a:pt x="6114" y="2222"/>
                </a:lnTo>
                <a:lnTo>
                  <a:pt x="6112" y="2220"/>
                </a:lnTo>
                <a:lnTo>
                  <a:pt x="6106" y="2210"/>
                </a:lnTo>
                <a:lnTo>
                  <a:pt x="6102" y="2206"/>
                </a:lnTo>
                <a:lnTo>
                  <a:pt x="6102" y="2200"/>
                </a:lnTo>
                <a:lnTo>
                  <a:pt x="6102" y="2194"/>
                </a:lnTo>
                <a:lnTo>
                  <a:pt x="6102" y="2190"/>
                </a:lnTo>
                <a:lnTo>
                  <a:pt x="6100" y="2188"/>
                </a:lnTo>
                <a:lnTo>
                  <a:pt x="6096" y="2186"/>
                </a:lnTo>
                <a:lnTo>
                  <a:pt x="6092" y="2184"/>
                </a:lnTo>
                <a:lnTo>
                  <a:pt x="6090" y="2182"/>
                </a:lnTo>
                <a:lnTo>
                  <a:pt x="6088" y="2176"/>
                </a:lnTo>
                <a:lnTo>
                  <a:pt x="6084" y="2170"/>
                </a:lnTo>
                <a:lnTo>
                  <a:pt x="6080" y="2166"/>
                </a:lnTo>
                <a:lnTo>
                  <a:pt x="6074" y="2164"/>
                </a:lnTo>
                <a:lnTo>
                  <a:pt x="6066" y="2162"/>
                </a:lnTo>
                <a:lnTo>
                  <a:pt x="6060" y="2160"/>
                </a:lnTo>
                <a:lnTo>
                  <a:pt x="6058" y="2154"/>
                </a:lnTo>
                <a:lnTo>
                  <a:pt x="6050" y="2140"/>
                </a:lnTo>
                <a:lnTo>
                  <a:pt x="6044" y="2124"/>
                </a:lnTo>
                <a:lnTo>
                  <a:pt x="6042" y="2112"/>
                </a:lnTo>
                <a:lnTo>
                  <a:pt x="6042" y="2104"/>
                </a:lnTo>
                <a:lnTo>
                  <a:pt x="6040" y="2100"/>
                </a:lnTo>
                <a:lnTo>
                  <a:pt x="6036" y="2098"/>
                </a:lnTo>
                <a:lnTo>
                  <a:pt x="6030" y="2092"/>
                </a:lnTo>
                <a:lnTo>
                  <a:pt x="6026" y="2086"/>
                </a:lnTo>
                <a:lnTo>
                  <a:pt x="6020" y="2080"/>
                </a:lnTo>
                <a:lnTo>
                  <a:pt x="6006" y="2074"/>
                </a:lnTo>
                <a:lnTo>
                  <a:pt x="6000" y="2072"/>
                </a:lnTo>
                <a:lnTo>
                  <a:pt x="5994" y="2070"/>
                </a:lnTo>
                <a:lnTo>
                  <a:pt x="5992" y="2072"/>
                </a:lnTo>
                <a:lnTo>
                  <a:pt x="5990" y="2074"/>
                </a:lnTo>
                <a:lnTo>
                  <a:pt x="5986" y="2076"/>
                </a:lnTo>
                <a:lnTo>
                  <a:pt x="5982" y="2076"/>
                </a:lnTo>
                <a:lnTo>
                  <a:pt x="5976" y="2076"/>
                </a:lnTo>
                <a:lnTo>
                  <a:pt x="5970" y="2074"/>
                </a:lnTo>
                <a:lnTo>
                  <a:pt x="5974" y="2072"/>
                </a:lnTo>
                <a:lnTo>
                  <a:pt x="5980" y="2070"/>
                </a:lnTo>
                <a:lnTo>
                  <a:pt x="5984" y="2066"/>
                </a:lnTo>
                <a:lnTo>
                  <a:pt x="5986" y="2062"/>
                </a:lnTo>
                <a:lnTo>
                  <a:pt x="5988" y="2062"/>
                </a:lnTo>
                <a:lnTo>
                  <a:pt x="5992" y="2062"/>
                </a:lnTo>
                <a:lnTo>
                  <a:pt x="6000" y="2060"/>
                </a:lnTo>
                <a:lnTo>
                  <a:pt x="6002" y="2058"/>
                </a:lnTo>
                <a:lnTo>
                  <a:pt x="6004" y="2058"/>
                </a:lnTo>
                <a:lnTo>
                  <a:pt x="6000" y="2056"/>
                </a:lnTo>
                <a:lnTo>
                  <a:pt x="5996" y="2054"/>
                </a:lnTo>
                <a:lnTo>
                  <a:pt x="5994" y="2052"/>
                </a:lnTo>
                <a:lnTo>
                  <a:pt x="5992" y="2050"/>
                </a:lnTo>
                <a:lnTo>
                  <a:pt x="5992" y="2048"/>
                </a:lnTo>
                <a:lnTo>
                  <a:pt x="5990" y="2046"/>
                </a:lnTo>
                <a:lnTo>
                  <a:pt x="5988" y="2044"/>
                </a:lnTo>
                <a:lnTo>
                  <a:pt x="5990" y="2044"/>
                </a:lnTo>
                <a:lnTo>
                  <a:pt x="5996" y="2046"/>
                </a:lnTo>
                <a:lnTo>
                  <a:pt x="6000" y="2044"/>
                </a:lnTo>
                <a:lnTo>
                  <a:pt x="6002" y="2042"/>
                </a:lnTo>
                <a:lnTo>
                  <a:pt x="6010" y="2034"/>
                </a:lnTo>
                <a:lnTo>
                  <a:pt x="6018" y="2014"/>
                </a:lnTo>
                <a:lnTo>
                  <a:pt x="6026" y="1996"/>
                </a:lnTo>
                <a:lnTo>
                  <a:pt x="6032" y="1986"/>
                </a:lnTo>
                <a:lnTo>
                  <a:pt x="6034" y="1980"/>
                </a:lnTo>
                <a:lnTo>
                  <a:pt x="6032" y="1974"/>
                </a:lnTo>
                <a:lnTo>
                  <a:pt x="6030" y="1970"/>
                </a:lnTo>
                <a:lnTo>
                  <a:pt x="6026" y="1968"/>
                </a:lnTo>
                <a:lnTo>
                  <a:pt x="6016" y="1966"/>
                </a:lnTo>
                <a:lnTo>
                  <a:pt x="6004" y="1968"/>
                </a:lnTo>
                <a:lnTo>
                  <a:pt x="5986" y="1968"/>
                </a:lnTo>
                <a:lnTo>
                  <a:pt x="5970" y="1966"/>
                </a:lnTo>
                <a:lnTo>
                  <a:pt x="5960" y="1968"/>
                </a:lnTo>
                <a:lnTo>
                  <a:pt x="5952" y="1972"/>
                </a:lnTo>
                <a:lnTo>
                  <a:pt x="5946" y="1976"/>
                </a:lnTo>
                <a:lnTo>
                  <a:pt x="5942" y="1974"/>
                </a:lnTo>
                <a:lnTo>
                  <a:pt x="5944" y="1972"/>
                </a:lnTo>
                <a:lnTo>
                  <a:pt x="5952" y="1962"/>
                </a:lnTo>
                <a:lnTo>
                  <a:pt x="5954" y="1960"/>
                </a:lnTo>
                <a:lnTo>
                  <a:pt x="5954" y="1958"/>
                </a:lnTo>
                <a:lnTo>
                  <a:pt x="5948" y="1958"/>
                </a:lnTo>
                <a:lnTo>
                  <a:pt x="5942" y="1960"/>
                </a:lnTo>
                <a:lnTo>
                  <a:pt x="5942" y="1958"/>
                </a:lnTo>
                <a:lnTo>
                  <a:pt x="5944" y="1958"/>
                </a:lnTo>
                <a:lnTo>
                  <a:pt x="5954" y="1950"/>
                </a:lnTo>
                <a:lnTo>
                  <a:pt x="5968" y="1938"/>
                </a:lnTo>
                <a:lnTo>
                  <a:pt x="5980" y="1926"/>
                </a:lnTo>
                <a:lnTo>
                  <a:pt x="5984" y="1920"/>
                </a:lnTo>
                <a:lnTo>
                  <a:pt x="5984" y="1918"/>
                </a:lnTo>
                <a:lnTo>
                  <a:pt x="5984" y="1916"/>
                </a:lnTo>
                <a:lnTo>
                  <a:pt x="5984" y="1914"/>
                </a:lnTo>
                <a:lnTo>
                  <a:pt x="5984" y="1910"/>
                </a:lnTo>
                <a:lnTo>
                  <a:pt x="5986" y="1908"/>
                </a:lnTo>
                <a:lnTo>
                  <a:pt x="5984" y="1906"/>
                </a:lnTo>
                <a:lnTo>
                  <a:pt x="5978" y="1904"/>
                </a:lnTo>
                <a:lnTo>
                  <a:pt x="5970" y="1906"/>
                </a:lnTo>
                <a:lnTo>
                  <a:pt x="5968" y="1908"/>
                </a:lnTo>
                <a:lnTo>
                  <a:pt x="5964" y="1908"/>
                </a:lnTo>
                <a:lnTo>
                  <a:pt x="5956" y="1908"/>
                </a:lnTo>
                <a:lnTo>
                  <a:pt x="5948" y="1912"/>
                </a:lnTo>
                <a:lnTo>
                  <a:pt x="5938" y="1914"/>
                </a:lnTo>
                <a:lnTo>
                  <a:pt x="5932" y="1912"/>
                </a:lnTo>
                <a:lnTo>
                  <a:pt x="5926" y="1912"/>
                </a:lnTo>
                <a:lnTo>
                  <a:pt x="5924" y="1912"/>
                </a:lnTo>
                <a:lnTo>
                  <a:pt x="5920" y="1914"/>
                </a:lnTo>
                <a:lnTo>
                  <a:pt x="5916" y="1912"/>
                </a:lnTo>
                <a:lnTo>
                  <a:pt x="5910" y="1910"/>
                </a:lnTo>
                <a:lnTo>
                  <a:pt x="5906" y="1908"/>
                </a:lnTo>
                <a:lnTo>
                  <a:pt x="5902" y="1910"/>
                </a:lnTo>
                <a:lnTo>
                  <a:pt x="5904" y="1916"/>
                </a:lnTo>
                <a:lnTo>
                  <a:pt x="5904" y="1920"/>
                </a:lnTo>
                <a:lnTo>
                  <a:pt x="5902" y="1922"/>
                </a:lnTo>
                <a:lnTo>
                  <a:pt x="5900" y="1924"/>
                </a:lnTo>
                <a:lnTo>
                  <a:pt x="5898" y="1924"/>
                </a:lnTo>
                <a:lnTo>
                  <a:pt x="5900" y="1930"/>
                </a:lnTo>
                <a:lnTo>
                  <a:pt x="5904" y="1932"/>
                </a:lnTo>
                <a:lnTo>
                  <a:pt x="5902" y="1934"/>
                </a:lnTo>
                <a:lnTo>
                  <a:pt x="5896" y="1932"/>
                </a:lnTo>
                <a:lnTo>
                  <a:pt x="5890" y="1932"/>
                </a:lnTo>
                <a:lnTo>
                  <a:pt x="5892" y="1934"/>
                </a:lnTo>
                <a:lnTo>
                  <a:pt x="5894" y="1938"/>
                </a:lnTo>
                <a:lnTo>
                  <a:pt x="5894" y="1942"/>
                </a:lnTo>
                <a:lnTo>
                  <a:pt x="5892" y="1942"/>
                </a:lnTo>
                <a:lnTo>
                  <a:pt x="5888" y="1942"/>
                </a:lnTo>
                <a:lnTo>
                  <a:pt x="5888" y="1944"/>
                </a:lnTo>
                <a:lnTo>
                  <a:pt x="5890" y="1948"/>
                </a:lnTo>
                <a:lnTo>
                  <a:pt x="5892" y="1952"/>
                </a:lnTo>
                <a:lnTo>
                  <a:pt x="5890" y="1956"/>
                </a:lnTo>
                <a:lnTo>
                  <a:pt x="5886" y="1956"/>
                </a:lnTo>
                <a:lnTo>
                  <a:pt x="5876" y="1956"/>
                </a:lnTo>
                <a:lnTo>
                  <a:pt x="5872" y="1958"/>
                </a:lnTo>
                <a:lnTo>
                  <a:pt x="5874" y="1962"/>
                </a:lnTo>
                <a:lnTo>
                  <a:pt x="5876" y="1968"/>
                </a:lnTo>
                <a:lnTo>
                  <a:pt x="5874" y="1972"/>
                </a:lnTo>
                <a:lnTo>
                  <a:pt x="5872" y="1976"/>
                </a:lnTo>
                <a:lnTo>
                  <a:pt x="5872" y="1986"/>
                </a:lnTo>
                <a:lnTo>
                  <a:pt x="5872" y="1988"/>
                </a:lnTo>
                <a:lnTo>
                  <a:pt x="5874" y="1990"/>
                </a:lnTo>
                <a:lnTo>
                  <a:pt x="5878" y="1992"/>
                </a:lnTo>
                <a:lnTo>
                  <a:pt x="5880" y="1994"/>
                </a:lnTo>
                <a:lnTo>
                  <a:pt x="5880" y="1998"/>
                </a:lnTo>
                <a:lnTo>
                  <a:pt x="5876" y="2004"/>
                </a:lnTo>
                <a:lnTo>
                  <a:pt x="5874" y="2006"/>
                </a:lnTo>
                <a:lnTo>
                  <a:pt x="5872" y="2008"/>
                </a:lnTo>
                <a:lnTo>
                  <a:pt x="5874" y="2010"/>
                </a:lnTo>
                <a:lnTo>
                  <a:pt x="5876" y="2012"/>
                </a:lnTo>
                <a:lnTo>
                  <a:pt x="5874" y="2014"/>
                </a:lnTo>
                <a:lnTo>
                  <a:pt x="5870" y="2016"/>
                </a:lnTo>
                <a:lnTo>
                  <a:pt x="5868" y="2018"/>
                </a:lnTo>
                <a:lnTo>
                  <a:pt x="5872" y="2020"/>
                </a:lnTo>
                <a:lnTo>
                  <a:pt x="5872" y="2024"/>
                </a:lnTo>
                <a:lnTo>
                  <a:pt x="5868" y="2026"/>
                </a:lnTo>
                <a:lnTo>
                  <a:pt x="5862" y="2026"/>
                </a:lnTo>
                <a:lnTo>
                  <a:pt x="5858" y="2026"/>
                </a:lnTo>
                <a:lnTo>
                  <a:pt x="5856" y="2028"/>
                </a:lnTo>
                <a:lnTo>
                  <a:pt x="5856" y="2030"/>
                </a:lnTo>
                <a:lnTo>
                  <a:pt x="5858" y="2030"/>
                </a:lnTo>
                <a:lnTo>
                  <a:pt x="5866" y="2030"/>
                </a:lnTo>
                <a:lnTo>
                  <a:pt x="5874" y="2030"/>
                </a:lnTo>
                <a:lnTo>
                  <a:pt x="5876" y="2032"/>
                </a:lnTo>
                <a:lnTo>
                  <a:pt x="5868" y="2034"/>
                </a:lnTo>
                <a:lnTo>
                  <a:pt x="5864" y="2036"/>
                </a:lnTo>
                <a:lnTo>
                  <a:pt x="5864" y="2038"/>
                </a:lnTo>
                <a:lnTo>
                  <a:pt x="5868" y="2038"/>
                </a:lnTo>
                <a:lnTo>
                  <a:pt x="5872" y="2040"/>
                </a:lnTo>
                <a:lnTo>
                  <a:pt x="5876" y="2040"/>
                </a:lnTo>
                <a:lnTo>
                  <a:pt x="5878" y="2040"/>
                </a:lnTo>
                <a:lnTo>
                  <a:pt x="5880" y="2040"/>
                </a:lnTo>
                <a:lnTo>
                  <a:pt x="5884" y="2038"/>
                </a:lnTo>
                <a:lnTo>
                  <a:pt x="5892" y="2030"/>
                </a:lnTo>
                <a:lnTo>
                  <a:pt x="5890" y="2036"/>
                </a:lnTo>
                <a:lnTo>
                  <a:pt x="5888" y="2042"/>
                </a:lnTo>
                <a:lnTo>
                  <a:pt x="5886" y="2048"/>
                </a:lnTo>
                <a:lnTo>
                  <a:pt x="5886" y="2052"/>
                </a:lnTo>
                <a:lnTo>
                  <a:pt x="5882" y="2054"/>
                </a:lnTo>
                <a:lnTo>
                  <a:pt x="5880" y="2058"/>
                </a:lnTo>
                <a:lnTo>
                  <a:pt x="5882" y="2062"/>
                </a:lnTo>
                <a:lnTo>
                  <a:pt x="5882" y="2066"/>
                </a:lnTo>
                <a:lnTo>
                  <a:pt x="5880" y="2070"/>
                </a:lnTo>
                <a:lnTo>
                  <a:pt x="5876" y="2076"/>
                </a:lnTo>
                <a:lnTo>
                  <a:pt x="5878" y="2078"/>
                </a:lnTo>
                <a:lnTo>
                  <a:pt x="5878" y="2082"/>
                </a:lnTo>
                <a:lnTo>
                  <a:pt x="5878" y="2086"/>
                </a:lnTo>
                <a:lnTo>
                  <a:pt x="5878" y="2088"/>
                </a:lnTo>
                <a:lnTo>
                  <a:pt x="5880" y="2090"/>
                </a:lnTo>
                <a:lnTo>
                  <a:pt x="5884" y="2088"/>
                </a:lnTo>
                <a:lnTo>
                  <a:pt x="5882" y="2090"/>
                </a:lnTo>
                <a:lnTo>
                  <a:pt x="5878" y="2100"/>
                </a:lnTo>
                <a:lnTo>
                  <a:pt x="5874" y="2112"/>
                </a:lnTo>
                <a:lnTo>
                  <a:pt x="5874" y="2116"/>
                </a:lnTo>
                <a:lnTo>
                  <a:pt x="5876" y="2118"/>
                </a:lnTo>
                <a:lnTo>
                  <a:pt x="5878" y="2120"/>
                </a:lnTo>
                <a:lnTo>
                  <a:pt x="5880" y="2118"/>
                </a:lnTo>
                <a:lnTo>
                  <a:pt x="5884" y="2108"/>
                </a:lnTo>
                <a:lnTo>
                  <a:pt x="5886" y="2098"/>
                </a:lnTo>
                <a:lnTo>
                  <a:pt x="5888" y="2094"/>
                </a:lnTo>
                <a:lnTo>
                  <a:pt x="5892" y="2090"/>
                </a:lnTo>
                <a:lnTo>
                  <a:pt x="5892" y="2088"/>
                </a:lnTo>
                <a:lnTo>
                  <a:pt x="5892" y="2086"/>
                </a:lnTo>
                <a:lnTo>
                  <a:pt x="5890" y="2082"/>
                </a:lnTo>
                <a:lnTo>
                  <a:pt x="5888" y="2078"/>
                </a:lnTo>
                <a:lnTo>
                  <a:pt x="5888" y="2076"/>
                </a:lnTo>
                <a:lnTo>
                  <a:pt x="5890" y="2072"/>
                </a:lnTo>
                <a:lnTo>
                  <a:pt x="5894" y="2070"/>
                </a:lnTo>
                <a:lnTo>
                  <a:pt x="5892" y="2074"/>
                </a:lnTo>
                <a:lnTo>
                  <a:pt x="5892" y="2078"/>
                </a:lnTo>
                <a:lnTo>
                  <a:pt x="5894" y="2080"/>
                </a:lnTo>
                <a:lnTo>
                  <a:pt x="5896" y="2082"/>
                </a:lnTo>
                <a:lnTo>
                  <a:pt x="5898" y="2084"/>
                </a:lnTo>
                <a:lnTo>
                  <a:pt x="5900" y="2080"/>
                </a:lnTo>
                <a:lnTo>
                  <a:pt x="5900" y="2078"/>
                </a:lnTo>
                <a:lnTo>
                  <a:pt x="5904" y="2080"/>
                </a:lnTo>
                <a:lnTo>
                  <a:pt x="5906" y="2082"/>
                </a:lnTo>
                <a:lnTo>
                  <a:pt x="5906" y="2080"/>
                </a:lnTo>
                <a:lnTo>
                  <a:pt x="5908" y="2076"/>
                </a:lnTo>
                <a:lnTo>
                  <a:pt x="5910" y="2074"/>
                </a:lnTo>
                <a:lnTo>
                  <a:pt x="5912" y="2072"/>
                </a:lnTo>
                <a:lnTo>
                  <a:pt x="5916" y="2074"/>
                </a:lnTo>
                <a:lnTo>
                  <a:pt x="5922" y="2080"/>
                </a:lnTo>
                <a:lnTo>
                  <a:pt x="5914" y="2080"/>
                </a:lnTo>
                <a:lnTo>
                  <a:pt x="5908" y="2084"/>
                </a:lnTo>
                <a:lnTo>
                  <a:pt x="5908" y="2086"/>
                </a:lnTo>
                <a:lnTo>
                  <a:pt x="5908" y="2090"/>
                </a:lnTo>
                <a:lnTo>
                  <a:pt x="5916" y="2098"/>
                </a:lnTo>
                <a:lnTo>
                  <a:pt x="5918" y="2102"/>
                </a:lnTo>
                <a:lnTo>
                  <a:pt x="5920" y="2108"/>
                </a:lnTo>
                <a:lnTo>
                  <a:pt x="5918" y="2112"/>
                </a:lnTo>
                <a:lnTo>
                  <a:pt x="5914" y="2116"/>
                </a:lnTo>
                <a:lnTo>
                  <a:pt x="5908" y="2124"/>
                </a:lnTo>
                <a:lnTo>
                  <a:pt x="5906" y="2128"/>
                </a:lnTo>
                <a:lnTo>
                  <a:pt x="5906" y="2134"/>
                </a:lnTo>
                <a:lnTo>
                  <a:pt x="5906" y="2140"/>
                </a:lnTo>
                <a:lnTo>
                  <a:pt x="5904" y="2138"/>
                </a:lnTo>
                <a:lnTo>
                  <a:pt x="5902" y="2136"/>
                </a:lnTo>
                <a:lnTo>
                  <a:pt x="5900" y="2136"/>
                </a:lnTo>
                <a:lnTo>
                  <a:pt x="5898" y="2138"/>
                </a:lnTo>
                <a:lnTo>
                  <a:pt x="5898" y="2140"/>
                </a:lnTo>
                <a:lnTo>
                  <a:pt x="5898" y="2144"/>
                </a:lnTo>
                <a:lnTo>
                  <a:pt x="5904" y="2152"/>
                </a:lnTo>
                <a:lnTo>
                  <a:pt x="5908" y="2156"/>
                </a:lnTo>
                <a:lnTo>
                  <a:pt x="5910" y="2156"/>
                </a:lnTo>
                <a:lnTo>
                  <a:pt x="5908" y="2152"/>
                </a:lnTo>
                <a:lnTo>
                  <a:pt x="5908" y="2148"/>
                </a:lnTo>
                <a:lnTo>
                  <a:pt x="5908" y="2146"/>
                </a:lnTo>
                <a:lnTo>
                  <a:pt x="5910" y="2144"/>
                </a:lnTo>
                <a:lnTo>
                  <a:pt x="5912" y="2146"/>
                </a:lnTo>
                <a:lnTo>
                  <a:pt x="5918" y="2148"/>
                </a:lnTo>
                <a:lnTo>
                  <a:pt x="5924" y="2154"/>
                </a:lnTo>
                <a:lnTo>
                  <a:pt x="5928" y="2156"/>
                </a:lnTo>
                <a:lnTo>
                  <a:pt x="5930" y="2156"/>
                </a:lnTo>
                <a:lnTo>
                  <a:pt x="5932" y="2152"/>
                </a:lnTo>
                <a:lnTo>
                  <a:pt x="5930" y="2146"/>
                </a:lnTo>
                <a:lnTo>
                  <a:pt x="5930" y="2144"/>
                </a:lnTo>
                <a:lnTo>
                  <a:pt x="5936" y="2148"/>
                </a:lnTo>
                <a:lnTo>
                  <a:pt x="5944" y="2152"/>
                </a:lnTo>
                <a:lnTo>
                  <a:pt x="5948" y="2150"/>
                </a:lnTo>
                <a:lnTo>
                  <a:pt x="5950" y="2148"/>
                </a:lnTo>
                <a:lnTo>
                  <a:pt x="5956" y="2144"/>
                </a:lnTo>
                <a:lnTo>
                  <a:pt x="5958" y="2144"/>
                </a:lnTo>
                <a:lnTo>
                  <a:pt x="5962" y="2144"/>
                </a:lnTo>
                <a:lnTo>
                  <a:pt x="5964" y="2140"/>
                </a:lnTo>
                <a:lnTo>
                  <a:pt x="5966" y="2138"/>
                </a:lnTo>
                <a:lnTo>
                  <a:pt x="5972" y="2138"/>
                </a:lnTo>
                <a:lnTo>
                  <a:pt x="5976" y="2138"/>
                </a:lnTo>
                <a:lnTo>
                  <a:pt x="5976" y="2140"/>
                </a:lnTo>
                <a:lnTo>
                  <a:pt x="5972" y="2144"/>
                </a:lnTo>
                <a:lnTo>
                  <a:pt x="5964" y="2154"/>
                </a:lnTo>
                <a:lnTo>
                  <a:pt x="5962" y="2162"/>
                </a:lnTo>
                <a:lnTo>
                  <a:pt x="5960" y="2166"/>
                </a:lnTo>
                <a:lnTo>
                  <a:pt x="5960" y="2172"/>
                </a:lnTo>
                <a:lnTo>
                  <a:pt x="5962" y="2176"/>
                </a:lnTo>
                <a:lnTo>
                  <a:pt x="5970" y="2182"/>
                </a:lnTo>
                <a:lnTo>
                  <a:pt x="5976" y="2190"/>
                </a:lnTo>
                <a:lnTo>
                  <a:pt x="5980" y="2194"/>
                </a:lnTo>
                <a:lnTo>
                  <a:pt x="5982" y="2192"/>
                </a:lnTo>
                <a:lnTo>
                  <a:pt x="5984" y="2188"/>
                </a:lnTo>
                <a:lnTo>
                  <a:pt x="5986" y="2188"/>
                </a:lnTo>
                <a:lnTo>
                  <a:pt x="5990" y="2186"/>
                </a:lnTo>
                <a:lnTo>
                  <a:pt x="5992" y="2188"/>
                </a:lnTo>
                <a:lnTo>
                  <a:pt x="5992" y="2192"/>
                </a:lnTo>
                <a:lnTo>
                  <a:pt x="5990" y="2196"/>
                </a:lnTo>
                <a:lnTo>
                  <a:pt x="5990" y="2198"/>
                </a:lnTo>
                <a:lnTo>
                  <a:pt x="5992" y="2200"/>
                </a:lnTo>
                <a:lnTo>
                  <a:pt x="5990" y="2202"/>
                </a:lnTo>
                <a:lnTo>
                  <a:pt x="5986" y="2204"/>
                </a:lnTo>
                <a:lnTo>
                  <a:pt x="5984" y="2206"/>
                </a:lnTo>
                <a:lnTo>
                  <a:pt x="5982" y="2208"/>
                </a:lnTo>
                <a:lnTo>
                  <a:pt x="5984" y="2212"/>
                </a:lnTo>
                <a:lnTo>
                  <a:pt x="5988" y="2214"/>
                </a:lnTo>
                <a:lnTo>
                  <a:pt x="5988" y="2216"/>
                </a:lnTo>
                <a:lnTo>
                  <a:pt x="5986" y="2218"/>
                </a:lnTo>
                <a:lnTo>
                  <a:pt x="5984" y="2220"/>
                </a:lnTo>
                <a:lnTo>
                  <a:pt x="5984" y="2222"/>
                </a:lnTo>
                <a:lnTo>
                  <a:pt x="5984" y="2226"/>
                </a:lnTo>
                <a:lnTo>
                  <a:pt x="5988" y="2232"/>
                </a:lnTo>
                <a:lnTo>
                  <a:pt x="5992" y="2242"/>
                </a:lnTo>
                <a:lnTo>
                  <a:pt x="5988" y="2238"/>
                </a:lnTo>
                <a:lnTo>
                  <a:pt x="5984" y="2234"/>
                </a:lnTo>
                <a:lnTo>
                  <a:pt x="5980" y="2234"/>
                </a:lnTo>
                <a:lnTo>
                  <a:pt x="5978" y="2236"/>
                </a:lnTo>
                <a:lnTo>
                  <a:pt x="5980" y="2240"/>
                </a:lnTo>
                <a:lnTo>
                  <a:pt x="5982" y="2244"/>
                </a:lnTo>
                <a:lnTo>
                  <a:pt x="5980" y="2242"/>
                </a:lnTo>
                <a:lnTo>
                  <a:pt x="5974" y="2238"/>
                </a:lnTo>
                <a:lnTo>
                  <a:pt x="5970" y="2238"/>
                </a:lnTo>
                <a:lnTo>
                  <a:pt x="5966" y="2240"/>
                </a:lnTo>
                <a:lnTo>
                  <a:pt x="5960" y="2242"/>
                </a:lnTo>
                <a:lnTo>
                  <a:pt x="5956" y="2240"/>
                </a:lnTo>
                <a:lnTo>
                  <a:pt x="5954" y="2240"/>
                </a:lnTo>
                <a:lnTo>
                  <a:pt x="5950" y="2240"/>
                </a:lnTo>
                <a:lnTo>
                  <a:pt x="5948" y="2242"/>
                </a:lnTo>
                <a:lnTo>
                  <a:pt x="5944" y="2244"/>
                </a:lnTo>
                <a:lnTo>
                  <a:pt x="5940" y="2246"/>
                </a:lnTo>
                <a:lnTo>
                  <a:pt x="5936" y="2250"/>
                </a:lnTo>
                <a:lnTo>
                  <a:pt x="5930" y="2258"/>
                </a:lnTo>
                <a:lnTo>
                  <a:pt x="5924" y="2260"/>
                </a:lnTo>
                <a:lnTo>
                  <a:pt x="5920" y="2264"/>
                </a:lnTo>
                <a:lnTo>
                  <a:pt x="5916" y="2268"/>
                </a:lnTo>
                <a:lnTo>
                  <a:pt x="5914" y="2274"/>
                </a:lnTo>
                <a:lnTo>
                  <a:pt x="5916" y="2274"/>
                </a:lnTo>
                <a:lnTo>
                  <a:pt x="5918" y="2272"/>
                </a:lnTo>
                <a:lnTo>
                  <a:pt x="5922" y="2272"/>
                </a:lnTo>
                <a:lnTo>
                  <a:pt x="5924" y="2272"/>
                </a:lnTo>
                <a:lnTo>
                  <a:pt x="5928" y="2270"/>
                </a:lnTo>
                <a:lnTo>
                  <a:pt x="5936" y="2266"/>
                </a:lnTo>
                <a:lnTo>
                  <a:pt x="5942" y="2264"/>
                </a:lnTo>
                <a:lnTo>
                  <a:pt x="5942" y="2266"/>
                </a:lnTo>
                <a:lnTo>
                  <a:pt x="5940" y="2270"/>
                </a:lnTo>
                <a:lnTo>
                  <a:pt x="5942" y="2272"/>
                </a:lnTo>
                <a:lnTo>
                  <a:pt x="5944" y="2274"/>
                </a:lnTo>
                <a:lnTo>
                  <a:pt x="5942" y="2278"/>
                </a:lnTo>
                <a:lnTo>
                  <a:pt x="5942" y="2282"/>
                </a:lnTo>
                <a:lnTo>
                  <a:pt x="5942" y="2284"/>
                </a:lnTo>
                <a:lnTo>
                  <a:pt x="5942" y="2290"/>
                </a:lnTo>
                <a:lnTo>
                  <a:pt x="5942" y="2294"/>
                </a:lnTo>
                <a:lnTo>
                  <a:pt x="5940" y="2298"/>
                </a:lnTo>
                <a:lnTo>
                  <a:pt x="5936" y="2304"/>
                </a:lnTo>
                <a:lnTo>
                  <a:pt x="5930" y="2308"/>
                </a:lnTo>
                <a:lnTo>
                  <a:pt x="5916" y="2314"/>
                </a:lnTo>
                <a:lnTo>
                  <a:pt x="5908" y="2316"/>
                </a:lnTo>
                <a:lnTo>
                  <a:pt x="5902" y="2318"/>
                </a:lnTo>
                <a:lnTo>
                  <a:pt x="5896" y="2322"/>
                </a:lnTo>
                <a:lnTo>
                  <a:pt x="5894" y="2326"/>
                </a:lnTo>
                <a:lnTo>
                  <a:pt x="5894" y="2328"/>
                </a:lnTo>
                <a:lnTo>
                  <a:pt x="5896" y="2328"/>
                </a:lnTo>
                <a:lnTo>
                  <a:pt x="5900" y="2330"/>
                </a:lnTo>
                <a:lnTo>
                  <a:pt x="5900" y="2332"/>
                </a:lnTo>
                <a:lnTo>
                  <a:pt x="5898" y="2334"/>
                </a:lnTo>
                <a:lnTo>
                  <a:pt x="5898" y="2338"/>
                </a:lnTo>
                <a:lnTo>
                  <a:pt x="5902" y="2342"/>
                </a:lnTo>
                <a:lnTo>
                  <a:pt x="5908" y="2342"/>
                </a:lnTo>
                <a:lnTo>
                  <a:pt x="5916" y="2338"/>
                </a:lnTo>
                <a:lnTo>
                  <a:pt x="5924" y="2336"/>
                </a:lnTo>
                <a:lnTo>
                  <a:pt x="5930" y="2336"/>
                </a:lnTo>
                <a:lnTo>
                  <a:pt x="5934" y="2338"/>
                </a:lnTo>
                <a:lnTo>
                  <a:pt x="5934" y="2344"/>
                </a:lnTo>
                <a:lnTo>
                  <a:pt x="5934" y="2346"/>
                </a:lnTo>
                <a:lnTo>
                  <a:pt x="5934" y="2348"/>
                </a:lnTo>
                <a:lnTo>
                  <a:pt x="5940" y="2346"/>
                </a:lnTo>
                <a:lnTo>
                  <a:pt x="5944" y="2346"/>
                </a:lnTo>
                <a:lnTo>
                  <a:pt x="5948" y="2346"/>
                </a:lnTo>
                <a:lnTo>
                  <a:pt x="5954" y="2348"/>
                </a:lnTo>
                <a:lnTo>
                  <a:pt x="5960" y="2352"/>
                </a:lnTo>
                <a:lnTo>
                  <a:pt x="5964" y="2356"/>
                </a:lnTo>
                <a:lnTo>
                  <a:pt x="5968" y="2358"/>
                </a:lnTo>
                <a:lnTo>
                  <a:pt x="5972" y="2356"/>
                </a:lnTo>
                <a:lnTo>
                  <a:pt x="5976" y="2354"/>
                </a:lnTo>
                <a:lnTo>
                  <a:pt x="5982" y="2348"/>
                </a:lnTo>
                <a:lnTo>
                  <a:pt x="5986" y="2346"/>
                </a:lnTo>
                <a:lnTo>
                  <a:pt x="5990" y="2346"/>
                </a:lnTo>
                <a:lnTo>
                  <a:pt x="5994" y="2344"/>
                </a:lnTo>
                <a:lnTo>
                  <a:pt x="5998" y="2342"/>
                </a:lnTo>
                <a:lnTo>
                  <a:pt x="6004" y="2338"/>
                </a:lnTo>
                <a:lnTo>
                  <a:pt x="6012" y="2334"/>
                </a:lnTo>
                <a:lnTo>
                  <a:pt x="6006" y="2338"/>
                </a:lnTo>
                <a:lnTo>
                  <a:pt x="6004" y="2344"/>
                </a:lnTo>
                <a:lnTo>
                  <a:pt x="5996" y="2350"/>
                </a:lnTo>
                <a:lnTo>
                  <a:pt x="5990" y="2354"/>
                </a:lnTo>
                <a:lnTo>
                  <a:pt x="5988" y="2362"/>
                </a:lnTo>
                <a:lnTo>
                  <a:pt x="5986" y="2366"/>
                </a:lnTo>
                <a:lnTo>
                  <a:pt x="5978" y="2368"/>
                </a:lnTo>
                <a:lnTo>
                  <a:pt x="5970" y="2368"/>
                </a:lnTo>
                <a:lnTo>
                  <a:pt x="5964" y="2366"/>
                </a:lnTo>
                <a:lnTo>
                  <a:pt x="5958" y="2366"/>
                </a:lnTo>
                <a:lnTo>
                  <a:pt x="5946" y="2364"/>
                </a:lnTo>
                <a:lnTo>
                  <a:pt x="5940" y="2366"/>
                </a:lnTo>
                <a:lnTo>
                  <a:pt x="5936" y="2366"/>
                </a:lnTo>
                <a:lnTo>
                  <a:pt x="5936" y="2368"/>
                </a:lnTo>
                <a:lnTo>
                  <a:pt x="5936" y="2370"/>
                </a:lnTo>
                <a:lnTo>
                  <a:pt x="5936" y="2374"/>
                </a:lnTo>
                <a:lnTo>
                  <a:pt x="5934" y="2376"/>
                </a:lnTo>
                <a:lnTo>
                  <a:pt x="5930" y="2378"/>
                </a:lnTo>
                <a:lnTo>
                  <a:pt x="5926" y="2378"/>
                </a:lnTo>
                <a:lnTo>
                  <a:pt x="5924" y="2380"/>
                </a:lnTo>
                <a:lnTo>
                  <a:pt x="5922" y="2384"/>
                </a:lnTo>
                <a:lnTo>
                  <a:pt x="5922" y="2388"/>
                </a:lnTo>
                <a:lnTo>
                  <a:pt x="5922" y="2390"/>
                </a:lnTo>
                <a:lnTo>
                  <a:pt x="5920" y="2392"/>
                </a:lnTo>
                <a:lnTo>
                  <a:pt x="5916" y="2396"/>
                </a:lnTo>
                <a:lnTo>
                  <a:pt x="5916" y="2398"/>
                </a:lnTo>
                <a:lnTo>
                  <a:pt x="5914" y="2402"/>
                </a:lnTo>
                <a:lnTo>
                  <a:pt x="5910" y="2404"/>
                </a:lnTo>
                <a:lnTo>
                  <a:pt x="5904" y="2410"/>
                </a:lnTo>
                <a:lnTo>
                  <a:pt x="5900" y="2416"/>
                </a:lnTo>
                <a:lnTo>
                  <a:pt x="5894" y="2422"/>
                </a:lnTo>
                <a:lnTo>
                  <a:pt x="5890" y="2424"/>
                </a:lnTo>
                <a:lnTo>
                  <a:pt x="5886" y="2424"/>
                </a:lnTo>
                <a:lnTo>
                  <a:pt x="5882" y="2424"/>
                </a:lnTo>
                <a:lnTo>
                  <a:pt x="5878" y="2426"/>
                </a:lnTo>
                <a:lnTo>
                  <a:pt x="5876" y="2428"/>
                </a:lnTo>
                <a:lnTo>
                  <a:pt x="5876" y="2432"/>
                </a:lnTo>
                <a:lnTo>
                  <a:pt x="5876" y="2436"/>
                </a:lnTo>
                <a:lnTo>
                  <a:pt x="5878" y="2436"/>
                </a:lnTo>
                <a:lnTo>
                  <a:pt x="5882" y="2434"/>
                </a:lnTo>
                <a:lnTo>
                  <a:pt x="5884" y="2434"/>
                </a:lnTo>
                <a:lnTo>
                  <a:pt x="5886" y="2434"/>
                </a:lnTo>
                <a:lnTo>
                  <a:pt x="5890" y="2436"/>
                </a:lnTo>
                <a:lnTo>
                  <a:pt x="5894" y="2440"/>
                </a:lnTo>
                <a:lnTo>
                  <a:pt x="5896" y="2440"/>
                </a:lnTo>
                <a:lnTo>
                  <a:pt x="5898" y="2440"/>
                </a:lnTo>
                <a:lnTo>
                  <a:pt x="5900" y="2438"/>
                </a:lnTo>
                <a:lnTo>
                  <a:pt x="5902" y="2434"/>
                </a:lnTo>
                <a:lnTo>
                  <a:pt x="5902" y="2432"/>
                </a:lnTo>
                <a:lnTo>
                  <a:pt x="5906" y="2430"/>
                </a:lnTo>
                <a:lnTo>
                  <a:pt x="5912" y="2426"/>
                </a:lnTo>
                <a:lnTo>
                  <a:pt x="5914" y="2424"/>
                </a:lnTo>
                <a:lnTo>
                  <a:pt x="5918" y="2420"/>
                </a:lnTo>
                <a:lnTo>
                  <a:pt x="5928" y="2418"/>
                </a:lnTo>
                <a:lnTo>
                  <a:pt x="5936" y="2416"/>
                </a:lnTo>
                <a:lnTo>
                  <a:pt x="5942" y="2418"/>
                </a:lnTo>
                <a:lnTo>
                  <a:pt x="5954" y="2426"/>
                </a:lnTo>
                <a:lnTo>
                  <a:pt x="5958" y="2426"/>
                </a:lnTo>
                <a:lnTo>
                  <a:pt x="5962" y="2424"/>
                </a:lnTo>
                <a:lnTo>
                  <a:pt x="5964" y="2416"/>
                </a:lnTo>
                <a:lnTo>
                  <a:pt x="5966" y="2406"/>
                </a:lnTo>
                <a:lnTo>
                  <a:pt x="5968" y="2402"/>
                </a:lnTo>
                <a:lnTo>
                  <a:pt x="5970" y="2402"/>
                </a:lnTo>
                <a:lnTo>
                  <a:pt x="5972" y="2402"/>
                </a:lnTo>
                <a:lnTo>
                  <a:pt x="5976" y="2402"/>
                </a:lnTo>
                <a:lnTo>
                  <a:pt x="5982" y="2398"/>
                </a:lnTo>
                <a:lnTo>
                  <a:pt x="5986" y="2396"/>
                </a:lnTo>
                <a:lnTo>
                  <a:pt x="5992" y="2396"/>
                </a:lnTo>
                <a:lnTo>
                  <a:pt x="5996" y="2396"/>
                </a:lnTo>
                <a:lnTo>
                  <a:pt x="6000" y="2400"/>
                </a:lnTo>
                <a:lnTo>
                  <a:pt x="6006" y="2406"/>
                </a:lnTo>
                <a:lnTo>
                  <a:pt x="6008" y="2406"/>
                </a:lnTo>
                <a:lnTo>
                  <a:pt x="6010" y="2406"/>
                </a:lnTo>
                <a:lnTo>
                  <a:pt x="6012" y="2404"/>
                </a:lnTo>
                <a:lnTo>
                  <a:pt x="6014" y="2402"/>
                </a:lnTo>
                <a:lnTo>
                  <a:pt x="6020" y="2404"/>
                </a:lnTo>
                <a:lnTo>
                  <a:pt x="6026" y="2404"/>
                </a:lnTo>
                <a:lnTo>
                  <a:pt x="6028" y="2402"/>
                </a:lnTo>
                <a:lnTo>
                  <a:pt x="6030" y="2398"/>
                </a:lnTo>
                <a:lnTo>
                  <a:pt x="6040" y="2396"/>
                </a:lnTo>
                <a:lnTo>
                  <a:pt x="6050" y="2394"/>
                </a:lnTo>
                <a:lnTo>
                  <a:pt x="6052" y="2390"/>
                </a:lnTo>
                <a:lnTo>
                  <a:pt x="6054" y="2388"/>
                </a:lnTo>
                <a:lnTo>
                  <a:pt x="6058" y="2390"/>
                </a:lnTo>
                <a:lnTo>
                  <a:pt x="6064" y="2394"/>
                </a:lnTo>
                <a:lnTo>
                  <a:pt x="6066" y="2392"/>
                </a:lnTo>
                <a:lnTo>
                  <a:pt x="6068" y="2392"/>
                </a:lnTo>
                <a:lnTo>
                  <a:pt x="6070" y="2394"/>
                </a:lnTo>
                <a:lnTo>
                  <a:pt x="6072" y="2394"/>
                </a:lnTo>
                <a:lnTo>
                  <a:pt x="6076" y="2394"/>
                </a:lnTo>
                <a:lnTo>
                  <a:pt x="6084" y="2392"/>
                </a:lnTo>
                <a:lnTo>
                  <a:pt x="6094" y="2390"/>
                </a:lnTo>
                <a:lnTo>
                  <a:pt x="6100" y="2390"/>
                </a:lnTo>
                <a:lnTo>
                  <a:pt x="6106" y="2392"/>
                </a:lnTo>
                <a:lnTo>
                  <a:pt x="6112" y="2394"/>
                </a:lnTo>
                <a:lnTo>
                  <a:pt x="6116" y="2394"/>
                </a:lnTo>
                <a:lnTo>
                  <a:pt x="6124" y="2392"/>
                </a:lnTo>
                <a:lnTo>
                  <a:pt x="6132" y="2388"/>
                </a:lnTo>
                <a:lnTo>
                  <a:pt x="6140" y="2386"/>
                </a:lnTo>
                <a:lnTo>
                  <a:pt x="6144" y="2384"/>
                </a:lnTo>
                <a:lnTo>
                  <a:pt x="6146" y="2382"/>
                </a:lnTo>
                <a:lnTo>
                  <a:pt x="6148" y="2378"/>
                </a:lnTo>
                <a:lnTo>
                  <a:pt x="6154" y="2374"/>
                </a:lnTo>
                <a:lnTo>
                  <a:pt x="6162" y="2370"/>
                </a:lnTo>
                <a:lnTo>
                  <a:pt x="6164" y="2366"/>
                </a:lnTo>
                <a:lnTo>
                  <a:pt x="6164" y="2362"/>
                </a:lnTo>
                <a:lnTo>
                  <a:pt x="6164" y="2358"/>
                </a:lnTo>
                <a:lnTo>
                  <a:pt x="6164" y="2356"/>
                </a:lnTo>
                <a:lnTo>
                  <a:pt x="6164" y="2354"/>
                </a:lnTo>
                <a:lnTo>
                  <a:pt x="6156" y="2356"/>
                </a:lnTo>
                <a:lnTo>
                  <a:pt x="6148" y="2358"/>
                </a:lnTo>
                <a:lnTo>
                  <a:pt x="6140" y="2358"/>
                </a:lnTo>
                <a:lnTo>
                  <a:pt x="6134" y="2356"/>
                </a:lnTo>
                <a:lnTo>
                  <a:pt x="6134" y="2354"/>
                </a:lnTo>
                <a:lnTo>
                  <a:pt x="6130" y="2350"/>
                </a:lnTo>
                <a:lnTo>
                  <a:pt x="6128" y="2350"/>
                </a:lnTo>
                <a:lnTo>
                  <a:pt x="6128" y="2348"/>
                </a:lnTo>
                <a:lnTo>
                  <a:pt x="6132" y="2348"/>
                </a:lnTo>
                <a:lnTo>
                  <a:pt x="6140" y="2346"/>
                </a:lnTo>
                <a:lnTo>
                  <a:pt x="6142" y="2346"/>
                </a:lnTo>
                <a:lnTo>
                  <a:pt x="6144" y="2344"/>
                </a:lnTo>
                <a:lnTo>
                  <a:pt x="6146" y="2338"/>
                </a:lnTo>
                <a:lnTo>
                  <a:pt x="6144" y="2336"/>
                </a:lnTo>
                <a:lnTo>
                  <a:pt x="6142" y="2336"/>
                </a:lnTo>
                <a:lnTo>
                  <a:pt x="6142" y="2334"/>
                </a:lnTo>
                <a:lnTo>
                  <a:pt x="6146" y="2332"/>
                </a:lnTo>
                <a:lnTo>
                  <a:pt x="6148" y="2332"/>
                </a:lnTo>
                <a:lnTo>
                  <a:pt x="6156" y="2332"/>
                </a:lnTo>
                <a:lnTo>
                  <a:pt x="6160" y="2330"/>
                </a:lnTo>
                <a:lnTo>
                  <a:pt x="6162" y="2330"/>
                </a:lnTo>
                <a:lnTo>
                  <a:pt x="6160" y="2328"/>
                </a:lnTo>
                <a:lnTo>
                  <a:pt x="6158" y="2326"/>
                </a:lnTo>
                <a:lnTo>
                  <a:pt x="6160" y="2324"/>
                </a:lnTo>
                <a:lnTo>
                  <a:pt x="6166" y="2318"/>
                </a:lnTo>
                <a:lnTo>
                  <a:pt x="6170" y="2314"/>
                </a:lnTo>
                <a:lnTo>
                  <a:pt x="6174" y="2308"/>
                </a:lnTo>
                <a:lnTo>
                  <a:pt x="6178" y="2300"/>
                </a:lnTo>
                <a:lnTo>
                  <a:pt x="6178" y="2288"/>
                </a:lnTo>
                <a:close/>
                <a:moveTo>
                  <a:pt x="5916" y="2196"/>
                </a:moveTo>
                <a:lnTo>
                  <a:pt x="5916" y="2196"/>
                </a:lnTo>
                <a:lnTo>
                  <a:pt x="5920" y="2196"/>
                </a:lnTo>
                <a:lnTo>
                  <a:pt x="5924" y="2194"/>
                </a:lnTo>
                <a:lnTo>
                  <a:pt x="5930" y="2188"/>
                </a:lnTo>
                <a:lnTo>
                  <a:pt x="5932" y="2180"/>
                </a:lnTo>
                <a:lnTo>
                  <a:pt x="5932" y="2176"/>
                </a:lnTo>
                <a:lnTo>
                  <a:pt x="5928" y="2172"/>
                </a:lnTo>
                <a:lnTo>
                  <a:pt x="5924" y="2176"/>
                </a:lnTo>
                <a:lnTo>
                  <a:pt x="5918" y="2182"/>
                </a:lnTo>
                <a:lnTo>
                  <a:pt x="5914" y="2190"/>
                </a:lnTo>
                <a:lnTo>
                  <a:pt x="5914" y="2194"/>
                </a:lnTo>
                <a:lnTo>
                  <a:pt x="5916" y="2196"/>
                </a:lnTo>
                <a:close/>
                <a:moveTo>
                  <a:pt x="5922" y="2238"/>
                </a:moveTo>
                <a:lnTo>
                  <a:pt x="5922" y="2238"/>
                </a:lnTo>
                <a:lnTo>
                  <a:pt x="5922" y="2240"/>
                </a:lnTo>
                <a:lnTo>
                  <a:pt x="5922" y="2242"/>
                </a:lnTo>
                <a:lnTo>
                  <a:pt x="5924" y="2246"/>
                </a:lnTo>
                <a:lnTo>
                  <a:pt x="5930" y="2248"/>
                </a:lnTo>
                <a:lnTo>
                  <a:pt x="5934" y="2246"/>
                </a:lnTo>
                <a:lnTo>
                  <a:pt x="5936" y="2244"/>
                </a:lnTo>
                <a:lnTo>
                  <a:pt x="5938" y="2240"/>
                </a:lnTo>
                <a:lnTo>
                  <a:pt x="5938" y="2238"/>
                </a:lnTo>
                <a:lnTo>
                  <a:pt x="5936" y="2234"/>
                </a:lnTo>
                <a:lnTo>
                  <a:pt x="5934" y="2234"/>
                </a:lnTo>
                <a:lnTo>
                  <a:pt x="5932" y="2232"/>
                </a:lnTo>
                <a:lnTo>
                  <a:pt x="5928" y="2232"/>
                </a:lnTo>
                <a:lnTo>
                  <a:pt x="5926" y="2234"/>
                </a:lnTo>
                <a:lnTo>
                  <a:pt x="5922" y="2238"/>
                </a:lnTo>
                <a:close/>
                <a:moveTo>
                  <a:pt x="5892" y="2096"/>
                </a:moveTo>
                <a:lnTo>
                  <a:pt x="5892" y="2096"/>
                </a:lnTo>
                <a:lnTo>
                  <a:pt x="5890" y="2100"/>
                </a:lnTo>
                <a:lnTo>
                  <a:pt x="5890" y="2106"/>
                </a:lnTo>
                <a:lnTo>
                  <a:pt x="5894" y="2108"/>
                </a:lnTo>
                <a:lnTo>
                  <a:pt x="5900" y="2110"/>
                </a:lnTo>
                <a:lnTo>
                  <a:pt x="5902" y="2108"/>
                </a:lnTo>
                <a:lnTo>
                  <a:pt x="5902" y="2106"/>
                </a:lnTo>
                <a:lnTo>
                  <a:pt x="5900" y="2100"/>
                </a:lnTo>
                <a:lnTo>
                  <a:pt x="5896" y="2094"/>
                </a:lnTo>
                <a:lnTo>
                  <a:pt x="5894" y="2094"/>
                </a:lnTo>
                <a:lnTo>
                  <a:pt x="5892" y="2096"/>
                </a:lnTo>
                <a:close/>
                <a:moveTo>
                  <a:pt x="5832" y="1938"/>
                </a:moveTo>
                <a:lnTo>
                  <a:pt x="5832" y="1938"/>
                </a:lnTo>
                <a:lnTo>
                  <a:pt x="5830" y="1938"/>
                </a:lnTo>
                <a:lnTo>
                  <a:pt x="5828" y="1936"/>
                </a:lnTo>
                <a:lnTo>
                  <a:pt x="5826" y="1934"/>
                </a:lnTo>
                <a:lnTo>
                  <a:pt x="5824" y="1934"/>
                </a:lnTo>
                <a:lnTo>
                  <a:pt x="5820" y="1940"/>
                </a:lnTo>
                <a:lnTo>
                  <a:pt x="5820" y="1942"/>
                </a:lnTo>
                <a:lnTo>
                  <a:pt x="5822" y="1946"/>
                </a:lnTo>
                <a:lnTo>
                  <a:pt x="5824" y="1946"/>
                </a:lnTo>
                <a:lnTo>
                  <a:pt x="5824" y="1948"/>
                </a:lnTo>
                <a:lnTo>
                  <a:pt x="5822" y="1950"/>
                </a:lnTo>
                <a:lnTo>
                  <a:pt x="5828" y="1952"/>
                </a:lnTo>
                <a:lnTo>
                  <a:pt x="5830" y="1954"/>
                </a:lnTo>
                <a:lnTo>
                  <a:pt x="5826" y="1956"/>
                </a:lnTo>
                <a:lnTo>
                  <a:pt x="5822" y="1958"/>
                </a:lnTo>
                <a:lnTo>
                  <a:pt x="5820" y="1960"/>
                </a:lnTo>
                <a:lnTo>
                  <a:pt x="5822" y="1964"/>
                </a:lnTo>
                <a:lnTo>
                  <a:pt x="5824" y="1966"/>
                </a:lnTo>
                <a:lnTo>
                  <a:pt x="5826" y="1964"/>
                </a:lnTo>
                <a:lnTo>
                  <a:pt x="5828" y="1962"/>
                </a:lnTo>
                <a:lnTo>
                  <a:pt x="5832" y="1960"/>
                </a:lnTo>
                <a:lnTo>
                  <a:pt x="5834" y="1960"/>
                </a:lnTo>
                <a:lnTo>
                  <a:pt x="5834" y="1958"/>
                </a:lnTo>
                <a:lnTo>
                  <a:pt x="5836" y="1956"/>
                </a:lnTo>
                <a:lnTo>
                  <a:pt x="5838" y="1954"/>
                </a:lnTo>
                <a:lnTo>
                  <a:pt x="5840" y="1952"/>
                </a:lnTo>
                <a:lnTo>
                  <a:pt x="5844" y="1952"/>
                </a:lnTo>
                <a:lnTo>
                  <a:pt x="5846" y="1952"/>
                </a:lnTo>
                <a:lnTo>
                  <a:pt x="5846" y="1950"/>
                </a:lnTo>
                <a:lnTo>
                  <a:pt x="5848" y="1948"/>
                </a:lnTo>
                <a:lnTo>
                  <a:pt x="5850" y="1946"/>
                </a:lnTo>
                <a:lnTo>
                  <a:pt x="5850" y="1944"/>
                </a:lnTo>
                <a:lnTo>
                  <a:pt x="5848" y="1942"/>
                </a:lnTo>
                <a:lnTo>
                  <a:pt x="5848" y="1940"/>
                </a:lnTo>
                <a:lnTo>
                  <a:pt x="5850" y="1940"/>
                </a:lnTo>
                <a:lnTo>
                  <a:pt x="5850" y="1936"/>
                </a:lnTo>
                <a:lnTo>
                  <a:pt x="5852" y="1936"/>
                </a:lnTo>
                <a:lnTo>
                  <a:pt x="5854" y="1936"/>
                </a:lnTo>
                <a:lnTo>
                  <a:pt x="5860" y="1934"/>
                </a:lnTo>
                <a:lnTo>
                  <a:pt x="5860" y="1932"/>
                </a:lnTo>
                <a:lnTo>
                  <a:pt x="5856" y="1932"/>
                </a:lnTo>
                <a:lnTo>
                  <a:pt x="5854" y="1932"/>
                </a:lnTo>
                <a:lnTo>
                  <a:pt x="5852" y="1932"/>
                </a:lnTo>
                <a:lnTo>
                  <a:pt x="5854" y="1930"/>
                </a:lnTo>
                <a:lnTo>
                  <a:pt x="5856" y="1928"/>
                </a:lnTo>
                <a:lnTo>
                  <a:pt x="5858" y="1922"/>
                </a:lnTo>
                <a:lnTo>
                  <a:pt x="5858" y="1918"/>
                </a:lnTo>
                <a:lnTo>
                  <a:pt x="5858" y="1916"/>
                </a:lnTo>
                <a:lnTo>
                  <a:pt x="5854" y="1916"/>
                </a:lnTo>
                <a:lnTo>
                  <a:pt x="5850" y="1918"/>
                </a:lnTo>
                <a:lnTo>
                  <a:pt x="5842" y="1922"/>
                </a:lnTo>
                <a:lnTo>
                  <a:pt x="5834" y="1926"/>
                </a:lnTo>
                <a:lnTo>
                  <a:pt x="5832" y="1928"/>
                </a:lnTo>
                <a:lnTo>
                  <a:pt x="5834" y="1932"/>
                </a:lnTo>
                <a:lnTo>
                  <a:pt x="5834" y="1934"/>
                </a:lnTo>
                <a:lnTo>
                  <a:pt x="5832" y="1938"/>
                </a:lnTo>
                <a:close/>
                <a:moveTo>
                  <a:pt x="5822" y="1974"/>
                </a:moveTo>
                <a:lnTo>
                  <a:pt x="5822" y="1974"/>
                </a:lnTo>
                <a:lnTo>
                  <a:pt x="5824" y="1970"/>
                </a:lnTo>
                <a:lnTo>
                  <a:pt x="5822" y="1968"/>
                </a:lnTo>
                <a:lnTo>
                  <a:pt x="5820" y="1968"/>
                </a:lnTo>
                <a:lnTo>
                  <a:pt x="5818" y="1968"/>
                </a:lnTo>
                <a:lnTo>
                  <a:pt x="5812" y="1968"/>
                </a:lnTo>
                <a:lnTo>
                  <a:pt x="5810" y="1970"/>
                </a:lnTo>
                <a:lnTo>
                  <a:pt x="5806" y="1972"/>
                </a:lnTo>
                <a:lnTo>
                  <a:pt x="5804" y="1972"/>
                </a:lnTo>
                <a:lnTo>
                  <a:pt x="5806" y="1974"/>
                </a:lnTo>
                <a:lnTo>
                  <a:pt x="5812" y="1976"/>
                </a:lnTo>
                <a:lnTo>
                  <a:pt x="5818" y="1978"/>
                </a:lnTo>
                <a:lnTo>
                  <a:pt x="5820" y="1976"/>
                </a:lnTo>
                <a:lnTo>
                  <a:pt x="5822" y="1974"/>
                </a:lnTo>
                <a:close/>
                <a:moveTo>
                  <a:pt x="5864" y="2010"/>
                </a:moveTo>
                <a:lnTo>
                  <a:pt x="5864" y="2010"/>
                </a:lnTo>
                <a:lnTo>
                  <a:pt x="5868" y="2010"/>
                </a:lnTo>
                <a:lnTo>
                  <a:pt x="5872" y="2006"/>
                </a:lnTo>
                <a:lnTo>
                  <a:pt x="5878" y="1996"/>
                </a:lnTo>
                <a:lnTo>
                  <a:pt x="5876" y="1994"/>
                </a:lnTo>
                <a:lnTo>
                  <a:pt x="5874" y="1994"/>
                </a:lnTo>
                <a:lnTo>
                  <a:pt x="5868" y="1994"/>
                </a:lnTo>
                <a:lnTo>
                  <a:pt x="5864" y="1994"/>
                </a:lnTo>
                <a:lnTo>
                  <a:pt x="5862" y="1992"/>
                </a:lnTo>
                <a:lnTo>
                  <a:pt x="5860" y="1988"/>
                </a:lnTo>
                <a:lnTo>
                  <a:pt x="5858" y="1980"/>
                </a:lnTo>
                <a:lnTo>
                  <a:pt x="5856" y="1972"/>
                </a:lnTo>
                <a:lnTo>
                  <a:pt x="5856" y="1968"/>
                </a:lnTo>
                <a:lnTo>
                  <a:pt x="5854" y="1968"/>
                </a:lnTo>
                <a:lnTo>
                  <a:pt x="5852" y="1968"/>
                </a:lnTo>
                <a:lnTo>
                  <a:pt x="5850" y="1968"/>
                </a:lnTo>
                <a:lnTo>
                  <a:pt x="5850" y="1974"/>
                </a:lnTo>
                <a:lnTo>
                  <a:pt x="5850" y="1978"/>
                </a:lnTo>
                <a:lnTo>
                  <a:pt x="5850" y="1982"/>
                </a:lnTo>
                <a:lnTo>
                  <a:pt x="5848" y="1982"/>
                </a:lnTo>
                <a:lnTo>
                  <a:pt x="5844" y="1978"/>
                </a:lnTo>
                <a:lnTo>
                  <a:pt x="5842" y="1974"/>
                </a:lnTo>
                <a:lnTo>
                  <a:pt x="5840" y="1974"/>
                </a:lnTo>
                <a:lnTo>
                  <a:pt x="5838" y="1976"/>
                </a:lnTo>
                <a:lnTo>
                  <a:pt x="5840" y="1978"/>
                </a:lnTo>
                <a:lnTo>
                  <a:pt x="5840" y="1982"/>
                </a:lnTo>
                <a:lnTo>
                  <a:pt x="5838" y="1984"/>
                </a:lnTo>
                <a:lnTo>
                  <a:pt x="5836" y="1984"/>
                </a:lnTo>
                <a:lnTo>
                  <a:pt x="5834" y="1986"/>
                </a:lnTo>
                <a:lnTo>
                  <a:pt x="5838" y="1990"/>
                </a:lnTo>
                <a:lnTo>
                  <a:pt x="5840" y="1990"/>
                </a:lnTo>
                <a:lnTo>
                  <a:pt x="5842" y="1988"/>
                </a:lnTo>
                <a:lnTo>
                  <a:pt x="5846" y="1990"/>
                </a:lnTo>
                <a:lnTo>
                  <a:pt x="5848" y="1992"/>
                </a:lnTo>
                <a:lnTo>
                  <a:pt x="5846" y="1992"/>
                </a:lnTo>
                <a:lnTo>
                  <a:pt x="5846" y="1994"/>
                </a:lnTo>
                <a:lnTo>
                  <a:pt x="5850" y="1998"/>
                </a:lnTo>
                <a:lnTo>
                  <a:pt x="5852" y="2002"/>
                </a:lnTo>
                <a:lnTo>
                  <a:pt x="5856" y="2002"/>
                </a:lnTo>
                <a:lnTo>
                  <a:pt x="5858" y="2000"/>
                </a:lnTo>
                <a:lnTo>
                  <a:pt x="5864" y="2000"/>
                </a:lnTo>
                <a:lnTo>
                  <a:pt x="5866" y="2000"/>
                </a:lnTo>
                <a:lnTo>
                  <a:pt x="5866" y="2002"/>
                </a:lnTo>
                <a:lnTo>
                  <a:pt x="5866" y="2004"/>
                </a:lnTo>
                <a:lnTo>
                  <a:pt x="5864" y="2008"/>
                </a:lnTo>
                <a:lnTo>
                  <a:pt x="5864" y="2010"/>
                </a:lnTo>
                <a:close/>
                <a:moveTo>
                  <a:pt x="5868" y="2042"/>
                </a:moveTo>
                <a:lnTo>
                  <a:pt x="5868" y="2042"/>
                </a:lnTo>
                <a:lnTo>
                  <a:pt x="5862" y="2040"/>
                </a:lnTo>
                <a:lnTo>
                  <a:pt x="5860" y="2036"/>
                </a:lnTo>
                <a:lnTo>
                  <a:pt x="5858" y="2034"/>
                </a:lnTo>
                <a:lnTo>
                  <a:pt x="5854" y="2036"/>
                </a:lnTo>
                <a:lnTo>
                  <a:pt x="5852" y="2040"/>
                </a:lnTo>
                <a:lnTo>
                  <a:pt x="5852" y="2042"/>
                </a:lnTo>
                <a:lnTo>
                  <a:pt x="5858" y="2046"/>
                </a:lnTo>
                <a:lnTo>
                  <a:pt x="5860" y="2046"/>
                </a:lnTo>
                <a:lnTo>
                  <a:pt x="5860" y="2048"/>
                </a:lnTo>
                <a:lnTo>
                  <a:pt x="5858" y="2050"/>
                </a:lnTo>
                <a:lnTo>
                  <a:pt x="5858" y="2052"/>
                </a:lnTo>
                <a:lnTo>
                  <a:pt x="5856" y="2054"/>
                </a:lnTo>
                <a:lnTo>
                  <a:pt x="5854" y="2054"/>
                </a:lnTo>
                <a:lnTo>
                  <a:pt x="5852" y="2054"/>
                </a:lnTo>
                <a:lnTo>
                  <a:pt x="5850" y="2058"/>
                </a:lnTo>
                <a:lnTo>
                  <a:pt x="5852" y="2058"/>
                </a:lnTo>
                <a:lnTo>
                  <a:pt x="5852" y="2060"/>
                </a:lnTo>
                <a:lnTo>
                  <a:pt x="5858" y="2058"/>
                </a:lnTo>
                <a:lnTo>
                  <a:pt x="5874" y="2054"/>
                </a:lnTo>
                <a:lnTo>
                  <a:pt x="5878" y="2052"/>
                </a:lnTo>
                <a:lnTo>
                  <a:pt x="5878" y="2048"/>
                </a:lnTo>
                <a:lnTo>
                  <a:pt x="5874" y="2044"/>
                </a:lnTo>
                <a:lnTo>
                  <a:pt x="5868" y="2042"/>
                </a:lnTo>
                <a:close/>
                <a:moveTo>
                  <a:pt x="5852" y="2100"/>
                </a:moveTo>
                <a:lnTo>
                  <a:pt x="5852" y="2100"/>
                </a:lnTo>
                <a:lnTo>
                  <a:pt x="5854" y="2102"/>
                </a:lnTo>
                <a:lnTo>
                  <a:pt x="5860" y="2096"/>
                </a:lnTo>
                <a:lnTo>
                  <a:pt x="5864" y="2094"/>
                </a:lnTo>
                <a:lnTo>
                  <a:pt x="5862" y="2090"/>
                </a:lnTo>
                <a:lnTo>
                  <a:pt x="5862" y="2086"/>
                </a:lnTo>
                <a:lnTo>
                  <a:pt x="5860" y="2080"/>
                </a:lnTo>
                <a:lnTo>
                  <a:pt x="5858" y="2078"/>
                </a:lnTo>
                <a:lnTo>
                  <a:pt x="5856" y="2080"/>
                </a:lnTo>
                <a:lnTo>
                  <a:pt x="5854" y="2084"/>
                </a:lnTo>
                <a:lnTo>
                  <a:pt x="5852" y="2084"/>
                </a:lnTo>
                <a:lnTo>
                  <a:pt x="5852" y="2082"/>
                </a:lnTo>
                <a:lnTo>
                  <a:pt x="5850" y="2082"/>
                </a:lnTo>
                <a:lnTo>
                  <a:pt x="5846" y="2086"/>
                </a:lnTo>
                <a:lnTo>
                  <a:pt x="5842" y="2090"/>
                </a:lnTo>
                <a:lnTo>
                  <a:pt x="5842" y="2092"/>
                </a:lnTo>
                <a:lnTo>
                  <a:pt x="5844" y="2094"/>
                </a:lnTo>
                <a:lnTo>
                  <a:pt x="5848" y="2094"/>
                </a:lnTo>
                <a:lnTo>
                  <a:pt x="5850" y="2092"/>
                </a:lnTo>
                <a:lnTo>
                  <a:pt x="5852" y="2090"/>
                </a:lnTo>
                <a:lnTo>
                  <a:pt x="5854" y="2092"/>
                </a:lnTo>
                <a:lnTo>
                  <a:pt x="5854" y="2096"/>
                </a:lnTo>
                <a:lnTo>
                  <a:pt x="5852" y="2098"/>
                </a:lnTo>
                <a:lnTo>
                  <a:pt x="5852" y="2100"/>
                </a:lnTo>
                <a:close/>
                <a:moveTo>
                  <a:pt x="5974" y="1886"/>
                </a:moveTo>
                <a:lnTo>
                  <a:pt x="5974" y="1886"/>
                </a:lnTo>
                <a:lnTo>
                  <a:pt x="5978" y="1888"/>
                </a:lnTo>
                <a:lnTo>
                  <a:pt x="5982" y="1888"/>
                </a:lnTo>
                <a:lnTo>
                  <a:pt x="5986" y="1888"/>
                </a:lnTo>
                <a:lnTo>
                  <a:pt x="5988" y="1890"/>
                </a:lnTo>
                <a:lnTo>
                  <a:pt x="5992" y="1892"/>
                </a:lnTo>
                <a:lnTo>
                  <a:pt x="5994" y="1890"/>
                </a:lnTo>
                <a:lnTo>
                  <a:pt x="5996" y="1888"/>
                </a:lnTo>
                <a:lnTo>
                  <a:pt x="5996" y="1886"/>
                </a:lnTo>
                <a:lnTo>
                  <a:pt x="5994" y="1886"/>
                </a:lnTo>
                <a:lnTo>
                  <a:pt x="5994" y="1888"/>
                </a:lnTo>
                <a:lnTo>
                  <a:pt x="5992" y="1886"/>
                </a:lnTo>
                <a:lnTo>
                  <a:pt x="5990" y="1884"/>
                </a:lnTo>
                <a:lnTo>
                  <a:pt x="5986" y="1884"/>
                </a:lnTo>
                <a:lnTo>
                  <a:pt x="5984" y="1884"/>
                </a:lnTo>
                <a:lnTo>
                  <a:pt x="5984" y="1882"/>
                </a:lnTo>
                <a:lnTo>
                  <a:pt x="5986" y="1878"/>
                </a:lnTo>
                <a:lnTo>
                  <a:pt x="5986" y="1876"/>
                </a:lnTo>
                <a:lnTo>
                  <a:pt x="5980" y="1874"/>
                </a:lnTo>
                <a:lnTo>
                  <a:pt x="5976" y="1874"/>
                </a:lnTo>
                <a:lnTo>
                  <a:pt x="5974" y="1878"/>
                </a:lnTo>
                <a:lnTo>
                  <a:pt x="5974" y="1882"/>
                </a:lnTo>
                <a:lnTo>
                  <a:pt x="5974" y="1886"/>
                </a:lnTo>
                <a:close/>
                <a:moveTo>
                  <a:pt x="11016" y="3794"/>
                </a:moveTo>
                <a:lnTo>
                  <a:pt x="11016" y="3794"/>
                </a:lnTo>
                <a:lnTo>
                  <a:pt x="11010" y="3790"/>
                </a:lnTo>
                <a:lnTo>
                  <a:pt x="11006" y="3788"/>
                </a:lnTo>
                <a:lnTo>
                  <a:pt x="11004" y="3788"/>
                </a:lnTo>
                <a:lnTo>
                  <a:pt x="11002" y="3790"/>
                </a:lnTo>
                <a:lnTo>
                  <a:pt x="10998" y="3794"/>
                </a:lnTo>
                <a:lnTo>
                  <a:pt x="10994" y="3798"/>
                </a:lnTo>
                <a:lnTo>
                  <a:pt x="10988" y="3800"/>
                </a:lnTo>
                <a:lnTo>
                  <a:pt x="10980" y="3808"/>
                </a:lnTo>
                <a:lnTo>
                  <a:pt x="10960" y="3844"/>
                </a:lnTo>
                <a:lnTo>
                  <a:pt x="10952" y="3862"/>
                </a:lnTo>
                <a:lnTo>
                  <a:pt x="10948" y="3876"/>
                </a:lnTo>
                <a:lnTo>
                  <a:pt x="10948" y="3892"/>
                </a:lnTo>
                <a:lnTo>
                  <a:pt x="10950" y="3910"/>
                </a:lnTo>
                <a:lnTo>
                  <a:pt x="10954" y="3924"/>
                </a:lnTo>
                <a:lnTo>
                  <a:pt x="10958" y="3930"/>
                </a:lnTo>
                <a:lnTo>
                  <a:pt x="10962" y="3934"/>
                </a:lnTo>
                <a:lnTo>
                  <a:pt x="10966" y="3940"/>
                </a:lnTo>
                <a:lnTo>
                  <a:pt x="10970" y="3952"/>
                </a:lnTo>
                <a:lnTo>
                  <a:pt x="10974" y="3960"/>
                </a:lnTo>
                <a:lnTo>
                  <a:pt x="10976" y="3962"/>
                </a:lnTo>
                <a:lnTo>
                  <a:pt x="10978" y="3960"/>
                </a:lnTo>
                <a:lnTo>
                  <a:pt x="10978" y="3956"/>
                </a:lnTo>
                <a:lnTo>
                  <a:pt x="10980" y="3946"/>
                </a:lnTo>
                <a:lnTo>
                  <a:pt x="10980" y="3936"/>
                </a:lnTo>
                <a:lnTo>
                  <a:pt x="10982" y="3930"/>
                </a:lnTo>
                <a:lnTo>
                  <a:pt x="10984" y="3926"/>
                </a:lnTo>
                <a:lnTo>
                  <a:pt x="10988" y="3922"/>
                </a:lnTo>
                <a:lnTo>
                  <a:pt x="10990" y="3918"/>
                </a:lnTo>
                <a:lnTo>
                  <a:pt x="10994" y="3912"/>
                </a:lnTo>
                <a:lnTo>
                  <a:pt x="10998" y="3902"/>
                </a:lnTo>
                <a:lnTo>
                  <a:pt x="11002" y="3888"/>
                </a:lnTo>
                <a:lnTo>
                  <a:pt x="11008" y="3862"/>
                </a:lnTo>
                <a:lnTo>
                  <a:pt x="11014" y="3844"/>
                </a:lnTo>
                <a:lnTo>
                  <a:pt x="11018" y="3832"/>
                </a:lnTo>
                <a:lnTo>
                  <a:pt x="11018" y="3826"/>
                </a:lnTo>
                <a:lnTo>
                  <a:pt x="11018" y="3822"/>
                </a:lnTo>
                <a:lnTo>
                  <a:pt x="11016" y="3818"/>
                </a:lnTo>
                <a:lnTo>
                  <a:pt x="11016" y="3814"/>
                </a:lnTo>
                <a:lnTo>
                  <a:pt x="11020" y="3808"/>
                </a:lnTo>
                <a:lnTo>
                  <a:pt x="11020" y="3806"/>
                </a:lnTo>
                <a:lnTo>
                  <a:pt x="11020" y="3804"/>
                </a:lnTo>
                <a:lnTo>
                  <a:pt x="11020" y="3800"/>
                </a:lnTo>
                <a:lnTo>
                  <a:pt x="11016" y="3794"/>
                </a:lnTo>
                <a:close/>
                <a:moveTo>
                  <a:pt x="10494" y="4138"/>
                </a:moveTo>
                <a:lnTo>
                  <a:pt x="10494" y="4138"/>
                </a:lnTo>
                <a:lnTo>
                  <a:pt x="10504" y="4142"/>
                </a:lnTo>
                <a:lnTo>
                  <a:pt x="10510" y="4142"/>
                </a:lnTo>
                <a:lnTo>
                  <a:pt x="10512" y="4142"/>
                </a:lnTo>
                <a:lnTo>
                  <a:pt x="10514" y="4144"/>
                </a:lnTo>
                <a:lnTo>
                  <a:pt x="10518" y="4148"/>
                </a:lnTo>
                <a:lnTo>
                  <a:pt x="10522" y="4148"/>
                </a:lnTo>
                <a:lnTo>
                  <a:pt x="10526" y="4148"/>
                </a:lnTo>
                <a:lnTo>
                  <a:pt x="10528" y="4142"/>
                </a:lnTo>
                <a:lnTo>
                  <a:pt x="10528" y="4140"/>
                </a:lnTo>
                <a:lnTo>
                  <a:pt x="10530" y="4138"/>
                </a:lnTo>
                <a:lnTo>
                  <a:pt x="10534" y="4138"/>
                </a:lnTo>
                <a:lnTo>
                  <a:pt x="10540" y="4138"/>
                </a:lnTo>
                <a:lnTo>
                  <a:pt x="10542" y="4136"/>
                </a:lnTo>
                <a:lnTo>
                  <a:pt x="10542" y="4132"/>
                </a:lnTo>
                <a:lnTo>
                  <a:pt x="10544" y="4130"/>
                </a:lnTo>
                <a:lnTo>
                  <a:pt x="10546" y="4128"/>
                </a:lnTo>
                <a:lnTo>
                  <a:pt x="10552" y="4124"/>
                </a:lnTo>
                <a:lnTo>
                  <a:pt x="10556" y="4124"/>
                </a:lnTo>
                <a:lnTo>
                  <a:pt x="10558" y="4120"/>
                </a:lnTo>
                <a:lnTo>
                  <a:pt x="10560" y="4116"/>
                </a:lnTo>
                <a:lnTo>
                  <a:pt x="10560" y="4110"/>
                </a:lnTo>
                <a:lnTo>
                  <a:pt x="10562" y="4100"/>
                </a:lnTo>
                <a:lnTo>
                  <a:pt x="10568" y="4090"/>
                </a:lnTo>
                <a:lnTo>
                  <a:pt x="10574" y="4082"/>
                </a:lnTo>
                <a:lnTo>
                  <a:pt x="10578" y="4078"/>
                </a:lnTo>
                <a:lnTo>
                  <a:pt x="10580" y="4074"/>
                </a:lnTo>
                <a:lnTo>
                  <a:pt x="10580" y="4068"/>
                </a:lnTo>
                <a:lnTo>
                  <a:pt x="10578" y="4060"/>
                </a:lnTo>
                <a:lnTo>
                  <a:pt x="10574" y="4058"/>
                </a:lnTo>
                <a:lnTo>
                  <a:pt x="10570" y="4056"/>
                </a:lnTo>
                <a:lnTo>
                  <a:pt x="10568" y="4052"/>
                </a:lnTo>
                <a:lnTo>
                  <a:pt x="10566" y="4052"/>
                </a:lnTo>
                <a:lnTo>
                  <a:pt x="10562" y="4054"/>
                </a:lnTo>
                <a:lnTo>
                  <a:pt x="10558" y="4056"/>
                </a:lnTo>
                <a:lnTo>
                  <a:pt x="10554" y="4056"/>
                </a:lnTo>
                <a:lnTo>
                  <a:pt x="10548" y="4056"/>
                </a:lnTo>
                <a:lnTo>
                  <a:pt x="10542" y="4058"/>
                </a:lnTo>
                <a:lnTo>
                  <a:pt x="10540" y="4060"/>
                </a:lnTo>
                <a:lnTo>
                  <a:pt x="10536" y="4060"/>
                </a:lnTo>
                <a:lnTo>
                  <a:pt x="10530" y="4058"/>
                </a:lnTo>
                <a:lnTo>
                  <a:pt x="10526" y="4058"/>
                </a:lnTo>
                <a:lnTo>
                  <a:pt x="10522" y="4058"/>
                </a:lnTo>
                <a:lnTo>
                  <a:pt x="10520" y="4060"/>
                </a:lnTo>
                <a:lnTo>
                  <a:pt x="10518" y="4064"/>
                </a:lnTo>
                <a:lnTo>
                  <a:pt x="10514" y="4062"/>
                </a:lnTo>
                <a:lnTo>
                  <a:pt x="10512" y="4062"/>
                </a:lnTo>
                <a:lnTo>
                  <a:pt x="10510" y="4062"/>
                </a:lnTo>
                <a:lnTo>
                  <a:pt x="10508" y="4064"/>
                </a:lnTo>
                <a:lnTo>
                  <a:pt x="10504" y="4068"/>
                </a:lnTo>
                <a:lnTo>
                  <a:pt x="10504" y="4070"/>
                </a:lnTo>
                <a:lnTo>
                  <a:pt x="10502" y="4074"/>
                </a:lnTo>
                <a:lnTo>
                  <a:pt x="10496" y="4082"/>
                </a:lnTo>
                <a:lnTo>
                  <a:pt x="10492" y="4084"/>
                </a:lnTo>
                <a:lnTo>
                  <a:pt x="10488" y="4088"/>
                </a:lnTo>
                <a:lnTo>
                  <a:pt x="10484" y="4096"/>
                </a:lnTo>
                <a:lnTo>
                  <a:pt x="10484" y="4108"/>
                </a:lnTo>
                <a:lnTo>
                  <a:pt x="10484" y="4118"/>
                </a:lnTo>
                <a:lnTo>
                  <a:pt x="10486" y="4126"/>
                </a:lnTo>
                <a:lnTo>
                  <a:pt x="10488" y="4132"/>
                </a:lnTo>
                <a:lnTo>
                  <a:pt x="10494" y="4138"/>
                </a:lnTo>
                <a:close/>
                <a:moveTo>
                  <a:pt x="10696" y="3976"/>
                </a:moveTo>
                <a:lnTo>
                  <a:pt x="10696" y="3976"/>
                </a:lnTo>
                <a:lnTo>
                  <a:pt x="10698" y="3978"/>
                </a:lnTo>
                <a:lnTo>
                  <a:pt x="10702" y="3978"/>
                </a:lnTo>
                <a:lnTo>
                  <a:pt x="10706" y="3976"/>
                </a:lnTo>
                <a:lnTo>
                  <a:pt x="10708" y="3974"/>
                </a:lnTo>
                <a:lnTo>
                  <a:pt x="10708" y="3968"/>
                </a:lnTo>
                <a:lnTo>
                  <a:pt x="10706" y="3962"/>
                </a:lnTo>
                <a:lnTo>
                  <a:pt x="10708" y="3958"/>
                </a:lnTo>
                <a:lnTo>
                  <a:pt x="10708" y="3954"/>
                </a:lnTo>
                <a:lnTo>
                  <a:pt x="10708" y="3952"/>
                </a:lnTo>
                <a:lnTo>
                  <a:pt x="10706" y="3950"/>
                </a:lnTo>
                <a:lnTo>
                  <a:pt x="10702" y="3952"/>
                </a:lnTo>
                <a:lnTo>
                  <a:pt x="10702" y="3950"/>
                </a:lnTo>
                <a:lnTo>
                  <a:pt x="10702" y="3948"/>
                </a:lnTo>
                <a:lnTo>
                  <a:pt x="10700" y="3948"/>
                </a:lnTo>
                <a:lnTo>
                  <a:pt x="10698" y="3948"/>
                </a:lnTo>
                <a:lnTo>
                  <a:pt x="10698" y="3952"/>
                </a:lnTo>
                <a:lnTo>
                  <a:pt x="10696" y="3954"/>
                </a:lnTo>
                <a:lnTo>
                  <a:pt x="10694" y="3958"/>
                </a:lnTo>
                <a:lnTo>
                  <a:pt x="10690" y="3960"/>
                </a:lnTo>
                <a:lnTo>
                  <a:pt x="10690" y="3966"/>
                </a:lnTo>
                <a:lnTo>
                  <a:pt x="10690" y="3974"/>
                </a:lnTo>
                <a:lnTo>
                  <a:pt x="10692" y="3974"/>
                </a:lnTo>
                <a:lnTo>
                  <a:pt x="10696" y="3976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65000"/>
                  <a:alpha val="94000"/>
                </a:schemeClr>
              </a:gs>
              <a:gs pos="100000">
                <a:schemeClr val="bg1">
                  <a:lumMod val="85000"/>
                  <a:alpha val="94000"/>
                </a:schemeClr>
              </a:gs>
            </a:gsLst>
            <a:lin ang="5400000" scaled="0"/>
            <a:tileRect/>
          </a:gra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grpSp>
        <p:nvGrpSpPr>
          <p:cNvPr id="40" name="Group 39"/>
          <p:cNvGrpSpPr/>
          <p:nvPr/>
        </p:nvGrpSpPr>
        <p:grpSpPr>
          <a:xfrm>
            <a:off x="689992" y="3685893"/>
            <a:ext cx="3768943" cy="607203"/>
            <a:chOff x="612127" y="1597660"/>
            <a:chExt cx="3550920" cy="462196"/>
          </a:xfrm>
        </p:grpSpPr>
        <p:sp>
          <p:nvSpPr>
            <p:cNvPr id="26" name="Freeform 25"/>
            <p:cNvSpPr/>
            <p:nvPr/>
          </p:nvSpPr>
          <p:spPr>
            <a:xfrm>
              <a:off x="843224" y="1597660"/>
              <a:ext cx="3319823" cy="462196"/>
            </a:xfrm>
            <a:custGeom>
              <a:avLst/>
              <a:gdLst>
                <a:gd name="connsiteX0" fmla="*/ 0 w 3319823"/>
                <a:gd name="connsiteY0" fmla="*/ 0 h 462194"/>
                <a:gd name="connsiteX1" fmla="*/ 3088726 w 3319823"/>
                <a:gd name="connsiteY1" fmla="*/ 0 h 462194"/>
                <a:gd name="connsiteX2" fmla="*/ 3319823 w 3319823"/>
                <a:gd name="connsiteY2" fmla="*/ 231097 h 462194"/>
                <a:gd name="connsiteX3" fmla="*/ 3088726 w 3319823"/>
                <a:gd name="connsiteY3" fmla="*/ 462194 h 462194"/>
                <a:gd name="connsiteX4" fmla="*/ 0 w 3319823"/>
                <a:gd name="connsiteY4" fmla="*/ 462194 h 462194"/>
                <a:gd name="connsiteX5" fmla="*/ 0 w 3319823"/>
                <a:gd name="connsiteY5" fmla="*/ 0 h 462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19823" h="462194">
                  <a:moveTo>
                    <a:pt x="3319823" y="462193"/>
                  </a:moveTo>
                  <a:lnTo>
                    <a:pt x="231097" y="462193"/>
                  </a:lnTo>
                  <a:lnTo>
                    <a:pt x="0" y="231097"/>
                  </a:lnTo>
                  <a:lnTo>
                    <a:pt x="231097" y="1"/>
                  </a:lnTo>
                  <a:lnTo>
                    <a:pt x="3319823" y="1"/>
                  </a:lnTo>
                  <a:lnTo>
                    <a:pt x="3319823" y="462193"/>
                  </a:lnTo>
                  <a:close/>
                </a:path>
              </a:pathLst>
            </a:custGeom>
            <a:gradFill rotWithShape="0">
              <a:gsLst>
                <a:gs pos="0">
                  <a:schemeClr val="accent1">
                    <a:shade val="50000"/>
                    <a:hueOff val="0"/>
                    <a:satOff val="0"/>
                    <a:lumOff val="0"/>
                    <a:shade val="51000"/>
                    <a:satMod val="130000"/>
                    <a:alpha val="39000"/>
                  </a:schemeClr>
                </a:gs>
                <a:gs pos="80000">
                  <a:schemeClr val="accent1">
                    <a:shade val="50000"/>
                    <a:hueOff val="0"/>
                    <a:satOff val="0"/>
                    <a:lumOff val="0"/>
                    <a:alphaOff val="0"/>
                    <a:shade val="93000"/>
                    <a:satMod val="130000"/>
                  </a:schemeClr>
                </a:gs>
                <a:gs pos="100000">
                  <a:schemeClr val="accent1">
                    <a:shade val="50000"/>
                    <a:hueOff val="0"/>
                    <a:satOff val="0"/>
                    <a:lumOff val="0"/>
                    <a:alphaOff val="0"/>
                    <a:shade val="94000"/>
                    <a:satMod val="135000"/>
                  </a:schemeClr>
                </a:gs>
              </a:gsLst>
            </a:grad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19363" tIns="41911" rIns="78232" bIns="41911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100" b="1" dirty="0"/>
                <a:t>US Department of Justice</a:t>
              </a:r>
              <a:endParaRPr lang="en-US" sz="1100" b="1" kern="1200" dirty="0"/>
            </a:p>
          </p:txBody>
        </p:sp>
        <p:sp>
          <p:nvSpPr>
            <p:cNvPr id="27" name="Oval 26"/>
            <p:cNvSpPr/>
            <p:nvPr/>
          </p:nvSpPr>
          <p:spPr>
            <a:xfrm>
              <a:off x="612127" y="1621364"/>
              <a:ext cx="462194" cy="407384"/>
            </a:xfrm>
            <a:prstGeom prst="ellipse">
              <a:avLst/>
            </a:prstGeom>
            <a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z="127000" prstMaterial="matte">
              <a:bevelT w="127000" h="635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41" name="Group 40"/>
          <p:cNvGrpSpPr/>
          <p:nvPr/>
        </p:nvGrpSpPr>
        <p:grpSpPr>
          <a:xfrm>
            <a:off x="820134" y="2574632"/>
            <a:ext cx="3550920" cy="690738"/>
            <a:chOff x="612127" y="2197825"/>
            <a:chExt cx="3550920" cy="462195"/>
          </a:xfrm>
        </p:grpSpPr>
        <p:sp>
          <p:nvSpPr>
            <p:cNvPr id="28" name="Freeform 27"/>
            <p:cNvSpPr/>
            <p:nvPr/>
          </p:nvSpPr>
          <p:spPr>
            <a:xfrm>
              <a:off x="843224" y="2197825"/>
              <a:ext cx="3319823" cy="462195"/>
            </a:xfrm>
            <a:custGeom>
              <a:avLst/>
              <a:gdLst>
                <a:gd name="connsiteX0" fmla="*/ 0 w 3319823"/>
                <a:gd name="connsiteY0" fmla="*/ 0 h 462194"/>
                <a:gd name="connsiteX1" fmla="*/ 3088726 w 3319823"/>
                <a:gd name="connsiteY1" fmla="*/ 0 h 462194"/>
                <a:gd name="connsiteX2" fmla="*/ 3319823 w 3319823"/>
                <a:gd name="connsiteY2" fmla="*/ 231097 h 462194"/>
                <a:gd name="connsiteX3" fmla="*/ 3088726 w 3319823"/>
                <a:gd name="connsiteY3" fmla="*/ 462194 h 462194"/>
                <a:gd name="connsiteX4" fmla="*/ 0 w 3319823"/>
                <a:gd name="connsiteY4" fmla="*/ 462194 h 462194"/>
                <a:gd name="connsiteX5" fmla="*/ 0 w 3319823"/>
                <a:gd name="connsiteY5" fmla="*/ 0 h 462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19823" h="462194">
                  <a:moveTo>
                    <a:pt x="3319823" y="462193"/>
                  </a:moveTo>
                  <a:lnTo>
                    <a:pt x="231097" y="462193"/>
                  </a:lnTo>
                  <a:lnTo>
                    <a:pt x="0" y="231097"/>
                  </a:lnTo>
                  <a:lnTo>
                    <a:pt x="231097" y="1"/>
                  </a:lnTo>
                  <a:lnTo>
                    <a:pt x="3319823" y="1"/>
                  </a:lnTo>
                  <a:lnTo>
                    <a:pt x="3319823" y="462193"/>
                  </a:lnTo>
                  <a:close/>
                </a:path>
              </a:pathLst>
            </a:custGeom>
            <a:gradFill rotWithShape="0">
              <a:gsLst>
                <a:gs pos="0">
                  <a:schemeClr val="accent1">
                    <a:shade val="50000"/>
                    <a:hueOff val="105542"/>
                    <a:satOff val="-3505"/>
                    <a:lumOff val="12595"/>
                    <a:shade val="51000"/>
                    <a:satMod val="130000"/>
                    <a:alpha val="63000"/>
                  </a:schemeClr>
                </a:gs>
                <a:gs pos="80000">
                  <a:schemeClr val="accent1">
                    <a:shade val="50000"/>
                    <a:hueOff val="105542"/>
                    <a:satOff val="-3505"/>
                    <a:lumOff val="12595"/>
                    <a:alphaOff val="0"/>
                    <a:shade val="93000"/>
                    <a:satMod val="130000"/>
                  </a:schemeClr>
                </a:gs>
                <a:gs pos="100000">
                  <a:schemeClr val="accent1">
                    <a:shade val="50000"/>
                    <a:hueOff val="105542"/>
                    <a:satOff val="-3505"/>
                    <a:lumOff val="12595"/>
                    <a:alphaOff val="0"/>
                    <a:shade val="94000"/>
                    <a:satMod val="135000"/>
                  </a:schemeClr>
                </a:gs>
              </a:gsLst>
            </a:grad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19363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100" b="1" dirty="0"/>
                <a:t>The European Union</a:t>
              </a:r>
              <a:endParaRPr lang="en-US" sz="1100" b="1" kern="1200" dirty="0"/>
            </a:p>
          </p:txBody>
        </p:sp>
        <p:sp>
          <p:nvSpPr>
            <p:cNvPr id="29" name="Oval 28"/>
            <p:cNvSpPr/>
            <p:nvPr/>
          </p:nvSpPr>
          <p:spPr>
            <a:xfrm>
              <a:off x="612127" y="2252251"/>
              <a:ext cx="462194" cy="386301"/>
            </a:xfrm>
            <a:prstGeom prst="ellipse">
              <a:avLst/>
            </a:prstGeom>
            <a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z="127000" prstMaterial="matte">
              <a:bevelT w="127000" h="635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46" name="Group 45"/>
          <p:cNvGrpSpPr/>
          <p:nvPr/>
        </p:nvGrpSpPr>
        <p:grpSpPr>
          <a:xfrm>
            <a:off x="4866456" y="3582744"/>
            <a:ext cx="3702204" cy="645725"/>
            <a:chOff x="612127" y="4598475"/>
            <a:chExt cx="3550920" cy="462195"/>
          </a:xfrm>
        </p:grpSpPr>
        <p:sp>
          <p:nvSpPr>
            <p:cNvPr id="36" name="Freeform 35"/>
            <p:cNvSpPr/>
            <p:nvPr/>
          </p:nvSpPr>
          <p:spPr>
            <a:xfrm>
              <a:off x="843224" y="4598475"/>
              <a:ext cx="3319823" cy="462195"/>
            </a:xfrm>
            <a:custGeom>
              <a:avLst/>
              <a:gdLst>
                <a:gd name="connsiteX0" fmla="*/ 0 w 3319823"/>
                <a:gd name="connsiteY0" fmla="*/ 0 h 462194"/>
                <a:gd name="connsiteX1" fmla="*/ 3088726 w 3319823"/>
                <a:gd name="connsiteY1" fmla="*/ 0 h 462194"/>
                <a:gd name="connsiteX2" fmla="*/ 3319823 w 3319823"/>
                <a:gd name="connsiteY2" fmla="*/ 231097 h 462194"/>
                <a:gd name="connsiteX3" fmla="*/ 3088726 w 3319823"/>
                <a:gd name="connsiteY3" fmla="*/ 462194 h 462194"/>
                <a:gd name="connsiteX4" fmla="*/ 0 w 3319823"/>
                <a:gd name="connsiteY4" fmla="*/ 462194 h 462194"/>
                <a:gd name="connsiteX5" fmla="*/ 0 w 3319823"/>
                <a:gd name="connsiteY5" fmla="*/ 0 h 462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19823" h="462194">
                  <a:moveTo>
                    <a:pt x="3319823" y="462193"/>
                  </a:moveTo>
                  <a:lnTo>
                    <a:pt x="231097" y="462193"/>
                  </a:lnTo>
                  <a:lnTo>
                    <a:pt x="0" y="231097"/>
                  </a:lnTo>
                  <a:lnTo>
                    <a:pt x="231097" y="1"/>
                  </a:lnTo>
                  <a:lnTo>
                    <a:pt x="3319823" y="1"/>
                  </a:lnTo>
                  <a:lnTo>
                    <a:pt x="3319823" y="462193"/>
                  </a:lnTo>
                  <a:close/>
                </a:path>
              </a:pathLst>
            </a:custGeom>
            <a:gradFill rotWithShape="0">
              <a:gsLst>
                <a:gs pos="0">
                  <a:schemeClr val="accent1">
                    <a:shade val="50000"/>
                    <a:hueOff val="211083"/>
                    <a:satOff val="-7009"/>
                    <a:lumOff val="25189"/>
                    <a:shade val="51000"/>
                    <a:satMod val="130000"/>
                    <a:alpha val="43000"/>
                  </a:schemeClr>
                </a:gs>
                <a:gs pos="80000">
                  <a:schemeClr val="accent1">
                    <a:shade val="50000"/>
                    <a:hueOff val="211083"/>
                    <a:satOff val="-7009"/>
                    <a:lumOff val="25189"/>
                    <a:alphaOff val="0"/>
                    <a:shade val="93000"/>
                    <a:satMod val="130000"/>
                  </a:schemeClr>
                </a:gs>
                <a:gs pos="100000">
                  <a:schemeClr val="accent1">
                    <a:shade val="50000"/>
                    <a:hueOff val="211083"/>
                    <a:satOff val="-7009"/>
                    <a:lumOff val="25189"/>
                    <a:alphaOff val="0"/>
                    <a:shade val="94000"/>
                    <a:satMod val="135000"/>
                  </a:schemeClr>
                </a:gs>
              </a:gsLst>
            </a:grad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19363" tIns="41911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100" b="1" dirty="0"/>
                <a:t>United Nations Women's Organization</a:t>
              </a:r>
              <a:r>
                <a:rPr lang="ru-RU" sz="1100" b="1" dirty="0" smtClean="0"/>
                <a:t> </a:t>
              </a:r>
              <a:r>
                <a:rPr lang="ka-GE" sz="1100" b="1" kern="1200" dirty="0" smtClean="0"/>
                <a:t>(</a:t>
              </a:r>
              <a:r>
                <a:rPr lang="en-US" sz="1100" b="1" kern="1200" dirty="0" smtClean="0"/>
                <a:t>UN WOMEN)</a:t>
              </a:r>
              <a:endParaRPr lang="ka-GE" sz="1100" b="1" kern="1200" dirty="0" smtClean="0"/>
            </a:p>
          </p:txBody>
        </p:sp>
        <p:sp>
          <p:nvSpPr>
            <p:cNvPr id="37" name="Oval 36"/>
            <p:cNvSpPr/>
            <p:nvPr/>
          </p:nvSpPr>
          <p:spPr>
            <a:xfrm>
              <a:off x="612127" y="4598476"/>
              <a:ext cx="462194" cy="462194"/>
            </a:xfrm>
            <a:prstGeom prst="ellipse">
              <a:avLst/>
            </a:prstGeom>
            <a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81000" r="-81000"/>
              </a:stretch>
            </a:blip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z="127000" prstMaterial="matte">
              <a:bevelT w="127000" h="635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7" name="Group 6"/>
          <p:cNvGrpSpPr/>
          <p:nvPr/>
        </p:nvGrpSpPr>
        <p:grpSpPr>
          <a:xfrm>
            <a:off x="5071090" y="2560084"/>
            <a:ext cx="3533358" cy="719833"/>
            <a:chOff x="629689" y="3254092"/>
            <a:chExt cx="3533358" cy="534948"/>
          </a:xfrm>
        </p:grpSpPr>
        <p:sp>
          <p:nvSpPr>
            <p:cNvPr id="30" name="Freeform 29"/>
            <p:cNvSpPr/>
            <p:nvPr/>
          </p:nvSpPr>
          <p:spPr>
            <a:xfrm>
              <a:off x="843224" y="3254092"/>
              <a:ext cx="3319823" cy="534948"/>
            </a:xfrm>
            <a:custGeom>
              <a:avLst/>
              <a:gdLst>
                <a:gd name="connsiteX0" fmla="*/ 0 w 3319823"/>
                <a:gd name="connsiteY0" fmla="*/ 0 h 462194"/>
                <a:gd name="connsiteX1" fmla="*/ 3088726 w 3319823"/>
                <a:gd name="connsiteY1" fmla="*/ 0 h 462194"/>
                <a:gd name="connsiteX2" fmla="*/ 3319823 w 3319823"/>
                <a:gd name="connsiteY2" fmla="*/ 231097 h 462194"/>
                <a:gd name="connsiteX3" fmla="*/ 3088726 w 3319823"/>
                <a:gd name="connsiteY3" fmla="*/ 462194 h 462194"/>
                <a:gd name="connsiteX4" fmla="*/ 0 w 3319823"/>
                <a:gd name="connsiteY4" fmla="*/ 462194 h 462194"/>
                <a:gd name="connsiteX5" fmla="*/ 0 w 3319823"/>
                <a:gd name="connsiteY5" fmla="*/ 0 h 462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19823" h="462194">
                  <a:moveTo>
                    <a:pt x="3319823" y="462193"/>
                  </a:moveTo>
                  <a:lnTo>
                    <a:pt x="231097" y="462193"/>
                  </a:lnTo>
                  <a:lnTo>
                    <a:pt x="0" y="231097"/>
                  </a:lnTo>
                  <a:lnTo>
                    <a:pt x="231097" y="1"/>
                  </a:lnTo>
                  <a:lnTo>
                    <a:pt x="3319823" y="1"/>
                  </a:lnTo>
                  <a:lnTo>
                    <a:pt x="3319823" y="462193"/>
                  </a:lnTo>
                  <a:close/>
                </a:path>
              </a:pathLst>
            </a:custGeom>
            <a:gradFill rotWithShape="0">
              <a:gsLst>
                <a:gs pos="0">
                  <a:schemeClr val="accent1">
                    <a:shade val="50000"/>
                    <a:hueOff val="211083"/>
                    <a:satOff val="-7009"/>
                    <a:lumOff val="25189"/>
                    <a:shade val="51000"/>
                    <a:satMod val="130000"/>
                    <a:alpha val="47000"/>
                  </a:schemeClr>
                </a:gs>
                <a:gs pos="80000">
                  <a:schemeClr val="accent1">
                    <a:shade val="50000"/>
                    <a:hueOff val="211083"/>
                    <a:satOff val="-7009"/>
                    <a:lumOff val="25189"/>
                    <a:alphaOff val="0"/>
                    <a:shade val="93000"/>
                    <a:satMod val="130000"/>
                  </a:schemeClr>
                </a:gs>
                <a:gs pos="100000">
                  <a:schemeClr val="accent1">
                    <a:shade val="50000"/>
                    <a:hueOff val="211083"/>
                    <a:satOff val="-7009"/>
                    <a:lumOff val="25189"/>
                    <a:alphaOff val="0"/>
                    <a:shade val="94000"/>
                    <a:satMod val="135000"/>
                  </a:schemeClr>
                </a:gs>
              </a:gsLst>
            </a:grad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19363" tIns="41911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100" b="1" dirty="0"/>
                <a:t>The Council of Europe</a:t>
              </a:r>
              <a:endParaRPr lang="en-US" sz="1100" b="1" kern="1200" dirty="0"/>
            </a:p>
          </p:txBody>
        </p:sp>
        <p:pic>
          <p:nvPicPr>
            <p:cNvPr id="1026" name="Picture 2" descr="C:\Users\nkareli.POG\Desktop\council of europe logo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689" y="3308601"/>
              <a:ext cx="510539" cy="4084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038540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lcPRezGECRIkVVF_Hj2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lcPRezGECRIkVVF_Hj2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lcPRezGECRIkVVF_Hj2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lcPRezGECRIkVVF_Hj2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lcPRezGECRIkVVF_Hj2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lcPRezGECRIkVVF_Hj2g"/>
</p:tagLst>
</file>

<file path=ppt/theme/theme1.xml><?xml version="1.0" encoding="utf-8"?>
<a:theme xmlns:a="http://schemas.openxmlformats.org/drawingml/2006/main" name="TS001136799">
  <a:themeElements>
    <a:clrScheme name="ms01_1 2">
      <a:dk1>
        <a:srgbClr val="0E5D92"/>
      </a:dk1>
      <a:lt1>
        <a:srgbClr val="FFFFFF"/>
      </a:lt1>
      <a:dk2>
        <a:srgbClr val="137C9D"/>
      </a:dk2>
      <a:lt2>
        <a:srgbClr val="C0C0C0"/>
      </a:lt2>
      <a:accent1>
        <a:srgbClr val="35AACF"/>
      </a:accent1>
      <a:accent2>
        <a:srgbClr val="75CDB2"/>
      </a:accent2>
      <a:accent3>
        <a:srgbClr val="FFFFFF"/>
      </a:accent3>
      <a:accent4>
        <a:srgbClr val="0A4E7C"/>
      </a:accent4>
      <a:accent5>
        <a:srgbClr val="AED2E4"/>
      </a:accent5>
      <a:accent6>
        <a:srgbClr val="69BAA1"/>
      </a:accent6>
      <a:hlink>
        <a:srgbClr val="E8C86E"/>
      </a:hlink>
      <a:folHlink>
        <a:srgbClr val="1E68D6"/>
      </a:folHlink>
    </a:clrScheme>
    <a:fontScheme name="ms01_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s01_1 1">
        <a:dk1>
          <a:srgbClr val="1A1A70"/>
        </a:dk1>
        <a:lt1>
          <a:srgbClr val="FFFFFF"/>
        </a:lt1>
        <a:dk2>
          <a:srgbClr val="12449E"/>
        </a:dk2>
        <a:lt2>
          <a:srgbClr val="C0C0C0"/>
        </a:lt2>
        <a:accent1>
          <a:srgbClr val="3167D3"/>
        </a:accent1>
        <a:accent2>
          <a:srgbClr val="87A3E9"/>
        </a:accent2>
        <a:accent3>
          <a:srgbClr val="FFFFFF"/>
        </a:accent3>
        <a:accent4>
          <a:srgbClr val="14145F"/>
        </a:accent4>
        <a:accent5>
          <a:srgbClr val="ADB8E6"/>
        </a:accent5>
        <a:accent6>
          <a:srgbClr val="7A93D3"/>
        </a:accent6>
        <a:hlink>
          <a:srgbClr val="90B54D"/>
        </a:hlink>
        <a:folHlink>
          <a:srgbClr val="F6A23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s01_1 2">
        <a:dk1>
          <a:srgbClr val="0E5D92"/>
        </a:dk1>
        <a:lt1>
          <a:srgbClr val="FFFFFF"/>
        </a:lt1>
        <a:dk2>
          <a:srgbClr val="137C9D"/>
        </a:dk2>
        <a:lt2>
          <a:srgbClr val="C0C0C0"/>
        </a:lt2>
        <a:accent1>
          <a:srgbClr val="35AACF"/>
        </a:accent1>
        <a:accent2>
          <a:srgbClr val="75CDB2"/>
        </a:accent2>
        <a:accent3>
          <a:srgbClr val="FFFFFF"/>
        </a:accent3>
        <a:accent4>
          <a:srgbClr val="0A4E7C"/>
        </a:accent4>
        <a:accent5>
          <a:srgbClr val="AED2E4"/>
        </a:accent5>
        <a:accent6>
          <a:srgbClr val="69BAA1"/>
        </a:accent6>
        <a:hlink>
          <a:srgbClr val="E8C86E"/>
        </a:hlink>
        <a:folHlink>
          <a:srgbClr val="1E68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s01_1 3">
        <a:dk1>
          <a:srgbClr val="164D60"/>
        </a:dk1>
        <a:lt1>
          <a:srgbClr val="FFFFFF"/>
        </a:lt1>
        <a:dk2>
          <a:srgbClr val="2A8486"/>
        </a:dk2>
        <a:lt2>
          <a:srgbClr val="C0C0C0"/>
        </a:lt2>
        <a:accent1>
          <a:srgbClr val="48BC77"/>
        </a:accent1>
        <a:accent2>
          <a:srgbClr val="ECCA4C"/>
        </a:accent2>
        <a:accent3>
          <a:srgbClr val="FFFFFF"/>
        </a:accent3>
        <a:accent4>
          <a:srgbClr val="114051"/>
        </a:accent4>
        <a:accent5>
          <a:srgbClr val="B1DABD"/>
        </a:accent5>
        <a:accent6>
          <a:srgbClr val="D6B744"/>
        </a:accent6>
        <a:hlink>
          <a:srgbClr val="3191E9"/>
        </a:hlink>
        <a:folHlink>
          <a:srgbClr val="E3694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OOFile" ma:contentTypeID="0x0101006025706CF4CD034688BEBAE97A2E701D020200C3831ACA17D8814887A164412888521E" ma:contentTypeVersion="7" ma:contentTypeDescription="Create a new document." ma:contentTypeScope="" ma:versionID="ed1fea5d08807278759d338940aa9e8f">
  <xsd:schema xmlns:xsd="http://www.w3.org/2001/XMLSchema" xmlns:xs="http://www.w3.org/2001/XMLSchema" xmlns:p="http://schemas.microsoft.com/office/2006/metadata/properties" xmlns:ns2="145c5697-5eb5-440b-b2f1-a8273fb59250" targetNamespace="http://schemas.microsoft.com/office/2006/metadata/properties" ma:root="true" ma:fieldsID="174e4b03d57b3d621fa064bbab783e99" ns2:_="">
    <xsd:import namespace="145c5697-5eb5-440b-b2f1-a8273fb59250"/>
    <xsd:element name="properties">
      <xsd:complexType>
        <xsd:sequence>
          <xsd:element name="documentManagement">
            <xsd:complexType>
              <xsd:all>
                <xsd:element ref="ns2:AssetId" minOccurs="0"/>
                <xsd:element ref="ns2:AuthoringAssetId" minOccurs="0"/>
                <xsd:element ref="ns2:AssetType" minOccurs="0"/>
                <xsd:element ref="ns2:Markets" minOccurs="0"/>
                <xsd:element ref="ns2:NumericAssetId" minOccurs="0"/>
                <xsd:element ref="ns2:AppV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5c5697-5eb5-440b-b2f1-a8273fb59250" elementFormDefault="qualified">
    <xsd:import namespace="http://schemas.microsoft.com/office/2006/documentManagement/types"/>
    <xsd:import namespace="http://schemas.microsoft.com/office/infopath/2007/PartnerControls"/>
    <xsd:element name="AssetId" ma:index="8" nillable="true" ma:displayName="AssetId" ma:indexed="true" ma:internalName="AssetId" ma:readOnly="false">
      <xsd:simpleType>
        <xsd:restriction base="dms:Text"/>
      </xsd:simpleType>
    </xsd:element>
    <xsd:element name="AuthoringAssetId" ma:index="9" nillable="true" ma:displayName="AuthoringAssetId" ma:indexed="true" ma:internalName="AuthoringAssetId" ma:readOnly="false">
      <xsd:simpleType>
        <xsd:restriction base="dms:Text"/>
      </xsd:simpleType>
    </xsd:element>
    <xsd:element name="AssetType" ma:index="10" nillable="true" ma:displayName="AssetType" ma:internalName="AssetType" ma:readOnly="false">
      <xsd:simpleType>
        <xsd:restriction base="dms:Text"/>
      </xsd:simpleType>
    </xsd:element>
    <xsd:element name="Markets" ma:index="11" nillable="true" ma:displayName="Markets" ma:internalName="Markets" ma:readOnly="false">
      <xsd:simpleType>
        <xsd:restriction base="dms:Text"/>
      </xsd:simpleType>
    </xsd:element>
    <xsd:element name="NumericAssetId" ma:index="12" nillable="true" ma:displayName="NumericAssetId" ma:indexed="true" ma:internalName="NumericAssetId" ma:readOnly="false">
      <xsd:simpleType>
        <xsd:restriction base="dms:Unknown"/>
      </xsd:simpleType>
    </xsd:element>
    <xsd:element name="AppVer" ma:index="13" nillable="true" ma:displayName="AppVer" ma:internalName="AppVer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LongProperties xmlns="http://schemas.microsoft.com/office/2006/metadata/longProperties"/>
</file>

<file path=customXml/item4.xml><?xml version="1.0" encoding="utf-8"?>
<p:properties xmlns:p="http://schemas.microsoft.com/office/2006/metadata/properties" xmlns:xsi="http://www.w3.org/2001/XMLSchema-instance">
  <documentManagement>
    <NumericAssetId xmlns="145c5697-5eb5-440b-b2f1-a8273fb59250" xsi:nil="true"/>
    <AssetType xmlns="145c5697-5eb5-440b-b2f1-a8273fb59250">TP</AssetType>
    <Markets xmlns="145c5697-5eb5-440b-b2f1-a8273fb59250" xsi:nil="true"/>
    <AppVer xmlns="145c5697-5eb5-440b-b2f1-a8273fb59250" xsi:nil="true"/>
    <AuthoringAssetId xmlns="145c5697-5eb5-440b-b2f1-a8273fb59250">TP001136799</AuthoringAssetId>
    <AssetId xmlns="145c5697-5eb5-440b-b2f1-a8273fb59250">TS001136799</AssetId>
  </documentManagement>
</p:properties>
</file>

<file path=customXml/itemProps1.xml><?xml version="1.0" encoding="utf-8"?>
<ds:datastoreItem xmlns:ds="http://schemas.openxmlformats.org/officeDocument/2006/customXml" ds:itemID="{8B8B300C-072C-44B9-9187-A98E9B7B391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86B320C-784B-48CF-9387-8B12FE18A3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45c5697-5eb5-440b-b2f1-a8273fb5925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A78211FA-ADA8-4F3C-AC46-3F760DFB4F3C}">
  <ds:schemaRefs>
    <ds:schemaRef ds:uri="http://schemas.microsoft.com/office/2006/metadata/longProperties"/>
  </ds:schemaRefs>
</ds:datastoreItem>
</file>

<file path=customXml/itemProps4.xml><?xml version="1.0" encoding="utf-8"?>
<ds:datastoreItem xmlns:ds="http://schemas.openxmlformats.org/officeDocument/2006/customXml" ds:itemID="{E8AA25DB-C779-4D48-94B5-A8998DAE69F9}">
  <ds:schemaRefs>
    <ds:schemaRef ds:uri="http://purl.org/dc/elements/1.1/"/>
    <ds:schemaRef ds:uri="http://purl.org/dc/terms/"/>
    <ds:schemaRef ds:uri="http://schemas.microsoft.com/office/2006/documentManagement/types"/>
    <ds:schemaRef ds:uri="http://purl.org/dc/dcmitype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145c5697-5eb5-440b-b2f1-a8273fb59250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S001136799</Template>
  <TotalTime>3102</TotalTime>
  <Words>655</Words>
  <Application>Microsoft Office PowerPoint</Application>
  <PresentationFormat>On-screen Show (4:3)</PresentationFormat>
  <Paragraphs>86</Paragraphs>
  <Slides>10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TS001136799</vt:lpstr>
      <vt:lpstr>PowerPoint Presentation</vt:lpstr>
      <vt:lpstr>Executing the Process of Specialization</vt:lpstr>
      <vt:lpstr>PowerPoint Presentation</vt:lpstr>
      <vt:lpstr>Putting the Process of Specialization to Work</vt:lpstr>
      <vt:lpstr>PowerPoint Presentation</vt:lpstr>
      <vt:lpstr>PowerPoint Presentation</vt:lpstr>
      <vt:lpstr>Key Achievements</vt:lpstr>
      <vt:lpstr>The Main Challenges and Goals</vt:lpstr>
      <vt:lpstr>Donor and Partner Organizations: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to add title</dc:title>
  <dc:creator>asus</dc:creator>
  <cp:lastModifiedBy>Sophio Jiadze</cp:lastModifiedBy>
  <cp:revision>396</cp:revision>
  <cp:lastPrinted>2015-03-25T18:36:49Z</cp:lastPrinted>
  <dcterms:created xsi:type="dcterms:W3CDTF">2014-04-12T11:05:16Z</dcterms:created>
  <dcterms:modified xsi:type="dcterms:W3CDTF">2018-10-15T19:07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arkets">
    <vt:lpwstr/>
  </property>
  <property fmtid="{D5CDD505-2E9C-101B-9397-08002B2CF9AE}" pid="3" name="AssetType">
    <vt:lpwstr>TP</vt:lpwstr>
  </property>
  <property fmtid="{D5CDD505-2E9C-101B-9397-08002B2CF9AE}" pid="4" name="BugNumber">
    <vt:lpwstr>490681L</vt:lpwstr>
  </property>
  <property fmtid="{D5CDD505-2E9C-101B-9397-08002B2CF9AE}" pid="5" name="TPInstallLocation">
    <vt:lpwstr>{Document Themes}</vt:lpwstr>
  </property>
  <property fmtid="{D5CDD505-2E9C-101B-9397-08002B2CF9AE}" pid="6" name="PrimaryImageGen">
    <vt:lpwstr>1</vt:lpwstr>
  </property>
  <property fmtid="{D5CDD505-2E9C-101B-9397-08002B2CF9AE}" pid="7" name="display_urn:schemas-microsoft-com:office:office#APAuthor">
    <vt:lpwstr>REDMOND\cynvey</vt:lpwstr>
  </property>
  <property fmtid="{D5CDD505-2E9C-101B-9397-08002B2CF9AE}" pid="8" name="APAuthor">
    <vt:lpwstr>191</vt:lpwstr>
  </property>
  <property fmtid="{D5CDD505-2E9C-101B-9397-08002B2CF9AE}" pid="9" name="Milestone">
    <vt:lpwstr>Continuous</vt:lpwstr>
  </property>
  <property fmtid="{D5CDD505-2E9C-101B-9397-08002B2CF9AE}" pid="10" name="TPAppVersion">
    <vt:lpwstr>11</vt:lpwstr>
  </property>
  <property fmtid="{D5CDD505-2E9C-101B-9397-08002B2CF9AE}" pid="11" name="TPCommandLine">
    <vt:lpwstr>{PP} {FilePath}</vt:lpwstr>
  </property>
  <property fmtid="{D5CDD505-2E9C-101B-9397-08002B2CF9AE}" pid="12" name="AssetId">
    <vt:lpwstr>TS001136799</vt:lpwstr>
  </property>
  <property fmtid="{D5CDD505-2E9C-101B-9397-08002B2CF9AE}" pid="13" name="IsSearchable">
    <vt:lpwstr>0</vt:lpwstr>
  </property>
  <property fmtid="{D5CDD505-2E9C-101B-9397-08002B2CF9AE}" pid="14" name="NumericId">
    <vt:lpwstr>-1.00000000000000</vt:lpwstr>
  </property>
  <property fmtid="{D5CDD505-2E9C-101B-9397-08002B2CF9AE}" pid="15" name="PublishTargets">
    <vt:lpwstr>OfficeOnline</vt:lpwstr>
  </property>
  <property fmtid="{D5CDD505-2E9C-101B-9397-08002B2CF9AE}" pid="16" name="TPLaunchHelpLinkType">
    <vt:lpwstr>Template</vt:lpwstr>
  </property>
  <property fmtid="{D5CDD505-2E9C-101B-9397-08002B2CF9AE}" pid="17" name="TPFriendlyName">
    <vt:lpwstr>Sample presentation slides with animation (Blue bars design)</vt:lpwstr>
  </property>
  <property fmtid="{D5CDD505-2E9C-101B-9397-08002B2CF9AE}" pid="18" name="display_urn:schemas-microsoft-com:office:office#APEditor">
    <vt:lpwstr>REDMOND\v-luannv</vt:lpwstr>
  </property>
  <property fmtid="{D5CDD505-2E9C-101B-9397-08002B2CF9AE}" pid="19" name="APEditor">
    <vt:lpwstr>92</vt:lpwstr>
  </property>
  <property fmtid="{D5CDD505-2E9C-101B-9397-08002B2CF9AE}" pid="20" name="Provider">
    <vt:lpwstr>EY001138790</vt:lpwstr>
  </property>
  <property fmtid="{D5CDD505-2E9C-101B-9397-08002B2CF9AE}" pid="21" name="SourceTitle">
    <vt:lpwstr>Sample presentation slides with animation (Blue bars design)</vt:lpwstr>
  </property>
  <property fmtid="{D5CDD505-2E9C-101B-9397-08002B2CF9AE}" pid="22" name="TPApplication">
    <vt:lpwstr>PowerPoint</vt:lpwstr>
  </property>
  <property fmtid="{D5CDD505-2E9C-101B-9397-08002B2CF9AE}" pid="23" name="TPLaunchHelpLink">
    <vt:lpwstr/>
  </property>
  <property fmtid="{D5CDD505-2E9C-101B-9397-08002B2CF9AE}" pid="24" name="TemplateType">
    <vt:lpwstr>Presentations</vt:lpwstr>
  </property>
  <property fmtid="{D5CDD505-2E9C-101B-9397-08002B2CF9AE}" pid="25" name="OpenTemplate">
    <vt:lpwstr>1</vt:lpwstr>
  </property>
  <property fmtid="{D5CDD505-2E9C-101B-9397-08002B2CF9AE}" pid="26" name="UACurrentWords">
    <vt:lpwstr>0</vt:lpwstr>
  </property>
  <property fmtid="{D5CDD505-2E9C-101B-9397-08002B2CF9AE}" pid="27" name="UALocRecommendation">
    <vt:lpwstr>Localize</vt:lpwstr>
  </property>
  <property fmtid="{D5CDD505-2E9C-101B-9397-08002B2CF9AE}" pid="28" name="Applications">
    <vt:lpwstr>79;#Template 12;#66;#PowerPoint - Design Templt 2003;#67;#PowerPoint - Design Templt 12;#64;#PowerPoint 2003;#182;#Office XP;#65;#Microsoft Office PowerPoint 2007</vt:lpwstr>
  </property>
  <property fmtid="{D5CDD505-2E9C-101B-9397-08002B2CF9AE}" pid="29" name="TemplateStatus">
    <vt:lpwstr>Complete</vt:lpwstr>
  </property>
  <property fmtid="{D5CDD505-2E9C-101B-9397-08002B2CF9AE}" pid="30" name="ContentTypeId">
    <vt:lpwstr>0x0101006025706CF4CD034688BEBAE97A2E701D020200C3831ACA17D8814887A164412888521E</vt:lpwstr>
  </property>
  <property fmtid="{D5CDD505-2E9C-101B-9397-08002B2CF9AE}" pid="31" name="IsDeleted">
    <vt:lpwstr>0</vt:lpwstr>
  </property>
  <property fmtid="{D5CDD505-2E9C-101B-9397-08002B2CF9AE}" pid="32" name="ShowIn">
    <vt:lpwstr>Show everywhere</vt:lpwstr>
  </property>
  <property fmtid="{D5CDD505-2E9C-101B-9397-08002B2CF9AE}" pid="33" name="PublishStatusLookup">
    <vt:lpwstr>259288</vt:lpwstr>
  </property>
  <property fmtid="{D5CDD505-2E9C-101B-9397-08002B2CF9AE}" pid="34" name="TPClientViewer">
    <vt:lpwstr>Microsoft Office PowerPoint</vt:lpwstr>
  </property>
  <property fmtid="{D5CDD505-2E9C-101B-9397-08002B2CF9AE}" pid="35" name="TPComponent">
    <vt:lpwstr>PPTFiles</vt:lpwstr>
  </property>
  <property fmtid="{D5CDD505-2E9C-101B-9397-08002B2CF9AE}" pid="36" name="TPNamespace">
    <vt:lpwstr>POWERPNT</vt:lpwstr>
  </property>
  <property fmtid="{D5CDD505-2E9C-101B-9397-08002B2CF9AE}" pid="37" name="APTrustLevel">
    <vt:lpwstr>1.00000000000000</vt:lpwstr>
  </property>
  <property fmtid="{D5CDD505-2E9C-101B-9397-08002B2CF9AE}" pid="38" name="TrustLevel">
    <vt:lpwstr>Microsoft Managed Content</vt:lpwstr>
  </property>
  <property fmtid="{D5CDD505-2E9C-101B-9397-08002B2CF9AE}" pid="39" name="Content Type">
    <vt:lpwstr>OOFile</vt:lpwstr>
  </property>
  <property fmtid="{D5CDD505-2E9C-101B-9397-08002B2CF9AE}" pid="40" name="AuthoringAssetId">
    <vt:lpwstr>TP001136799</vt:lpwstr>
  </property>
  <property fmtid="{D5CDD505-2E9C-101B-9397-08002B2CF9AE}" pid="41" name="NumericAssetId">
    <vt:lpwstr/>
  </property>
  <property fmtid="{D5CDD505-2E9C-101B-9397-08002B2CF9AE}" pid="42" name="AppVer">
    <vt:lpwstr/>
  </property>
</Properties>
</file>